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5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11"/>
  </p:notesMasterIdLst>
  <p:handoutMasterIdLst>
    <p:handoutMasterId r:id="rId12"/>
  </p:handoutMasterIdLst>
  <p:sldIdLst>
    <p:sldId id="257" r:id="rId2"/>
    <p:sldId id="258" r:id="rId3"/>
    <p:sldId id="259" r:id="rId4"/>
    <p:sldId id="260" r:id="rId5"/>
    <p:sldId id="261" r:id="rId6"/>
    <p:sldId id="262" r:id="rId7"/>
    <p:sldId id="263" r:id="rId8"/>
    <p:sldId id="264" r:id="rId9"/>
    <p:sldId id="265" r:id="rId10"/>
  </p:sldIdLst>
  <p:sldSz cx="6858000" cy="9906000" type="A4"/>
  <p:notesSz cx="6797675" cy="9926638"/>
  <p:custDataLst>
    <p:tags r:id="rId1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9C8"/>
    <a:srgbClr val="005151"/>
    <a:srgbClr val="F549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0" autoAdjust="0"/>
    <p:restoredTop sz="83901" autoAdjust="0"/>
  </p:normalViewPr>
  <p:slideViewPr>
    <p:cSldViewPr snapToGrid="0">
      <p:cViewPr varScale="1">
        <p:scale>
          <a:sx n="49" d="100"/>
          <a:sy n="49" d="100"/>
        </p:scale>
        <p:origin x="2722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7" d="100"/>
          <a:sy n="77" d="100"/>
        </p:scale>
        <p:origin x="3360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>
            <a:extLst>
              <a:ext uri="{FF2B5EF4-FFF2-40B4-BE49-F238E27FC236}">
                <a16:creationId xmlns:a16="http://schemas.microsoft.com/office/drawing/2014/main" id="{25F65F47-C1FD-48CB-854A-E025D6F2E8C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CC39D40B-4ECA-4DBB-A07D-FAC6199A957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C565E7-3ADB-4DB0-A766-A43A8C8350AF}" type="datetimeFigureOut">
              <a:rPr lang="da-DK" smtClean="0"/>
              <a:t>15-10-2025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5424CC15-A58A-4761-AC26-91367B71701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E1EAFEB-3405-4008-8CF7-A5B01200CBB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FFD0CF-57F5-410A-AE32-E499E441E78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555412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F349A3-2C9C-4B7F-A1C5-6241F4B2E3D4}" type="datetimeFigureOut">
              <a:rPr lang="da-DK" smtClean="0"/>
              <a:t>15-10-2025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2239963" y="1241425"/>
            <a:ext cx="23177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FC28F9-C058-4549-8680-1B9E316A51CB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339191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272145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678289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395337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940160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194755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249607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https://www.google.com/maps/d/viewer?mid=1AlnFHRE1SFveTFDsK8YpPgWy_ZdelP1q&amp;ouid=0&amp;ll=40.11416110823485%2C71.25342390000003&amp;z=3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281150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490847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869909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621191"/>
            <a:ext cx="5829300" cy="3448756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5202944"/>
            <a:ext cx="5143500" cy="2391656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a-DK"/>
              <a:t>Klik for at redigere undertiteltypografien i master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15-10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89D6599-D6CD-4BAD-B7AB-1DD86FBEB1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123454"/>
              </p:ext>
            </p:extLst>
          </p:nvPr>
        </p:nvGraphicFramePr>
        <p:xfrm>
          <a:off x="1589" y="1291"/>
          <a:ext cx="1587" cy="12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0DA2896-A3F5-4075-92B5-5D53E72401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291"/>
                        <a:ext cx="1587" cy="12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844637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15-10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462621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527403"/>
            <a:ext cx="1478756" cy="8394877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527403"/>
            <a:ext cx="4350544" cy="8394877"/>
          </a:xfrm>
        </p:spPr>
        <p:txBody>
          <a:bodyPr vert="eaVert"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15-10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850997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15-10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127189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469624"/>
            <a:ext cx="5915025" cy="412062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629226"/>
            <a:ext cx="5915025" cy="216693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15-10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095869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637014"/>
            <a:ext cx="2914650" cy="6285266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637014"/>
            <a:ext cx="2914650" cy="6285266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15-10-2025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462624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527405"/>
            <a:ext cx="5915025" cy="1914702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428347"/>
            <a:ext cx="2901255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618442"/>
            <a:ext cx="2901255" cy="5322183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428347"/>
            <a:ext cx="2915543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618442"/>
            <a:ext cx="2915543" cy="5322183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15-10-2025</a:t>
            </a:fld>
            <a:endParaRPr lang="da-DK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29606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15-10-2025</a:t>
            </a:fld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193146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15-10-2025</a:t>
            </a:fld>
            <a:endParaRPr lang="da-DK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962559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426283"/>
            <a:ext cx="3471863" cy="7039681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15-10-2025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466973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426283"/>
            <a:ext cx="3471863" cy="7039681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da-DK"/>
              <a:t>Klik på ikonet for at tilføje et billed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15-10-2025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990022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D8C3280-2375-4BE7-A69C-CE8A87ADB2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156378176"/>
              </p:ext>
            </p:extLst>
          </p:nvPr>
        </p:nvGraphicFramePr>
        <p:xfrm>
          <a:off x="1589" y="1291"/>
          <a:ext cx="1587" cy="12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67F93E3-DB10-4B4A-8D78-CC72F900F2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291"/>
                        <a:ext cx="1587" cy="12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>
            <a:extLst>
              <a:ext uri="{FF2B5EF4-FFF2-40B4-BE49-F238E27FC236}">
                <a16:creationId xmlns:a16="http://schemas.microsoft.com/office/drawing/2014/main" id="{7F91C4D6-0E02-43B5-B700-CA2F7FC37DD6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a-DK" sz="33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527405"/>
            <a:ext cx="5915025" cy="1914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637014"/>
            <a:ext cx="5915025" cy="62852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AAD85A-BBE3-4C1A-A112-9A6CDB99444D}" type="datetimeFigureOut">
              <a:rPr lang="da-DK" smtClean="0"/>
              <a:t>15-10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9181397"/>
            <a:ext cx="2314575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99682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Live%20hog%20prices%20dressed%20weight%20!R2C2:R29C4" TargetMode="External"/><Relationship Id="rId5" Type="http://schemas.openxmlformats.org/officeDocument/2006/relationships/image" Target="../media/image3.emf"/><Relationship Id="rId4" Type="http://schemas.openxmlformats.org/officeDocument/2006/relationships/oleObject" Target="file:///\\NRAN4902\Group\Industry\Japan%20Pork\MEBY\Japan%20nyhedsbrev_GUSWI\NEWSLETTER_JAPAN_MASTER%20-%20week.xlsx!Ugetal!R9C2:R11C2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file:///\\NRAN4902\Group\Industry\Japan%20Pork\MEBY\Japan%20nyhedsbrev_GUSWI\NEWSLETTER_JAPAN_MASTER%20-%20week.xlsx!Ugetal!R9C2:R11C2" TargetMode="External"/><Relationship Id="rId3" Type="http://schemas.openxmlformats.org/officeDocument/2006/relationships/image" Target="../media/image2.png"/><Relationship Id="rId7" Type="http://schemas.openxmlformats.org/officeDocument/2006/relationships/image" Target="../media/image6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DC%20-%20Weekly%20pig%20price%20!%5bNEWSLETTER_JAPAN_MASTER%20-%20week.xlsx%5dDC%20-%20Weekly%20pig%20price%20%20Diagram%201" TargetMode="External"/><Relationship Id="rId11" Type="http://schemas.openxmlformats.org/officeDocument/2006/relationships/image" Target="../media/image7.emf"/><Relationship Id="rId5" Type="http://schemas.openxmlformats.org/officeDocument/2006/relationships/image" Target="../media/image5.emf"/><Relationship Id="rId10" Type="http://schemas.openxmlformats.org/officeDocument/2006/relationships/oleObject" Target="file:///\\NRAN4902\Group\Industry\Japan%20Pork\MEBY\Japan%20nyhedsbrev_GUSWI\NEWSLETTER_JAPAN_MASTER%20-%20week.xlsx!DC%20-%20Weekly%20pig%20price%20!R3C2:R29C4" TargetMode="External"/><Relationship Id="rId4" Type="http://schemas.openxmlformats.org/officeDocument/2006/relationships/oleObject" Target="file:///\\NRAN4902\Group\Industry\Japan%20Pork\MEBY\Japan%20nyhedsbrev_GUSWI\NEWSLETTER_JAPAN_MASTER%20-%20week.xlsx!DC%20-%20Weekly%20pig%20price%20!R30C2:R58C4" TargetMode="External"/><Relationship Id="rId9" Type="http://schemas.openxmlformats.org/officeDocument/2006/relationships/image" Target="../media/image3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file:///\\NRAN4902\Group\Industry\Japan%20Pork\MEBY\Japan%20nyhedsbrev_GUSWI\NEWSLETTER_JAPAN_MASTER%20-%20week.xlsx!Ugetal!R9C2:R11C2" TargetMode="External"/><Relationship Id="rId3" Type="http://schemas.openxmlformats.org/officeDocument/2006/relationships/image" Target="../media/image2.png"/><Relationship Id="rId7" Type="http://schemas.openxmlformats.org/officeDocument/2006/relationships/image" Target="../media/image9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Average%20weight%20(dressed)!%5bNEWSLETTER_JAPAN_MASTER%20-%20week.xlsx%5dAverage%20weight%20(dressed)%20Diagram%201" TargetMode="External"/><Relationship Id="rId11" Type="http://schemas.openxmlformats.org/officeDocument/2006/relationships/image" Target="../media/image11.emf"/><Relationship Id="rId5" Type="http://schemas.openxmlformats.org/officeDocument/2006/relationships/image" Target="../media/image8.emf"/><Relationship Id="rId10" Type="http://schemas.openxmlformats.org/officeDocument/2006/relationships/oleObject" Target="file:///\\NRAN4902\Group\Industry\Japan%20Pork\MEBY\Japan%20nyhedsbrev_GUSWI\NEWSLETTER_JAPAN_MASTER%20-%20week.xlsx!Average%20weight%20(dressed)!R3C2:R29C4" TargetMode="External"/><Relationship Id="rId4" Type="http://schemas.openxmlformats.org/officeDocument/2006/relationships/oleObject" Target="file:///\\NRAN4902\Group\Industry\Japan%20Pork\MEBY\Japan%20nyhedsbrev_GUSWI\NEWSLETTER_JAPAN_MASTER%20-%20week.xlsx!Average%20weight%20(dressed)!R30C2:R58C4" TargetMode="External"/><Relationship Id="rId9" Type="http://schemas.openxmlformats.org/officeDocument/2006/relationships/image" Target="../media/image10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file:///\\NRAN4902\Group\Industry\Japan%20Pork\MEBY\Japan%20nyhedsbrev_GUSWI\NEWSLETTER_JAPAN_MASTER%20-%20week.xlsx!Ugetal!R9C2:R11C2" TargetMode="External"/><Relationship Id="rId3" Type="http://schemas.openxmlformats.org/officeDocument/2006/relationships/image" Target="../media/image2.png"/><Relationship Id="rId7" Type="http://schemas.openxmlformats.org/officeDocument/2006/relationships/image" Target="../media/image13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Total%20killings%20in%20Denmark!%5bNEWSLETTER_JAPAN_MASTER%20-%20week.xlsx%5dTotal%20killings%20in%20Denmark%20Diagram%201" TargetMode="External"/><Relationship Id="rId11" Type="http://schemas.openxmlformats.org/officeDocument/2006/relationships/image" Target="../media/image15.emf"/><Relationship Id="rId5" Type="http://schemas.openxmlformats.org/officeDocument/2006/relationships/image" Target="../media/image12.emf"/><Relationship Id="rId10" Type="http://schemas.openxmlformats.org/officeDocument/2006/relationships/oleObject" Target="file:///\\NRAN4902\Group\Industry\Japan%20Pork\MEBY\Japan%20nyhedsbrev_GUSWI\NEWSLETTER_JAPAN_MASTER%20-%20week.xlsx!Total%20killings%20in%20Denmark!R3C2:R29C4" TargetMode="External"/><Relationship Id="rId4" Type="http://schemas.openxmlformats.org/officeDocument/2006/relationships/oleObject" Target="file:///\\NRAN4902\Group\Industry\Japan%20Pork\MEBY\Japan%20nyhedsbrev_GUSWI\NEWSLETTER_JAPAN_MASTER%20-%20week.xlsx!Total%20killings%20in%20Denmark!R30C2:R59C4" TargetMode="External"/><Relationship Id="rId9" Type="http://schemas.openxmlformats.org/officeDocument/2006/relationships/image" Target="../media/image14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file:///\\NRAN4902\Group\Industry\Japan%20Pork\MEBY\Japan%20nyhedsbrev_GUSWI\NEWSLETTER_JAPAN_MASTER%20-%20week.xlsx!Ugetal!R9C2:R11C2" TargetMode="External"/><Relationship Id="rId3" Type="http://schemas.openxmlformats.org/officeDocument/2006/relationships/image" Target="../media/image2.png"/><Relationship Id="rId7" Type="http://schemas.openxmlformats.org/officeDocument/2006/relationships/image" Target="../media/image17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Total%20killings%20-%20Essen!%5bNEWSLETTER_JAPAN_MASTER%20-%20week.xlsx%5dTotal%20killings%20-%20Essen%20Diagram%201" TargetMode="External"/><Relationship Id="rId11" Type="http://schemas.openxmlformats.org/officeDocument/2006/relationships/image" Target="../media/image18.emf"/><Relationship Id="rId5" Type="http://schemas.openxmlformats.org/officeDocument/2006/relationships/image" Target="../media/image16.emf"/><Relationship Id="rId10" Type="http://schemas.openxmlformats.org/officeDocument/2006/relationships/oleObject" Target="file:///\\NRAN4902\Group\Industry\Japan%20Pork\MEBY\Japan%20nyhedsbrev_GUSWI\NEWSLETTER_JAPAN_MASTER%20-%20week.xlsx!Total%20killings%20-%20Essen!R3C2:R29C4" TargetMode="External"/><Relationship Id="rId4" Type="http://schemas.openxmlformats.org/officeDocument/2006/relationships/oleObject" Target="file:///\\NRAN4902\Group\Industry\Japan%20Pork\MEBY\Japan%20nyhedsbrev_GUSWI\NEWSLETTER_JAPAN_MASTER%20-%20week.xlsx!Total%20killings%20-%20Essen!R30C2:R60C4" TargetMode="External"/><Relationship Id="rId9" Type="http://schemas.openxmlformats.org/officeDocument/2006/relationships/image" Target="../media/image3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20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Ugetal!R9C2:R11C2" TargetMode="External"/><Relationship Id="rId5" Type="http://schemas.openxmlformats.org/officeDocument/2006/relationships/image" Target="../media/image19.emf"/><Relationship Id="rId4" Type="http://schemas.openxmlformats.org/officeDocument/2006/relationships/oleObject" Target="file:///\\NRAN4902\Group\Industry\Japan%20Pork\MEBY\Japan%20nyhedsbrev_GUSWI\NEWSLETTER_JAPAN_MASTER%20-%20week.xlsx!Afrikansk%20svinepest!R2C2:R21C10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0.emf"/><Relationship Id="rId4" Type="http://schemas.openxmlformats.org/officeDocument/2006/relationships/oleObject" Target="file:///\\NRAN4902\Group\Industry\Japan%20Pork\MEBY\Japan%20nyhedsbrev_GUSWI\NEWSLETTER_JAPAN_MASTER%20-%20week.xlsx!Ugetal!R9C2:R11C2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3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Ugetal!R9C2:R11C2" TargetMode="External"/><Relationship Id="rId5" Type="http://schemas.openxmlformats.org/officeDocument/2006/relationships/image" Target="../media/image21.emf"/><Relationship Id="rId4" Type="http://schemas.openxmlformats.org/officeDocument/2006/relationships/oleObject" Target="file:///\\NRAN4902\Group\Industry\Japan%20Pork\MEBY\Japan%20nyhedsbrev_GUSWI\NEWSLETTER_JAPAN_MASTER%20-%20week.xlsx!Top%2010%20import&#248;rer!R2C2:R16C6" TargetMode="Externa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emf"/><Relationship Id="rId3" Type="http://schemas.openxmlformats.org/officeDocument/2006/relationships/notesSlide" Target="../notesSlides/notesSlide9.xml"/><Relationship Id="rId7" Type="http://schemas.openxmlformats.org/officeDocument/2006/relationships/oleObject" Target="file:///\\NRAN4902\Group\Industry\Japan%20Pork\MEBY\Japan%20nyhedsbrev_GUSWI\NEWSLETTER_JAPAN_MASTER%20-%20week.xlsx!Denmark&#8217;s%20export%20of%20pork%20meat!R4C2:R28C20" TargetMode="Externa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22.emf"/><Relationship Id="rId10" Type="http://schemas.openxmlformats.org/officeDocument/2006/relationships/image" Target="../media/image3.emf"/><Relationship Id="rId4" Type="http://schemas.openxmlformats.org/officeDocument/2006/relationships/oleObject" Target="../embeddings/oleObject3.bin"/><Relationship Id="rId9" Type="http://schemas.openxmlformats.org/officeDocument/2006/relationships/oleObject" Target="file:///\\NRAN4902\Group\Industry\Japan%20Pork\MEBY\Japan%20nyhedsbrev_GUSWI\NEWSLETTER_JAPAN_MASTER%20-%20week.xlsx!Ugetal!R9C2:R11C2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B71DA90-CC98-4EB5-8417-5832F89E8381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ekstboks 31">
            <a:extLst>
              <a:ext uri="{FF2B5EF4-FFF2-40B4-BE49-F238E27FC236}">
                <a16:creationId xmlns:a16="http://schemas.microsoft.com/office/drawing/2014/main" id="{9E818ECA-4D1F-421D-BF79-96BF91DB0E76}"/>
              </a:ext>
            </a:extLst>
          </p:cNvPr>
          <p:cNvSpPr txBox="1"/>
          <p:nvPr/>
        </p:nvSpPr>
        <p:spPr>
          <a:xfrm>
            <a:off x="-119740" y="9642028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9" name="Tekstboks 1">
            <a:extLst>
              <a:ext uri="{FF2B5EF4-FFF2-40B4-BE49-F238E27FC236}">
                <a16:creationId xmlns:a16="http://schemas.microsoft.com/office/drawing/2014/main" id="{ED9D1FB6-10D1-4172-80A2-E5450CD3430C}"/>
              </a:ext>
            </a:extLst>
          </p:cNvPr>
          <p:cNvSpPr txBox="1"/>
          <p:nvPr/>
        </p:nvSpPr>
        <p:spPr>
          <a:xfrm>
            <a:off x="0" y="1209592"/>
            <a:ext cx="6857999" cy="276999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Live hog prices dressed weight</a:t>
            </a:r>
            <a:endParaRPr lang="da-DK" dirty="0">
              <a:solidFill>
                <a:srgbClr val="005151"/>
              </a:solidFill>
              <a:latin typeface="Danish Crown Display" panose="00000800000000000000" pitchFamily="50" charset="0"/>
              <a:cs typeface="Arial" panose="020B060402020202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AB71EEC-9479-4F45-92E9-A7827CEB3EA6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A819D90-2111-431A-9579-22DE5CAD7311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19" name="Picture 18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E7B50955-7F41-4CF2-A97A-E77BB70DEA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D9FBEB81-C2A3-4DEF-93AC-D5B3C0DC40D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68902881"/>
              </p:ext>
            </p:extLst>
          </p:nvPr>
        </p:nvGraphicFramePr>
        <p:xfrm>
          <a:off x="5961063" y="207963"/>
          <a:ext cx="600075" cy="809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619085" imgH="828521" progId="Excel.Sheet.12">
                  <p:link updateAutomatic="1"/>
                </p:oleObj>
              </mc:Choice>
              <mc:Fallback>
                <p:oleObj name="Worksheet" r:id="rId4" imgW="619085" imgH="82852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961063" y="207963"/>
                        <a:ext cx="600075" cy="8096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kt 3">
            <a:extLst>
              <a:ext uri="{FF2B5EF4-FFF2-40B4-BE49-F238E27FC236}">
                <a16:creationId xmlns:a16="http://schemas.microsoft.com/office/drawing/2014/main" id="{53852AE8-8DF9-423A-AC41-EB9C3774905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96409545"/>
              </p:ext>
            </p:extLst>
          </p:nvPr>
        </p:nvGraphicFramePr>
        <p:xfrm>
          <a:off x="384175" y="1606550"/>
          <a:ext cx="6089650" cy="4527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6372344" imgH="4524542" progId="Excel.Sheet.12">
                  <p:link updateAutomatic="1"/>
                </p:oleObj>
              </mc:Choice>
              <mc:Fallback>
                <p:oleObj name="Worksheet" r:id="rId6" imgW="6372344" imgH="4524542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84175" y="1606550"/>
                        <a:ext cx="6089650" cy="45275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147980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1">
            <a:extLst>
              <a:ext uri="{FF2B5EF4-FFF2-40B4-BE49-F238E27FC236}">
                <a16:creationId xmlns:a16="http://schemas.microsoft.com/office/drawing/2014/main" id="{BBAC220E-4FB7-4623-B83B-B7C1955B58CE}"/>
              </a:ext>
            </a:extLst>
          </p:cNvPr>
          <p:cNvSpPr txBox="1"/>
          <p:nvPr/>
        </p:nvSpPr>
        <p:spPr>
          <a:xfrm>
            <a:off x="0" y="1207781"/>
            <a:ext cx="6858000" cy="276999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Weekly pig price – Danish Crown </a:t>
            </a:r>
            <a:endParaRPr lang="da-DK" dirty="0">
              <a:solidFill>
                <a:srgbClr val="005151"/>
              </a:solidFill>
              <a:latin typeface="Danish Crown Display" panose="00000800000000000000" pitchFamily="50" charset="0"/>
              <a:cs typeface="Arial" panose="020B0604020202020204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FDAB423-8E37-4494-98B8-27B9120DE2C4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0986B3B-8D5A-4A12-B768-1E586E300422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kstboks 31">
            <a:extLst>
              <a:ext uri="{FF2B5EF4-FFF2-40B4-BE49-F238E27FC236}">
                <a16:creationId xmlns:a16="http://schemas.microsoft.com/office/drawing/2014/main" id="{206214F3-96BE-4D09-9E4E-AFADD85EBCC1}"/>
              </a:ext>
            </a:extLst>
          </p:cNvPr>
          <p:cNvSpPr txBox="1"/>
          <p:nvPr/>
        </p:nvSpPr>
        <p:spPr>
          <a:xfrm>
            <a:off x="184150" y="9697070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FE08D13-22E7-4D10-A88B-6FB18E39B017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23" name="Picture 22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71E456EB-C1B3-41C8-B7AA-C445D3F745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7" name="Objekt 6">
            <a:extLst>
              <a:ext uri="{FF2B5EF4-FFF2-40B4-BE49-F238E27FC236}">
                <a16:creationId xmlns:a16="http://schemas.microsoft.com/office/drawing/2014/main" id="{E741484E-3FBE-4594-987B-6A8F942E05C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38333526"/>
              </p:ext>
            </p:extLst>
          </p:nvPr>
        </p:nvGraphicFramePr>
        <p:xfrm>
          <a:off x="3317875" y="1843088"/>
          <a:ext cx="2162175" cy="37036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2752570" imgH="3876739" progId="Excel.Sheet.12">
                  <p:link updateAutomatic="1"/>
                </p:oleObj>
              </mc:Choice>
              <mc:Fallback>
                <p:oleObj name="Worksheet" r:id="rId4" imgW="2752570" imgH="3876739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317875" y="1843088"/>
                        <a:ext cx="2162175" cy="37036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4C799441-0A88-49EA-8873-D1D82ACAB2C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04859937"/>
              </p:ext>
            </p:extLst>
          </p:nvPr>
        </p:nvGraphicFramePr>
        <p:xfrm>
          <a:off x="-620713" y="5500688"/>
          <a:ext cx="8102601" cy="33766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8096344" imgH="3524340" progId="Excel.Sheet.12">
                  <p:link updateAutomatic="1"/>
                </p:oleObj>
              </mc:Choice>
              <mc:Fallback>
                <p:oleObj name="Worksheet" r:id="rId6" imgW="8096344" imgH="3524340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-620713" y="5500688"/>
                        <a:ext cx="8102601" cy="33766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kt 10">
            <a:extLst>
              <a:ext uri="{FF2B5EF4-FFF2-40B4-BE49-F238E27FC236}">
                <a16:creationId xmlns:a16="http://schemas.microsoft.com/office/drawing/2014/main" id="{EA38BCA7-4858-4128-A52E-0DAB7136BF7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54918673"/>
              </p:ext>
            </p:extLst>
          </p:nvPr>
        </p:nvGraphicFramePr>
        <p:xfrm>
          <a:off x="5970588" y="234950"/>
          <a:ext cx="554037" cy="752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619085" imgH="828521" progId="Excel.Sheet.12">
                  <p:link updateAutomatic="1"/>
                </p:oleObj>
              </mc:Choice>
              <mc:Fallback>
                <p:oleObj name="Worksheet" r:id="rId8" imgW="619085" imgH="82852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970588" y="234950"/>
                        <a:ext cx="554037" cy="7524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92B505AE-353D-4852-91CB-67F7E358C99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65893830"/>
              </p:ext>
            </p:extLst>
          </p:nvPr>
        </p:nvGraphicFramePr>
        <p:xfrm>
          <a:off x="1173163" y="1844675"/>
          <a:ext cx="2168525" cy="34417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10" imgW="2752570" imgH="3609833" progId="Excel.Sheet.12">
                  <p:link updateAutomatic="1"/>
                </p:oleObj>
              </mc:Choice>
              <mc:Fallback>
                <p:oleObj name="Worksheet" r:id="rId10" imgW="2752570" imgH="360983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73163" y="1844675"/>
                        <a:ext cx="2168525" cy="34417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020908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1">
            <a:extLst>
              <a:ext uri="{FF2B5EF4-FFF2-40B4-BE49-F238E27FC236}">
                <a16:creationId xmlns:a16="http://schemas.microsoft.com/office/drawing/2014/main" id="{A7081028-C378-4FA8-988C-F32DD9F37F4C}"/>
              </a:ext>
            </a:extLst>
          </p:cNvPr>
          <p:cNvSpPr txBox="1"/>
          <p:nvPr/>
        </p:nvSpPr>
        <p:spPr>
          <a:xfrm>
            <a:off x="0" y="1178752"/>
            <a:ext cx="6858000" cy="276999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Average weight, Danish Crown (dressed) kg 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2283F0C-1CEC-4445-ADB0-A32B445E8A96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6C664C1-8CB3-4985-A7C4-CA8682B0DA94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kstboks 31">
            <a:extLst>
              <a:ext uri="{FF2B5EF4-FFF2-40B4-BE49-F238E27FC236}">
                <a16:creationId xmlns:a16="http://schemas.microsoft.com/office/drawing/2014/main" id="{7613FE9C-D2D5-4A5A-8CFC-D7430C1644CA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059A1EA-6401-4DD6-AF26-8DD6D477BA5C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23" name="Picture 22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FC3801E7-3F77-4772-8185-68220C9AE1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F080DDB1-CFF7-4511-B299-D5659441990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49726917"/>
              </p:ext>
            </p:extLst>
          </p:nvPr>
        </p:nvGraphicFramePr>
        <p:xfrm>
          <a:off x="3028950" y="1711325"/>
          <a:ext cx="2659063" cy="4432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2752570" imgH="4428971" progId="Excel.Sheet.12">
                  <p:link updateAutomatic="1"/>
                </p:oleObj>
              </mc:Choice>
              <mc:Fallback>
                <p:oleObj name="Worksheet" r:id="rId4" imgW="2752570" imgH="442897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028950" y="1711325"/>
                        <a:ext cx="2659063" cy="44323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kt 5">
            <a:extLst>
              <a:ext uri="{FF2B5EF4-FFF2-40B4-BE49-F238E27FC236}">
                <a16:creationId xmlns:a16="http://schemas.microsoft.com/office/drawing/2014/main" id="{1D7D84DA-EA22-44AD-B317-1105659F8BB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98698714"/>
              </p:ext>
            </p:extLst>
          </p:nvPr>
        </p:nvGraphicFramePr>
        <p:xfrm>
          <a:off x="168275" y="5962650"/>
          <a:ext cx="6283325" cy="32797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6724570" imgH="3505226" progId="Excel.Sheet.12">
                  <p:link updateAutomatic="1"/>
                </p:oleObj>
              </mc:Choice>
              <mc:Fallback>
                <p:oleObj name="Worksheet" r:id="rId6" imgW="6724570" imgH="3505226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8275" y="5962650"/>
                        <a:ext cx="6283325" cy="32797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57791F96-E4E9-439A-A383-3B3E517D878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12587952"/>
              </p:ext>
            </p:extLst>
          </p:nvPr>
        </p:nvGraphicFramePr>
        <p:xfrm>
          <a:off x="5943600" y="246063"/>
          <a:ext cx="554038" cy="7540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619085" imgH="828521" progId="Excel.Sheet.12">
                  <p:link updateAutomatic="1"/>
                </p:oleObj>
              </mc:Choice>
              <mc:Fallback>
                <p:oleObj name="Worksheet" r:id="rId8" imgW="619085" imgH="82852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943600" y="246063"/>
                        <a:ext cx="554038" cy="7540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kt 3">
            <a:extLst>
              <a:ext uri="{FF2B5EF4-FFF2-40B4-BE49-F238E27FC236}">
                <a16:creationId xmlns:a16="http://schemas.microsoft.com/office/drawing/2014/main" id="{308C21FA-4892-4B72-9EAA-680D4707048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03984394"/>
              </p:ext>
            </p:extLst>
          </p:nvPr>
        </p:nvGraphicFramePr>
        <p:xfrm>
          <a:off x="820738" y="1711325"/>
          <a:ext cx="2657475" cy="4127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10" imgW="2752570" imgH="4124183" progId="Excel.Sheet.12">
                  <p:link updateAutomatic="1"/>
                </p:oleObj>
              </mc:Choice>
              <mc:Fallback>
                <p:oleObj name="Worksheet" r:id="rId10" imgW="2752570" imgH="412418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820738" y="1711325"/>
                        <a:ext cx="2657475" cy="41275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486132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1">
            <a:extLst>
              <a:ext uri="{FF2B5EF4-FFF2-40B4-BE49-F238E27FC236}">
                <a16:creationId xmlns:a16="http://schemas.microsoft.com/office/drawing/2014/main" id="{2570B4B0-6D00-4C56-85CB-DB2D2727D945}"/>
              </a:ext>
            </a:extLst>
          </p:cNvPr>
          <p:cNvSpPr txBox="1"/>
          <p:nvPr/>
        </p:nvSpPr>
        <p:spPr>
          <a:xfrm>
            <a:off x="0" y="1048127"/>
            <a:ext cx="6858000" cy="523220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Total killings Denmark </a:t>
            </a:r>
          </a:p>
          <a:p>
            <a:pPr algn="ctr"/>
            <a:r>
              <a:rPr lang="en-US" sz="1600" i="1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(98 % of all </a:t>
            </a:r>
            <a:r>
              <a:rPr lang="en-US" sz="1600" i="1" dirty="0" err="1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slaughterings</a:t>
            </a:r>
            <a:r>
              <a:rPr lang="en-US" sz="1600" i="1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F654543-3250-4E93-B06C-71BE991BDEA7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08FBF5F-FDAE-4A59-A88D-BE21347DE0C3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kstboks 31">
            <a:extLst>
              <a:ext uri="{FF2B5EF4-FFF2-40B4-BE49-F238E27FC236}">
                <a16:creationId xmlns:a16="http://schemas.microsoft.com/office/drawing/2014/main" id="{1D2F3E43-2F21-42E1-9717-8E1EFDC69408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5268FE9-EDB7-42F2-8524-BDB7B417B676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23" name="Picture 22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F3EE6D3B-42E0-432D-A9D9-26D348CCBA5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4" name="Objekt 3">
            <a:extLst>
              <a:ext uri="{FF2B5EF4-FFF2-40B4-BE49-F238E27FC236}">
                <a16:creationId xmlns:a16="http://schemas.microsoft.com/office/drawing/2014/main" id="{7F783B63-0631-4579-8352-E60383632D6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93361425"/>
              </p:ext>
            </p:extLst>
          </p:nvPr>
        </p:nvGraphicFramePr>
        <p:xfrm>
          <a:off x="3351213" y="2085975"/>
          <a:ext cx="2630487" cy="38306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2752570" imgH="4010192" progId="Excel.Sheet.12">
                  <p:link updateAutomatic="1"/>
                </p:oleObj>
              </mc:Choice>
              <mc:Fallback>
                <p:oleObj name="Worksheet" r:id="rId4" imgW="2752570" imgH="4010192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351213" y="2085975"/>
                        <a:ext cx="2630487" cy="38306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kt 6">
            <a:extLst>
              <a:ext uri="{FF2B5EF4-FFF2-40B4-BE49-F238E27FC236}">
                <a16:creationId xmlns:a16="http://schemas.microsoft.com/office/drawing/2014/main" id="{CC8F8863-3C44-4EB3-B2AF-462E05D9EBE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28476768"/>
              </p:ext>
            </p:extLst>
          </p:nvPr>
        </p:nvGraphicFramePr>
        <p:xfrm>
          <a:off x="274638" y="6080125"/>
          <a:ext cx="6310312" cy="27543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4990854" imgH="2162008" progId="Excel.Sheet.12">
                  <p:link updateAutomatic="1"/>
                </p:oleObj>
              </mc:Choice>
              <mc:Fallback>
                <p:oleObj name="Worksheet" r:id="rId6" imgW="4990854" imgH="2162008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74638" y="6080125"/>
                        <a:ext cx="6310312" cy="27543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5E6EE631-5C0E-45CE-85FF-39D60AF3639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2401690"/>
              </p:ext>
            </p:extLst>
          </p:nvPr>
        </p:nvGraphicFramePr>
        <p:xfrm>
          <a:off x="5951538" y="230188"/>
          <a:ext cx="577850" cy="7953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619085" imgH="828521" progId="Excel.Sheet.12">
                  <p:link updateAutomatic="1"/>
                </p:oleObj>
              </mc:Choice>
              <mc:Fallback>
                <p:oleObj name="Worksheet" r:id="rId8" imgW="619085" imgH="82852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951538" y="230188"/>
                        <a:ext cx="577850" cy="7953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893F9717-0CE9-4390-B115-5034B3E337F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79775827"/>
              </p:ext>
            </p:extLst>
          </p:nvPr>
        </p:nvGraphicFramePr>
        <p:xfrm>
          <a:off x="701675" y="2076450"/>
          <a:ext cx="2628900" cy="34496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10" imgW="2752570" imgH="3609833" progId="Excel.Sheet.12">
                  <p:link updateAutomatic="1"/>
                </p:oleObj>
              </mc:Choice>
              <mc:Fallback>
                <p:oleObj name="Worksheet" r:id="rId10" imgW="2752570" imgH="360983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701675" y="2076450"/>
                        <a:ext cx="2628900" cy="34496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039263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1">
            <a:extLst>
              <a:ext uri="{FF2B5EF4-FFF2-40B4-BE49-F238E27FC236}">
                <a16:creationId xmlns:a16="http://schemas.microsoft.com/office/drawing/2014/main" id="{28118998-E472-4782-A357-994F61F73580}"/>
              </a:ext>
            </a:extLst>
          </p:cNvPr>
          <p:cNvSpPr txBox="1"/>
          <p:nvPr/>
        </p:nvSpPr>
        <p:spPr>
          <a:xfrm>
            <a:off x="0" y="1033274"/>
            <a:ext cx="6858000" cy="276999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Weekly slaughtering’s Danish Crown Essen</a:t>
            </a:r>
            <a:endParaRPr lang="da-DK" dirty="0">
              <a:solidFill>
                <a:srgbClr val="005151"/>
              </a:solidFill>
              <a:latin typeface="Danish Crown Display" panose="00000800000000000000" pitchFamily="50" charset="0"/>
              <a:cs typeface="Arial" panose="020B0604020202020204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03FAC99-167D-41B6-9066-7D7C3D1D144B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CC49A21-7615-4D3B-9BFB-573004E4DB8F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Tekstboks 31">
            <a:extLst>
              <a:ext uri="{FF2B5EF4-FFF2-40B4-BE49-F238E27FC236}">
                <a16:creationId xmlns:a16="http://schemas.microsoft.com/office/drawing/2014/main" id="{2AD422F1-4198-444A-950E-08F885A41EA1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436C06E-0321-4F53-B8FD-0D0DDC8FA7A6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22" name="Picture 21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3B84A782-2E59-4E4A-8F79-FB3745B0C5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5D3BDB57-A67D-4507-BC50-950EFE07F89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30851193"/>
              </p:ext>
            </p:extLst>
          </p:nvPr>
        </p:nvGraphicFramePr>
        <p:xfrm>
          <a:off x="3197225" y="1357313"/>
          <a:ext cx="3011488" cy="5133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3152685" imgH="5029161" progId="Excel.Sheet.12">
                  <p:link updateAutomatic="1"/>
                </p:oleObj>
              </mc:Choice>
              <mc:Fallback>
                <p:oleObj name="Worksheet" r:id="rId4" imgW="3152685" imgH="502916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97225" y="1357313"/>
                        <a:ext cx="3011488" cy="5133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kt 6">
            <a:extLst>
              <a:ext uri="{FF2B5EF4-FFF2-40B4-BE49-F238E27FC236}">
                <a16:creationId xmlns:a16="http://schemas.microsoft.com/office/drawing/2014/main" id="{5FAE783E-F3E7-4387-A598-0275283AB82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06089207"/>
              </p:ext>
            </p:extLst>
          </p:nvPr>
        </p:nvGraphicFramePr>
        <p:xfrm>
          <a:off x="463550" y="6311900"/>
          <a:ext cx="5716588" cy="2876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8448570" imgH="3981347" progId="Excel.Sheet.12">
                  <p:link updateAutomatic="1"/>
                </p:oleObj>
              </mc:Choice>
              <mc:Fallback>
                <p:oleObj name="Worksheet" r:id="rId6" imgW="8448570" imgH="3981347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63550" y="6311900"/>
                        <a:ext cx="5716588" cy="28765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C5AE5B1C-DBCE-48FD-986D-53064F9C16C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89789455"/>
              </p:ext>
            </p:extLst>
          </p:nvPr>
        </p:nvGraphicFramePr>
        <p:xfrm>
          <a:off x="5946775" y="220663"/>
          <a:ext cx="587375" cy="7953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619085" imgH="828521" progId="Excel.Sheet.12">
                  <p:link updateAutomatic="1"/>
                </p:oleObj>
              </mc:Choice>
              <mc:Fallback>
                <p:oleObj name="Worksheet" r:id="rId8" imgW="619085" imgH="82852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946775" y="220663"/>
                        <a:ext cx="587375" cy="7953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3D0D0B22-954C-4283-BD5F-0BCEE827049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59521978"/>
              </p:ext>
            </p:extLst>
          </p:nvPr>
        </p:nvGraphicFramePr>
        <p:xfrm>
          <a:off x="320675" y="1363663"/>
          <a:ext cx="3006725" cy="4473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10" imgW="3152685" imgH="4381358" progId="Excel.Sheet.12">
                  <p:link updateAutomatic="1"/>
                </p:oleObj>
              </mc:Choice>
              <mc:Fallback>
                <p:oleObj name="Worksheet" r:id="rId10" imgW="3152685" imgH="4381358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320675" y="1363663"/>
                        <a:ext cx="3006725" cy="44735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999333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1">
            <a:extLst>
              <a:ext uri="{FF2B5EF4-FFF2-40B4-BE49-F238E27FC236}">
                <a16:creationId xmlns:a16="http://schemas.microsoft.com/office/drawing/2014/main" id="{13231EAB-9240-4AB3-AB5F-05F8B9CCFFF3}"/>
              </a:ext>
            </a:extLst>
          </p:cNvPr>
          <p:cNvSpPr txBox="1"/>
          <p:nvPr/>
        </p:nvSpPr>
        <p:spPr>
          <a:xfrm>
            <a:off x="0" y="1197957"/>
            <a:ext cx="6858000" cy="276999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African swine fever 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E884B922-1128-41CF-BC9B-3C855290CB52}"/>
              </a:ext>
            </a:extLst>
          </p:cNvPr>
          <p:cNvSpPr/>
          <p:nvPr/>
        </p:nvSpPr>
        <p:spPr>
          <a:xfrm>
            <a:off x="403636" y="1727369"/>
            <a:ext cx="605072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latin typeface="Danish Crown Text" panose="00000500000000000000" pitchFamily="50" charset="0"/>
              </a:rPr>
              <a:t>The EU Commission's reporting system for African swine fever for EU countries and Ukraine has been updated until 24</a:t>
            </a:r>
            <a:r>
              <a:rPr lang="en-US" sz="1200" baseline="30000" dirty="0">
                <a:latin typeface="Danish Crown Text" panose="00000500000000000000" pitchFamily="50" charset="0"/>
              </a:rPr>
              <a:t>th </a:t>
            </a:r>
            <a:r>
              <a:rPr lang="en-US" sz="1200" dirty="0">
                <a:latin typeface="Danish Crown Text" panose="00000500000000000000" pitchFamily="50" charset="0"/>
              </a:rPr>
              <a:t>of July.</a:t>
            </a:r>
            <a:endParaRPr lang="da-DK" sz="1200" dirty="0">
              <a:latin typeface="Danish Crown Text" panose="00000500000000000000" pitchFamily="50" charset="0"/>
            </a:endParaRPr>
          </a:p>
        </p:txBody>
      </p:sp>
      <p:pic>
        <p:nvPicPr>
          <p:cNvPr id="15" name="Picture 14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22D385A1-703E-49D8-8CE1-BC36193FE49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sp>
        <p:nvSpPr>
          <p:cNvPr id="17" name="Oval 16">
            <a:extLst>
              <a:ext uri="{FF2B5EF4-FFF2-40B4-BE49-F238E27FC236}">
                <a16:creationId xmlns:a16="http://schemas.microsoft.com/office/drawing/2014/main" id="{4F879D74-3FE7-4578-9AF9-01AC34F05E0A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728AE28-9010-484C-9045-5DD285247FD2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kstboks 31">
            <a:extLst>
              <a:ext uri="{FF2B5EF4-FFF2-40B4-BE49-F238E27FC236}">
                <a16:creationId xmlns:a16="http://schemas.microsoft.com/office/drawing/2014/main" id="{82CB91B9-C1C5-4ED4-991E-C936C8068FBC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,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Mars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43, DK-896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B9E22F6-54DD-4FC0-A0D6-435433C05FED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sp>
        <p:nvSpPr>
          <p:cNvPr id="2562" name="Freeform 2062">
            <a:extLst>
              <a:ext uri="{FF2B5EF4-FFF2-40B4-BE49-F238E27FC236}">
                <a16:creationId xmlns:a16="http://schemas.microsoft.com/office/drawing/2014/main" id="{AC919290-4D42-466E-AC0F-4430AE5B6A21}"/>
              </a:ext>
            </a:extLst>
          </p:cNvPr>
          <p:cNvSpPr>
            <a:spLocks/>
          </p:cNvSpPr>
          <p:nvPr/>
        </p:nvSpPr>
        <p:spPr bwMode="auto">
          <a:xfrm>
            <a:off x="7311192" y="7935370"/>
            <a:ext cx="2240" cy="5304"/>
          </a:xfrm>
          <a:custGeom>
            <a:avLst/>
            <a:gdLst>
              <a:gd name="T0" fmla="*/ 3 w 3"/>
              <a:gd name="T1" fmla="*/ 2 h 2"/>
              <a:gd name="T2" fmla="*/ 3 w 3"/>
              <a:gd name="T3" fmla="*/ 0 h 2"/>
              <a:gd name="T4" fmla="*/ 3 w 3"/>
              <a:gd name="T5" fmla="*/ 0 h 2"/>
              <a:gd name="T6" fmla="*/ 0 w 3"/>
              <a:gd name="T7" fmla="*/ 1 h 2"/>
              <a:gd name="T8" fmla="*/ 3 w 3"/>
              <a:gd name="T9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2">
                <a:moveTo>
                  <a:pt x="3" y="2"/>
                </a:moveTo>
                <a:lnTo>
                  <a:pt x="3" y="0"/>
                </a:lnTo>
                <a:lnTo>
                  <a:pt x="3" y="0"/>
                </a:lnTo>
                <a:lnTo>
                  <a:pt x="0" y="1"/>
                </a:lnTo>
                <a:lnTo>
                  <a:pt x="3" y="2"/>
                </a:lnTo>
              </a:path>
            </a:pathLst>
          </a:custGeom>
          <a:solidFill>
            <a:srgbClr val="D3E7D3"/>
          </a:solidFill>
          <a:ln w="3175">
            <a:solidFill>
              <a:sysClr val="window" lastClr="FFFFFF"/>
            </a:solidFill>
            <a:prstDash val="solid"/>
            <a:round/>
            <a:headEnd/>
            <a:tailEnd type="none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216000" marR="0" lvl="0" indent="-216000" defTabSz="914400" eaLnBrk="1" fontAlgn="auto" latinLnBrk="0" hangingPunct="1">
              <a:lnSpc>
                <a:spcPct val="98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a-DK" sz="2000" b="0" i="0" u="none" strike="noStrike" kern="0" cap="none" spc="0" normalizeH="0" baseline="0" noProof="0">
              <a:ln>
                <a:noFill/>
              </a:ln>
              <a:solidFill>
                <a:srgbClr val="91C391"/>
              </a:solidFill>
              <a:effectLst/>
              <a:uLnTx/>
              <a:uFillTx/>
              <a:latin typeface="Danish Crown Text Office"/>
            </a:endParaRPr>
          </a:p>
        </p:txBody>
      </p:sp>
      <p:grpSp>
        <p:nvGrpSpPr>
          <p:cNvPr id="2579" name="Group 2578">
            <a:extLst>
              <a:ext uri="{FF2B5EF4-FFF2-40B4-BE49-F238E27FC236}">
                <a16:creationId xmlns:a16="http://schemas.microsoft.com/office/drawing/2014/main" id="{523157BF-D65F-41B8-8C2B-A9A07B21F4F3}"/>
              </a:ext>
            </a:extLst>
          </p:cNvPr>
          <p:cNvGrpSpPr/>
          <p:nvPr/>
        </p:nvGrpSpPr>
        <p:grpSpPr>
          <a:xfrm>
            <a:off x="-72724" y="5730873"/>
            <a:ext cx="6716404" cy="2816164"/>
            <a:chOff x="1084571" y="4433432"/>
            <a:chExt cx="7119899" cy="3091789"/>
          </a:xfrm>
        </p:grpSpPr>
        <p:grpSp>
          <p:nvGrpSpPr>
            <p:cNvPr id="2578" name="Group 2577">
              <a:extLst>
                <a:ext uri="{FF2B5EF4-FFF2-40B4-BE49-F238E27FC236}">
                  <a16:creationId xmlns:a16="http://schemas.microsoft.com/office/drawing/2014/main" id="{6CE65F3D-5064-4A85-BA90-D969448DBF31}"/>
                </a:ext>
              </a:extLst>
            </p:cNvPr>
            <p:cNvGrpSpPr/>
            <p:nvPr/>
          </p:nvGrpSpPr>
          <p:grpSpPr>
            <a:xfrm>
              <a:off x="1084571" y="4433432"/>
              <a:ext cx="7119899" cy="3047360"/>
              <a:chOff x="1084571" y="4433432"/>
              <a:chExt cx="7119899" cy="3047360"/>
            </a:xfrm>
          </p:grpSpPr>
          <p:grpSp>
            <p:nvGrpSpPr>
              <p:cNvPr id="4" name="Group 3">
                <a:extLst>
                  <a:ext uri="{FF2B5EF4-FFF2-40B4-BE49-F238E27FC236}">
                    <a16:creationId xmlns:a16="http://schemas.microsoft.com/office/drawing/2014/main" id="{B4996768-0C24-4CF4-9DE1-4BAF19000B88}"/>
                  </a:ext>
                </a:extLst>
              </p:cNvPr>
              <p:cNvGrpSpPr/>
              <p:nvPr/>
            </p:nvGrpSpPr>
            <p:grpSpPr>
              <a:xfrm>
                <a:off x="1084571" y="4433432"/>
                <a:ext cx="7119899" cy="3047360"/>
                <a:chOff x="1076932" y="4652102"/>
                <a:chExt cx="5316469" cy="2275479"/>
              </a:xfrm>
            </p:grpSpPr>
            <p:sp>
              <p:nvSpPr>
                <p:cNvPr id="2150" name="Freeform 7">
                  <a:extLst>
                    <a:ext uri="{FF2B5EF4-FFF2-40B4-BE49-F238E27FC236}">
                      <a16:creationId xmlns:a16="http://schemas.microsoft.com/office/drawing/2014/main" id="{8BA64C58-98A3-487E-BE42-ADEEECA24C7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9835" y="6124002"/>
                  <a:ext cx="210420" cy="106083"/>
                </a:xfrm>
                <a:custGeom>
                  <a:avLst/>
                  <a:gdLst>
                    <a:gd name="T0" fmla="*/ 1 w 188"/>
                    <a:gd name="T1" fmla="*/ 2 h 80"/>
                    <a:gd name="T2" fmla="*/ 10 w 188"/>
                    <a:gd name="T3" fmla="*/ 0 h 80"/>
                    <a:gd name="T4" fmla="*/ 28 w 188"/>
                    <a:gd name="T5" fmla="*/ 3 h 80"/>
                    <a:gd name="T6" fmla="*/ 37 w 188"/>
                    <a:gd name="T7" fmla="*/ 7 h 80"/>
                    <a:gd name="T8" fmla="*/ 51 w 188"/>
                    <a:gd name="T9" fmla="*/ 12 h 80"/>
                    <a:gd name="T10" fmla="*/ 62 w 188"/>
                    <a:gd name="T11" fmla="*/ 11 h 80"/>
                    <a:gd name="T12" fmla="*/ 70 w 188"/>
                    <a:gd name="T13" fmla="*/ 12 h 80"/>
                    <a:gd name="T14" fmla="*/ 75 w 188"/>
                    <a:gd name="T15" fmla="*/ 12 h 80"/>
                    <a:gd name="T16" fmla="*/ 87 w 188"/>
                    <a:gd name="T17" fmla="*/ 18 h 80"/>
                    <a:gd name="T18" fmla="*/ 97 w 188"/>
                    <a:gd name="T19" fmla="*/ 23 h 80"/>
                    <a:gd name="T20" fmla="*/ 102 w 188"/>
                    <a:gd name="T21" fmla="*/ 28 h 80"/>
                    <a:gd name="T22" fmla="*/ 103 w 188"/>
                    <a:gd name="T23" fmla="*/ 29 h 80"/>
                    <a:gd name="T24" fmla="*/ 104 w 188"/>
                    <a:gd name="T25" fmla="*/ 29 h 80"/>
                    <a:gd name="T26" fmla="*/ 112 w 188"/>
                    <a:gd name="T27" fmla="*/ 29 h 80"/>
                    <a:gd name="T28" fmla="*/ 121 w 188"/>
                    <a:gd name="T29" fmla="*/ 25 h 80"/>
                    <a:gd name="T30" fmla="*/ 128 w 188"/>
                    <a:gd name="T31" fmla="*/ 27 h 80"/>
                    <a:gd name="T32" fmla="*/ 133 w 188"/>
                    <a:gd name="T33" fmla="*/ 27 h 80"/>
                    <a:gd name="T34" fmla="*/ 139 w 188"/>
                    <a:gd name="T35" fmla="*/ 28 h 80"/>
                    <a:gd name="T36" fmla="*/ 142 w 188"/>
                    <a:gd name="T37" fmla="*/ 30 h 80"/>
                    <a:gd name="T38" fmla="*/ 149 w 188"/>
                    <a:gd name="T39" fmla="*/ 33 h 80"/>
                    <a:gd name="T40" fmla="*/ 155 w 188"/>
                    <a:gd name="T41" fmla="*/ 33 h 80"/>
                    <a:gd name="T42" fmla="*/ 156 w 188"/>
                    <a:gd name="T43" fmla="*/ 38 h 80"/>
                    <a:gd name="T44" fmla="*/ 156 w 188"/>
                    <a:gd name="T45" fmla="*/ 43 h 80"/>
                    <a:gd name="T46" fmla="*/ 161 w 188"/>
                    <a:gd name="T47" fmla="*/ 48 h 80"/>
                    <a:gd name="T48" fmla="*/ 174 w 188"/>
                    <a:gd name="T49" fmla="*/ 51 h 80"/>
                    <a:gd name="T50" fmla="*/ 177 w 188"/>
                    <a:gd name="T51" fmla="*/ 54 h 80"/>
                    <a:gd name="T52" fmla="*/ 173 w 188"/>
                    <a:gd name="T53" fmla="*/ 60 h 80"/>
                    <a:gd name="T54" fmla="*/ 174 w 188"/>
                    <a:gd name="T55" fmla="*/ 64 h 80"/>
                    <a:gd name="T56" fmla="*/ 183 w 188"/>
                    <a:gd name="T57" fmla="*/ 70 h 80"/>
                    <a:gd name="T58" fmla="*/ 188 w 188"/>
                    <a:gd name="T59" fmla="*/ 75 h 80"/>
                    <a:gd name="T60" fmla="*/ 188 w 188"/>
                    <a:gd name="T61" fmla="*/ 78 h 80"/>
                    <a:gd name="T62" fmla="*/ 182 w 188"/>
                    <a:gd name="T63" fmla="*/ 80 h 80"/>
                    <a:gd name="T64" fmla="*/ 173 w 188"/>
                    <a:gd name="T65" fmla="*/ 77 h 80"/>
                    <a:gd name="T66" fmla="*/ 163 w 188"/>
                    <a:gd name="T67" fmla="*/ 75 h 80"/>
                    <a:gd name="T68" fmla="*/ 153 w 188"/>
                    <a:gd name="T69" fmla="*/ 70 h 80"/>
                    <a:gd name="T70" fmla="*/ 146 w 188"/>
                    <a:gd name="T71" fmla="*/ 71 h 80"/>
                    <a:gd name="T72" fmla="*/ 141 w 188"/>
                    <a:gd name="T73" fmla="*/ 75 h 80"/>
                    <a:gd name="T74" fmla="*/ 140 w 188"/>
                    <a:gd name="T75" fmla="*/ 76 h 80"/>
                    <a:gd name="T76" fmla="*/ 125 w 188"/>
                    <a:gd name="T77" fmla="*/ 76 h 80"/>
                    <a:gd name="T78" fmla="*/ 112 w 188"/>
                    <a:gd name="T79" fmla="*/ 78 h 80"/>
                    <a:gd name="T80" fmla="*/ 101 w 188"/>
                    <a:gd name="T81" fmla="*/ 77 h 80"/>
                    <a:gd name="T82" fmla="*/ 97 w 188"/>
                    <a:gd name="T83" fmla="*/ 77 h 80"/>
                    <a:gd name="T84" fmla="*/ 94 w 188"/>
                    <a:gd name="T85" fmla="*/ 76 h 80"/>
                    <a:gd name="T86" fmla="*/ 93 w 188"/>
                    <a:gd name="T87" fmla="*/ 72 h 80"/>
                    <a:gd name="T88" fmla="*/ 88 w 188"/>
                    <a:gd name="T89" fmla="*/ 70 h 80"/>
                    <a:gd name="T90" fmla="*/ 82 w 188"/>
                    <a:gd name="T91" fmla="*/ 67 h 80"/>
                    <a:gd name="T92" fmla="*/ 80 w 188"/>
                    <a:gd name="T93" fmla="*/ 64 h 80"/>
                    <a:gd name="T94" fmla="*/ 76 w 188"/>
                    <a:gd name="T95" fmla="*/ 68 h 80"/>
                    <a:gd name="T96" fmla="*/ 69 w 188"/>
                    <a:gd name="T97" fmla="*/ 68 h 80"/>
                    <a:gd name="T98" fmla="*/ 61 w 188"/>
                    <a:gd name="T99" fmla="*/ 67 h 80"/>
                    <a:gd name="T100" fmla="*/ 58 w 188"/>
                    <a:gd name="T101" fmla="*/ 70 h 80"/>
                    <a:gd name="T102" fmla="*/ 53 w 188"/>
                    <a:gd name="T103" fmla="*/ 67 h 80"/>
                    <a:gd name="T104" fmla="*/ 49 w 188"/>
                    <a:gd name="T105" fmla="*/ 66 h 80"/>
                    <a:gd name="T106" fmla="*/ 53 w 188"/>
                    <a:gd name="T107" fmla="*/ 56 h 80"/>
                    <a:gd name="T108" fmla="*/ 50 w 188"/>
                    <a:gd name="T109" fmla="*/ 48 h 80"/>
                    <a:gd name="T110" fmla="*/ 46 w 188"/>
                    <a:gd name="T111" fmla="*/ 39 h 80"/>
                    <a:gd name="T112" fmla="*/ 42 w 188"/>
                    <a:gd name="T113" fmla="*/ 29 h 80"/>
                    <a:gd name="T114" fmla="*/ 35 w 188"/>
                    <a:gd name="T115" fmla="*/ 24 h 80"/>
                    <a:gd name="T116" fmla="*/ 29 w 188"/>
                    <a:gd name="T117" fmla="*/ 21 h 80"/>
                    <a:gd name="T118" fmla="*/ 23 w 188"/>
                    <a:gd name="T119" fmla="*/ 16 h 80"/>
                    <a:gd name="T120" fmla="*/ 11 w 188"/>
                    <a:gd name="T121" fmla="*/ 13 h 80"/>
                    <a:gd name="T122" fmla="*/ 5 w 188"/>
                    <a:gd name="T123" fmla="*/ 7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88" h="80">
                      <a:moveTo>
                        <a:pt x="0" y="6"/>
                      </a:moveTo>
                      <a:lnTo>
                        <a:pt x="1" y="2"/>
                      </a:lnTo>
                      <a:lnTo>
                        <a:pt x="5" y="0"/>
                      </a:lnTo>
                      <a:lnTo>
                        <a:pt x="10" y="0"/>
                      </a:lnTo>
                      <a:lnTo>
                        <a:pt x="16" y="0"/>
                      </a:lnTo>
                      <a:lnTo>
                        <a:pt x="28" y="3"/>
                      </a:lnTo>
                      <a:lnTo>
                        <a:pt x="33" y="6"/>
                      </a:lnTo>
                      <a:lnTo>
                        <a:pt x="37" y="7"/>
                      </a:lnTo>
                      <a:lnTo>
                        <a:pt x="46" y="11"/>
                      </a:lnTo>
                      <a:lnTo>
                        <a:pt x="51" y="12"/>
                      </a:lnTo>
                      <a:lnTo>
                        <a:pt x="56" y="11"/>
                      </a:lnTo>
                      <a:lnTo>
                        <a:pt x="62" y="11"/>
                      </a:lnTo>
                      <a:lnTo>
                        <a:pt x="67" y="12"/>
                      </a:lnTo>
                      <a:lnTo>
                        <a:pt x="70" y="12"/>
                      </a:lnTo>
                      <a:lnTo>
                        <a:pt x="72" y="12"/>
                      </a:lnTo>
                      <a:lnTo>
                        <a:pt x="75" y="12"/>
                      </a:lnTo>
                      <a:lnTo>
                        <a:pt x="78" y="13"/>
                      </a:lnTo>
                      <a:lnTo>
                        <a:pt x="87" y="18"/>
                      </a:lnTo>
                      <a:lnTo>
                        <a:pt x="93" y="22"/>
                      </a:lnTo>
                      <a:lnTo>
                        <a:pt x="97" y="23"/>
                      </a:lnTo>
                      <a:lnTo>
                        <a:pt x="99" y="25"/>
                      </a:lnTo>
                      <a:lnTo>
                        <a:pt x="102" y="28"/>
                      </a:lnTo>
                      <a:lnTo>
                        <a:pt x="103" y="29"/>
                      </a:lnTo>
                      <a:lnTo>
                        <a:pt x="103" y="29"/>
                      </a:lnTo>
                      <a:lnTo>
                        <a:pt x="103" y="29"/>
                      </a:lnTo>
                      <a:lnTo>
                        <a:pt x="104" y="29"/>
                      </a:lnTo>
                      <a:lnTo>
                        <a:pt x="108" y="30"/>
                      </a:lnTo>
                      <a:lnTo>
                        <a:pt x="112" y="29"/>
                      </a:lnTo>
                      <a:lnTo>
                        <a:pt x="119" y="27"/>
                      </a:lnTo>
                      <a:lnTo>
                        <a:pt x="121" y="25"/>
                      </a:lnTo>
                      <a:lnTo>
                        <a:pt x="125" y="25"/>
                      </a:lnTo>
                      <a:lnTo>
                        <a:pt x="128" y="27"/>
                      </a:lnTo>
                      <a:lnTo>
                        <a:pt x="130" y="30"/>
                      </a:lnTo>
                      <a:lnTo>
                        <a:pt x="133" y="27"/>
                      </a:lnTo>
                      <a:lnTo>
                        <a:pt x="136" y="27"/>
                      </a:lnTo>
                      <a:lnTo>
                        <a:pt x="139" y="28"/>
                      </a:lnTo>
                      <a:lnTo>
                        <a:pt x="141" y="29"/>
                      </a:lnTo>
                      <a:lnTo>
                        <a:pt x="142" y="30"/>
                      </a:lnTo>
                      <a:lnTo>
                        <a:pt x="145" y="32"/>
                      </a:lnTo>
                      <a:lnTo>
                        <a:pt x="149" y="33"/>
                      </a:lnTo>
                      <a:lnTo>
                        <a:pt x="151" y="33"/>
                      </a:lnTo>
                      <a:lnTo>
                        <a:pt x="155" y="33"/>
                      </a:lnTo>
                      <a:lnTo>
                        <a:pt x="156" y="35"/>
                      </a:lnTo>
                      <a:lnTo>
                        <a:pt x="156" y="38"/>
                      </a:lnTo>
                      <a:lnTo>
                        <a:pt x="156" y="40"/>
                      </a:lnTo>
                      <a:lnTo>
                        <a:pt x="156" y="43"/>
                      </a:lnTo>
                      <a:lnTo>
                        <a:pt x="157" y="44"/>
                      </a:lnTo>
                      <a:lnTo>
                        <a:pt x="161" y="48"/>
                      </a:lnTo>
                      <a:lnTo>
                        <a:pt x="166" y="49"/>
                      </a:lnTo>
                      <a:lnTo>
                        <a:pt x="174" y="51"/>
                      </a:lnTo>
                      <a:lnTo>
                        <a:pt x="177" y="52"/>
                      </a:lnTo>
                      <a:lnTo>
                        <a:pt x="177" y="54"/>
                      </a:lnTo>
                      <a:lnTo>
                        <a:pt x="176" y="57"/>
                      </a:lnTo>
                      <a:lnTo>
                        <a:pt x="173" y="60"/>
                      </a:lnTo>
                      <a:lnTo>
                        <a:pt x="173" y="61"/>
                      </a:lnTo>
                      <a:lnTo>
                        <a:pt x="174" y="64"/>
                      </a:lnTo>
                      <a:lnTo>
                        <a:pt x="178" y="66"/>
                      </a:lnTo>
                      <a:lnTo>
                        <a:pt x="183" y="70"/>
                      </a:lnTo>
                      <a:lnTo>
                        <a:pt x="187" y="72"/>
                      </a:lnTo>
                      <a:lnTo>
                        <a:pt x="188" y="75"/>
                      </a:lnTo>
                      <a:lnTo>
                        <a:pt x="188" y="76"/>
                      </a:lnTo>
                      <a:lnTo>
                        <a:pt x="188" y="78"/>
                      </a:lnTo>
                      <a:lnTo>
                        <a:pt x="185" y="80"/>
                      </a:lnTo>
                      <a:lnTo>
                        <a:pt x="182" y="80"/>
                      </a:lnTo>
                      <a:lnTo>
                        <a:pt x="177" y="78"/>
                      </a:lnTo>
                      <a:lnTo>
                        <a:pt x="173" y="77"/>
                      </a:lnTo>
                      <a:lnTo>
                        <a:pt x="168" y="77"/>
                      </a:lnTo>
                      <a:lnTo>
                        <a:pt x="163" y="75"/>
                      </a:lnTo>
                      <a:lnTo>
                        <a:pt x="158" y="72"/>
                      </a:lnTo>
                      <a:lnTo>
                        <a:pt x="153" y="70"/>
                      </a:lnTo>
                      <a:lnTo>
                        <a:pt x="150" y="70"/>
                      </a:lnTo>
                      <a:lnTo>
                        <a:pt x="146" y="71"/>
                      </a:lnTo>
                      <a:lnTo>
                        <a:pt x="144" y="73"/>
                      </a:lnTo>
                      <a:lnTo>
                        <a:pt x="141" y="75"/>
                      </a:lnTo>
                      <a:lnTo>
                        <a:pt x="140" y="76"/>
                      </a:lnTo>
                      <a:lnTo>
                        <a:pt x="140" y="76"/>
                      </a:lnTo>
                      <a:lnTo>
                        <a:pt x="133" y="76"/>
                      </a:lnTo>
                      <a:lnTo>
                        <a:pt x="125" y="76"/>
                      </a:lnTo>
                      <a:lnTo>
                        <a:pt x="119" y="77"/>
                      </a:lnTo>
                      <a:lnTo>
                        <a:pt x="112" y="78"/>
                      </a:lnTo>
                      <a:lnTo>
                        <a:pt x="106" y="78"/>
                      </a:lnTo>
                      <a:lnTo>
                        <a:pt x="101" y="77"/>
                      </a:lnTo>
                      <a:lnTo>
                        <a:pt x="99" y="77"/>
                      </a:lnTo>
                      <a:lnTo>
                        <a:pt x="97" y="77"/>
                      </a:lnTo>
                      <a:lnTo>
                        <a:pt x="94" y="77"/>
                      </a:lnTo>
                      <a:lnTo>
                        <a:pt x="94" y="76"/>
                      </a:lnTo>
                      <a:lnTo>
                        <a:pt x="94" y="73"/>
                      </a:lnTo>
                      <a:lnTo>
                        <a:pt x="93" y="72"/>
                      </a:lnTo>
                      <a:lnTo>
                        <a:pt x="92" y="72"/>
                      </a:lnTo>
                      <a:lnTo>
                        <a:pt x="88" y="70"/>
                      </a:lnTo>
                      <a:lnTo>
                        <a:pt x="86" y="67"/>
                      </a:lnTo>
                      <a:lnTo>
                        <a:pt x="82" y="67"/>
                      </a:lnTo>
                      <a:lnTo>
                        <a:pt x="82" y="65"/>
                      </a:lnTo>
                      <a:lnTo>
                        <a:pt x="80" y="64"/>
                      </a:lnTo>
                      <a:lnTo>
                        <a:pt x="77" y="66"/>
                      </a:lnTo>
                      <a:lnTo>
                        <a:pt x="76" y="68"/>
                      </a:lnTo>
                      <a:lnTo>
                        <a:pt x="74" y="70"/>
                      </a:lnTo>
                      <a:lnTo>
                        <a:pt x="69" y="68"/>
                      </a:lnTo>
                      <a:lnTo>
                        <a:pt x="64" y="68"/>
                      </a:lnTo>
                      <a:lnTo>
                        <a:pt x="61" y="67"/>
                      </a:lnTo>
                      <a:lnTo>
                        <a:pt x="59" y="68"/>
                      </a:lnTo>
                      <a:lnTo>
                        <a:pt x="58" y="70"/>
                      </a:lnTo>
                      <a:lnTo>
                        <a:pt x="55" y="68"/>
                      </a:lnTo>
                      <a:lnTo>
                        <a:pt x="53" y="67"/>
                      </a:lnTo>
                      <a:lnTo>
                        <a:pt x="49" y="67"/>
                      </a:lnTo>
                      <a:lnTo>
                        <a:pt x="49" y="66"/>
                      </a:lnTo>
                      <a:lnTo>
                        <a:pt x="50" y="64"/>
                      </a:lnTo>
                      <a:lnTo>
                        <a:pt x="53" y="56"/>
                      </a:lnTo>
                      <a:lnTo>
                        <a:pt x="53" y="52"/>
                      </a:lnTo>
                      <a:lnTo>
                        <a:pt x="50" y="48"/>
                      </a:lnTo>
                      <a:lnTo>
                        <a:pt x="48" y="44"/>
                      </a:lnTo>
                      <a:lnTo>
                        <a:pt x="46" y="39"/>
                      </a:lnTo>
                      <a:lnTo>
                        <a:pt x="44" y="34"/>
                      </a:lnTo>
                      <a:lnTo>
                        <a:pt x="42" y="29"/>
                      </a:lnTo>
                      <a:lnTo>
                        <a:pt x="39" y="27"/>
                      </a:lnTo>
                      <a:lnTo>
                        <a:pt x="35" y="24"/>
                      </a:lnTo>
                      <a:lnTo>
                        <a:pt x="33" y="23"/>
                      </a:lnTo>
                      <a:lnTo>
                        <a:pt x="29" y="21"/>
                      </a:lnTo>
                      <a:lnTo>
                        <a:pt x="27" y="18"/>
                      </a:lnTo>
                      <a:lnTo>
                        <a:pt x="23" y="16"/>
                      </a:lnTo>
                      <a:lnTo>
                        <a:pt x="15" y="14"/>
                      </a:lnTo>
                      <a:lnTo>
                        <a:pt x="11" y="13"/>
                      </a:lnTo>
                      <a:lnTo>
                        <a:pt x="7" y="11"/>
                      </a:lnTo>
                      <a:lnTo>
                        <a:pt x="5" y="7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1" name="Freeform 10">
                  <a:extLst>
                    <a:ext uri="{FF2B5EF4-FFF2-40B4-BE49-F238E27FC236}">
                      <a16:creationId xmlns:a16="http://schemas.microsoft.com/office/drawing/2014/main" id="{528C30CF-DAC5-40E0-AFF0-A9B8CA9586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85076" y="5959573"/>
                  <a:ext cx="4477" cy="5304"/>
                </a:xfrm>
                <a:custGeom>
                  <a:avLst/>
                  <a:gdLst>
                    <a:gd name="T0" fmla="*/ 4 w 4"/>
                    <a:gd name="T1" fmla="*/ 4 h 4"/>
                    <a:gd name="T2" fmla="*/ 0 w 4"/>
                    <a:gd name="T3" fmla="*/ 0 h 4"/>
                    <a:gd name="T4" fmla="*/ 2 w 4"/>
                    <a:gd name="T5" fmla="*/ 3 h 4"/>
                    <a:gd name="T6" fmla="*/ 4 w 4"/>
                    <a:gd name="T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4">
                      <a:moveTo>
                        <a:pt x="4" y="4"/>
                      </a:moveTo>
                      <a:lnTo>
                        <a:pt x="0" y="0"/>
                      </a:lnTo>
                      <a:lnTo>
                        <a:pt x="2" y="3"/>
                      </a:lnTo>
                      <a:lnTo>
                        <a:pt x="4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2" name="Freeform 11">
                  <a:extLst>
                    <a:ext uri="{FF2B5EF4-FFF2-40B4-BE49-F238E27FC236}">
                      <a16:creationId xmlns:a16="http://schemas.microsoft.com/office/drawing/2014/main" id="{2D13E985-AA17-469B-8456-77456CB416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1938" y="5975487"/>
                  <a:ext cx="2240" cy="5304"/>
                </a:xfrm>
                <a:custGeom>
                  <a:avLst/>
                  <a:gdLst>
                    <a:gd name="T0" fmla="*/ 2 w 2"/>
                    <a:gd name="T1" fmla="*/ 2 h 2"/>
                    <a:gd name="T2" fmla="*/ 2 w 2"/>
                    <a:gd name="T3" fmla="*/ 0 h 2"/>
                    <a:gd name="T4" fmla="*/ 0 w 2"/>
                    <a:gd name="T5" fmla="*/ 0 h 2"/>
                    <a:gd name="T6" fmla="*/ 2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2" y="2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3" name="Freeform 12">
                  <a:extLst>
                    <a:ext uri="{FF2B5EF4-FFF2-40B4-BE49-F238E27FC236}">
                      <a16:creationId xmlns:a16="http://schemas.microsoft.com/office/drawing/2014/main" id="{97168DD8-78FC-4BED-8EB3-6F2F29F123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32084" y="6009964"/>
                  <a:ext cx="6716" cy="2653"/>
                </a:xfrm>
                <a:custGeom>
                  <a:avLst/>
                  <a:gdLst>
                    <a:gd name="T0" fmla="*/ 5 w 5"/>
                    <a:gd name="T1" fmla="*/ 2 h 2"/>
                    <a:gd name="T2" fmla="*/ 3 w 5"/>
                    <a:gd name="T3" fmla="*/ 0 h 2"/>
                    <a:gd name="T4" fmla="*/ 0 w 5"/>
                    <a:gd name="T5" fmla="*/ 0 h 2"/>
                    <a:gd name="T6" fmla="*/ 5 w 5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2">
                      <a:moveTo>
                        <a:pt x="5" y="2"/>
                      </a:move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5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4" name="Freeform 13">
                  <a:extLst>
                    <a:ext uri="{FF2B5EF4-FFF2-40B4-BE49-F238E27FC236}">
                      <a16:creationId xmlns:a16="http://schemas.microsoft.com/office/drawing/2014/main" id="{803D83D0-768B-4F75-B047-0C7253293F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34322" y="6017919"/>
                  <a:ext cx="6716" cy="10609"/>
                </a:xfrm>
                <a:custGeom>
                  <a:avLst/>
                  <a:gdLst>
                    <a:gd name="T0" fmla="*/ 4 w 5"/>
                    <a:gd name="T1" fmla="*/ 6 h 6"/>
                    <a:gd name="T2" fmla="*/ 5 w 5"/>
                    <a:gd name="T3" fmla="*/ 4 h 6"/>
                    <a:gd name="T4" fmla="*/ 4 w 5"/>
                    <a:gd name="T5" fmla="*/ 1 h 6"/>
                    <a:gd name="T6" fmla="*/ 2 w 5"/>
                    <a:gd name="T7" fmla="*/ 0 h 6"/>
                    <a:gd name="T8" fmla="*/ 0 w 5"/>
                    <a:gd name="T9" fmla="*/ 0 h 6"/>
                    <a:gd name="T10" fmla="*/ 4 w 5"/>
                    <a:gd name="T11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6">
                      <a:moveTo>
                        <a:pt x="4" y="6"/>
                      </a:moveTo>
                      <a:lnTo>
                        <a:pt x="5" y="4"/>
                      </a:lnTo>
                      <a:lnTo>
                        <a:pt x="4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4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5" name="Freeform 14">
                  <a:extLst>
                    <a:ext uri="{FF2B5EF4-FFF2-40B4-BE49-F238E27FC236}">
                      <a16:creationId xmlns:a16="http://schemas.microsoft.com/office/drawing/2014/main" id="{1CFD9015-55C6-4B59-8809-1CC6ED44F73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42543" y="5803102"/>
                  <a:ext cx="371593" cy="371291"/>
                </a:xfrm>
                <a:custGeom>
                  <a:avLst/>
                  <a:gdLst>
                    <a:gd name="T0" fmla="*/ 4 w 333"/>
                    <a:gd name="T1" fmla="*/ 90 h 282"/>
                    <a:gd name="T2" fmla="*/ 5 w 333"/>
                    <a:gd name="T3" fmla="*/ 88 h 282"/>
                    <a:gd name="T4" fmla="*/ 18 w 333"/>
                    <a:gd name="T5" fmla="*/ 78 h 282"/>
                    <a:gd name="T6" fmla="*/ 48 w 333"/>
                    <a:gd name="T7" fmla="*/ 78 h 282"/>
                    <a:gd name="T8" fmla="*/ 67 w 333"/>
                    <a:gd name="T9" fmla="*/ 80 h 282"/>
                    <a:gd name="T10" fmla="*/ 73 w 333"/>
                    <a:gd name="T11" fmla="*/ 78 h 282"/>
                    <a:gd name="T12" fmla="*/ 83 w 333"/>
                    <a:gd name="T13" fmla="*/ 70 h 282"/>
                    <a:gd name="T14" fmla="*/ 78 w 333"/>
                    <a:gd name="T15" fmla="*/ 48 h 282"/>
                    <a:gd name="T16" fmla="*/ 89 w 333"/>
                    <a:gd name="T17" fmla="*/ 45 h 282"/>
                    <a:gd name="T18" fmla="*/ 101 w 333"/>
                    <a:gd name="T19" fmla="*/ 55 h 282"/>
                    <a:gd name="T20" fmla="*/ 132 w 333"/>
                    <a:gd name="T21" fmla="*/ 52 h 282"/>
                    <a:gd name="T22" fmla="*/ 146 w 333"/>
                    <a:gd name="T23" fmla="*/ 39 h 282"/>
                    <a:gd name="T24" fmla="*/ 165 w 333"/>
                    <a:gd name="T25" fmla="*/ 25 h 282"/>
                    <a:gd name="T26" fmla="*/ 187 w 333"/>
                    <a:gd name="T27" fmla="*/ 0 h 282"/>
                    <a:gd name="T28" fmla="*/ 201 w 333"/>
                    <a:gd name="T29" fmla="*/ 13 h 282"/>
                    <a:gd name="T30" fmla="*/ 214 w 333"/>
                    <a:gd name="T31" fmla="*/ 20 h 282"/>
                    <a:gd name="T32" fmla="*/ 232 w 333"/>
                    <a:gd name="T33" fmla="*/ 30 h 282"/>
                    <a:gd name="T34" fmla="*/ 248 w 333"/>
                    <a:gd name="T35" fmla="*/ 36 h 282"/>
                    <a:gd name="T36" fmla="*/ 264 w 333"/>
                    <a:gd name="T37" fmla="*/ 51 h 282"/>
                    <a:gd name="T38" fmla="*/ 287 w 333"/>
                    <a:gd name="T39" fmla="*/ 53 h 282"/>
                    <a:gd name="T40" fmla="*/ 303 w 333"/>
                    <a:gd name="T41" fmla="*/ 62 h 282"/>
                    <a:gd name="T42" fmla="*/ 317 w 333"/>
                    <a:gd name="T43" fmla="*/ 64 h 282"/>
                    <a:gd name="T44" fmla="*/ 320 w 333"/>
                    <a:gd name="T45" fmla="*/ 86 h 282"/>
                    <a:gd name="T46" fmla="*/ 315 w 333"/>
                    <a:gd name="T47" fmla="*/ 112 h 282"/>
                    <a:gd name="T48" fmla="*/ 302 w 333"/>
                    <a:gd name="T49" fmla="*/ 115 h 282"/>
                    <a:gd name="T50" fmla="*/ 286 w 333"/>
                    <a:gd name="T51" fmla="*/ 137 h 282"/>
                    <a:gd name="T52" fmla="*/ 273 w 333"/>
                    <a:gd name="T53" fmla="*/ 159 h 282"/>
                    <a:gd name="T54" fmla="*/ 296 w 333"/>
                    <a:gd name="T55" fmla="*/ 152 h 282"/>
                    <a:gd name="T56" fmla="*/ 294 w 333"/>
                    <a:gd name="T57" fmla="*/ 171 h 282"/>
                    <a:gd name="T58" fmla="*/ 292 w 333"/>
                    <a:gd name="T59" fmla="*/ 192 h 282"/>
                    <a:gd name="T60" fmla="*/ 299 w 333"/>
                    <a:gd name="T61" fmla="*/ 208 h 282"/>
                    <a:gd name="T62" fmla="*/ 317 w 333"/>
                    <a:gd name="T63" fmla="*/ 223 h 282"/>
                    <a:gd name="T64" fmla="*/ 291 w 333"/>
                    <a:gd name="T65" fmla="*/ 254 h 282"/>
                    <a:gd name="T66" fmla="*/ 264 w 333"/>
                    <a:gd name="T67" fmla="*/ 255 h 282"/>
                    <a:gd name="T68" fmla="*/ 248 w 333"/>
                    <a:gd name="T69" fmla="*/ 249 h 282"/>
                    <a:gd name="T70" fmla="*/ 245 w 333"/>
                    <a:gd name="T71" fmla="*/ 248 h 282"/>
                    <a:gd name="T72" fmla="*/ 238 w 333"/>
                    <a:gd name="T73" fmla="*/ 248 h 282"/>
                    <a:gd name="T74" fmla="*/ 208 w 333"/>
                    <a:gd name="T75" fmla="*/ 250 h 282"/>
                    <a:gd name="T76" fmla="*/ 194 w 333"/>
                    <a:gd name="T77" fmla="*/ 267 h 282"/>
                    <a:gd name="T78" fmla="*/ 184 w 333"/>
                    <a:gd name="T79" fmla="*/ 282 h 282"/>
                    <a:gd name="T80" fmla="*/ 162 w 333"/>
                    <a:gd name="T81" fmla="*/ 278 h 282"/>
                    <a:gd name="T82" fmla="*/ 152 w 333"/>
                    <a:gd name="T83" fmla="*/ 275 h 282"/>
                    <a:gd name="T84" fmla="*/ 132 w 333"/>
                    <a:gd name="T85" fmla="*/ 267 h 282"/>
                    <a:gd name="T86" fmla="*/ 107 w 333"/>
                    <a:gd name="T87" fmla="*/ 267 h 282"/>
                    <a:gd name="T88" fmla="*/ 80 w 333"/>
                    <a:gd name="T89" fmla="*/ 259 h 282"/>
                    <a:gd name="T90" fmla="*/ 69 w 333"/>
                    <a:gd name="T91" fmla="*/ 251 h 282"/>
                    <a:gd name="T92" fmla="*/ 84 w 333"/>
                    <a:gd name="T93" fmla="*/ 211 h 282"/>
                    <a:gd name="T94" fmla="*/ 89 w 333"/>
                    <a:gd name="T95" fmla="*/ 179 h 282"/>
                    <a:gd name="T96" fmla="*/ 101 w 333"/>
                    <a:gd name="T97" fmla="*/ 195 h 282"/>
                    <a:gd name="T98" fmla="*/ 85 w 333"/>
                    <a:gd name="T99" fmla="*/ 171 h 282"/>
                    <a:gd name="T100" fmla="*/ 90 w 333"/>
                    <a:gd name="T101" fmla="*/ 153 h 282"/>
                    <a:gd name="T102" fmla="*/ 67 w 333"/>
                    <a:gd name="T103" fmla="*/ 133 h 282"/>
                    <a:gd name="T104" fmla="*/ 68 w 333"/>
                    <a:gd name="T105" fmla="*/ 122 h 282"/>
                    <a:gd name="T106" fmla="*/ 62 w 333"/>
                    <a:gd name="T107" fmla="*/ 123 h 282"/>
                    <a:gd name="T108" fmla="*/ 57 w 333"/>
                    <a:gd name="T109" fmla="*/ 115 h 282"/>
                    <a:gd name="T110" fmla="*/ 42 w 333"/>
                    <a:gd name="T111" fmla="*/ 114 h 282"/>
                    <a:gd name="T112" fmla="*/ 37 w 333"/>
                    <a:gd name="T113" fmla="*/ 110 h 282"/>
                    <a:gd name="T114" fmla="*/ 15 w 333"/>
                    <a:gd name="T115" fmla="*/ 104 h 2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333" h="282">
                      <a:moveTo>
                        <a:pt x="0" y="98"/>
                      </a:moveTo>
                      <a:lnTo>
                        <a:pt x="7" y="96"/>
                      </a:lnTo>
                      <a:lnTo>
                        <a:pt x="13" y="96"/>
                      </a:lnTo>
                      <a:lnTo>
                        <a:pt x="12" y="94"/>
                      </a:lnTo>
                      <a:lnTo>
                        <a:pt x="9" y="93"/>
                      </a:lnTo>
                      <a:lnTo>
                        <a:pt x="7" y="93"/>
                      </a:lnTo>
                      <a:lnTo>
                        <a:pt x="4" y="90"/>
                      </a:lnTo>
                      <a:lnTo>
                        <a:pt x="10" y="89"/>
                      </a:lnTo>
                      <a:lnTo>
                        <a:pt x="15" y="90"/>
                      </a:lnTo>
                      <a:lnTo>
                        <a:pt x="12" y="89"/>
                      </a:lnTo>
                      <a:lnTo>
                        <a:pt x="10" y="89"/>
                      </a:lnTo>
                      <a:lnTo>
                        <a:pt x="10" y="86"/>
                      </a:lnTo>
                      <a:lnTo>
                        <a:pt x="8" y="88"/>
                      </a:lnTo>
                      <a:lnTo>
                        <a:pt x="5" y="88"/>
                      </a:lnTo>
                      <a:lnTo>
                        <a:pt x="2" y="89"/>
                      </a:lnTo>
                      <a:lnTo>
                        <a:pt x="0" y="86"/>
                      </a:lnTo>
                      <a:lnTo>
                        <a:pt x="0" y="84"/>
                      </a:lnTo>
                      <a:lnTo>
                        <a:pt x="4" y="82"/>
                      </a:lnTo>
                      <a:lnTo>
                        <a:pt x="7" y="79"/>
                      </a:lnTo>
                      <a:lnTo>
                        <a:pt x="10" y="78"/>
                      </a:lnTo>
                      <a:lnTo>
                        <a:pt x="18" y="78"/>
                      </a:lnTo>
                      <a:lnTo>
                        <a:pt x="25" y="77"/>
                      </a:lnTo>
                      <a:lnTo>
                        <a:pt x="30" y="77"/>
                      </a:lnTo>
                      <a:lnTo>
                        <a:pt x="35" y="74"/>
                      </a:lnTo>
                      <a:lnTo>
                        <a:pt x="39" y="72"/>
                      </a:lnTo>
                      <a:lnTo>
                        <a:pt x="45" y="72"/>
                      </a:lnTo>
                      <a:lnTo>
                        <a:pt x="45" y="74"/>
                      </a:lnTo>
                      <a:lnTo>
                        <a:pt x="48" y="78"/>
                      </a:lnTo>
                      <a:lnTo>
                        <a:pt x="52" y="80"/>
                      </a:lnTo>
                      <a:lnTo>
                        <a:pt x="56" y="82"/>
                      </a:lnTo>
                      <a:lnTo>
                        <a:pt x="61" y="79"/>
                      </a:lnTo>
                      <a:lnTo>
                        <a:pt x="63" y="78"/>
                      </a:lnTo>
                      <a:lnTo>
                        <a:pt x="64" y="78"/>
                      </a:lnTo>
                      <a:lnTo>
                        <a:pt x="66" y="79"/>
                      </a:lnTo>
                      <a:lnTo>
                        <a:pt x="67" y="80"/>
                      </a:lnTo>
                      <a:lnTo>
                        <a:pt x="71" y="80"/>
                      </a:lnTo>
                      <a:lnTo>
                        <a:pt x="72" y="80"/>
                      </a:lnTo>
                      <a:lnTo>
                        <a:pt x="72" y="83"/>
                      </a:lnTo>
                      <a:lnTo>
                        <a:pt x="73" y="82"/>
                      </a:lnTo>
                      <a:lnTo>
                        <a:pt x="73" y="80"/>
                      </a:lnTo>
                      <a:lnTo>
                        <a:pt x="73" y="79"/>
                      </a:lnTo>
                      <a:lnTo>
                        <a:pt x="73" y="78"/>
                      </a:lnTo>
                      <a:lnTo>
                        <a:pt x="74" y="77"/>
                      </a:lnTo>
                      <a:lnTo>
                        <a:pt x="76" y="78"/>
                      </a:lnTo>
                      <a:lnTo>
                        <a:pt x="77" y="79"/>
                      </a:lnTo>
                      <a:lnTo>
                        <a:pt x="83" y="79"/>
                      </a:lnTo>
                      <a:lnTo>
                        <a:pt x="88" y="79"/>
                      </a:lnTo>
                      <a:lnTo>
                        <a:pt x="84" y="75"/>
                      </a:lnTo>
                      <a:lnTo>
                        <a:pt x="83" y="70"/>
                      </a:lnTo>
                      <a:lnTo>
                        <a:pt x="83" y="66"/>
                      </a:lnTo>
                      <a:lnTo>
                        <a:pt x="84" y="61"/>
                      </a:lnTo>
                      <a:lnTo>
                        <a:pt x="84" y="59"/>
                      </a:lnTo>
                      <a:lnTo>
                        <a:pt x="82" y="57"/>
                      </a:lnTo>
                      <a:lnTo>
                        <a:pt x="79" y="55"/>
                      </a:lnTo>
                      <a:lnTo>
                        <a:pt x="78" y="52"/>
                      </a:lnTo>
                      <a:lnTo>
                        <a:pt x="78" y="48"/>
                      </a:lnTo>
                      <a:lnTo>
                        <a:pt x="77" y="46"/>
                      </a:lnTo>
                      <a:lnTo>
                        <a:pt x="76" y="43"/>
                      </a:lnTo>
                      <a:lnTo>
                        <a:pt x="79" y="45"/>
                      </a:lnTo>
                      <a:lnTo>
                        <a:pt x="83" y="46"/>
                      </a:lnTo>
                      <a:lnTo>
                        <a:pt x="85" y="46"/>
                      </a:lnTo>
                      <a:lnTo>
                        <a:pt x="88" y="46"/>
                      </a:lnTo>
                      <a:lnTo>
                        <a:pt x="89" y="45"/>
                      </a:lnTo>
                      <a:lnTo>
                        <a:pt x="91" y="45"/>
                      </a:lnTo>
                      <a:lnTo>
                        <a:pt x="93" y="47"/>
                      </a:lnTo>
                      <a:lnTo>
                        <a:pt x="93" y="50"/>
                      </a:lnTo>
                      <a:lnTo>
                        <a:pt x="93" y="53"/>
                      </a:lnTo>
                      <a:lnTo>
                        <a:pt x="95" y="56"/>
                      </a:lnTo>
                      <a:lnTo>
                        <a:pt x="99" y="56"/>
                      </a:lnTo>
                      <a:lnTo>
                        <a:pt x="101" y="55"/>
                      </a:lnTo>
                      <a:lnTo>
                        <a:pt x="107" y="56"/>
                      </a:lnTo>
                      <a:lnTo>
                        <a:pt x="114" y="57"/>
                      </a:lnTo>
                      <a:lnTo>
                        <a:pt x="120" y="57"/>
                      </a:lnTo>
                      <a:lnTo>
                        <a:pt x="126" y="56"/>
                      </a:lnTo>
                      <a:lnTo>
                        <a:pt x="132" y="53"/>
                      </a:lnTo>
                      <a:lnTo>
                        <a:pt x="137" y="52"/>
                      </a:lnTo>
                      <a:lnTo>
                        <a:pt x="132" y="52"/>
                      </a:lnTo>
                      <a:lnTo>
                        <a:pt x="128" y="52"/>
                      </a:lnTo>
                      <a:lnTo>
                        <a:pt x="127" y="51"/>
                      </a:lnTo>
                      <a:lnTo>
                        <a:pt x="127" y="48"/>
                      </a:lnTo>
                      <a:lnTo>
                        <a:pt x="130" y="46"/>
                      </a:lnTo>
                      <a:lnTo>
                        <a:pt x="133" y="42"/>
                      </a:lnTo>
                      <a:lnTo>
                        <a:pt x="136" y="41"/>
                      </a:lnTo>
                      <a:lnTo>
                        <a:pt x="146" y="39"/>
                      </a:lnTo>
                      <a:lnTo>
                        <a:pt x="155" y="36"/>
                      </a:lnTo>
                      <a:lnTo>
                        <a:pt x="158" y="35"/>
                      </a:lnTo>
                      <a:lnTo>
                        <a:pt x="160" y="31"/>
                      </a:lnTo>
                      <a:lnTo>
                        <a:pt x="164" y="29"/>
                      </a:lnTo>
                      <a:lnTo>
                        <a:pt x="168" y="29"/>
                      </a:lnTo>
                      <a:lnTo>
                        <a:pt x="167" y="27"/>
                      </a:lnTo>
                      <a:lnTo>
                        <a:pt x="165" y="25"/>
                      </a:lnTo>
                      <a:lnTo>
                        <a:pt x="165" y="19"/>
                      </a:lnTo>
                      <a:lnTo>
                        <a:pt x="167" y="11"/>
                      </a:lnTo>
                      <a:lnTo>
                        <a:pt x="168" y="9"/>
                      </a:lnTo>
                      <a:lnTo>
                        <a:pt x="169" y="7"/>
                      </a:lnTo>
                      <a:lnTo>
                        <a:pt x="173" y="4"/>
                      </a:lnTo>
                      <a:lnTo>
                        <a:pt x="180" y="2"/>
                      </a:lnTo>
                      <a:lnTo>
                        <a:pt x="187" y="0"/>
                      </a:lnTo>
                      <a:lnTo>
                        <a:pt x="192" y="2"/>
                      </a:lnTo>
                      <a:lnTo>
                        <a:pt x="192" y="4"/>
                      </a:lnTo>
                      <a:lnTo>
                        <a:pt x="192" y="7"/>
                      </a:lnTo>
                      <a:lnTo>
                        <a:pt x="194" y="9"/>
                      </a:lnTo>
                      <a:lnTo>
                        <a:pt x="196" y="11"/>
                      </a:lnTo>
                      <a:lnTo>
                        <a:pt x="200" y="11"/>
                      </a:lnTo>
                      <a:lnTo>
                        <a:pt x="201" y="13"/>
                      </a:lnTo>
                      <a:lnTo>
                        <a:pt x="202" y="13"/>
                      </a:lnTo>
                      <a:lnTo>
                        <a:pt x="205" y="13"/>
                      </a:lnTo>
                      <a:lnTo>
                        <a:pt x="207" y="14"/>
                      </a:lnTo>
                      <a:lnTo>
                        <a:pt x="208" y="15"/>
                      </a:lnTo>
                      <a:lnTo>
                        <a:pt x="210" y="18"/>
                      </a:lnTo>
                      <a:lnTo>
                        <a:pt x="211" y="19"/>
                      </a:lnTo>
                      <a:lnTo>
                        <a:pt x="214" y="20"/>
                      </a:lnTo>
                      <a:lnTo>
                        <a:pt x="217" y="20"/>
                      </a:lnTo>
                      <a:lnTo>
                        <a:pt x="218" y="21"/>
                      </a:lnTo>
                      <a:lnTo>
                        <a:pt x="219" y="25"/>
                      </a:lnTo>
                      <a:lnTo>
                        <a:pt x="223" y="24"/>
                      </a:lnTo>
                      <a:lnTo>
                        <a:pt x="228" y="25"/>
                      </a:lnTo>
                      <a:lnTo>
                        <a:pt x="230" y="26"/>
                      </a:lnTo>
                      <a:lnTo>
                        <a:pt x="232" y="30"/>
                      </a:lnTo>
                      <a:lnTo>
                        <a:pt x="230" y="36"/>
                      </a:lnTo>
                      <a:lnTo>
                        <a:pt x="235" y="37"/>
                      </a:lnTo>
                      <a:lnTo>
                        <a:pt x="240" y="36"/>
                      </a:lnTo>
                      <a:lnTo>
                        <a:pt x="244" y="34"/>
                      </a:lnTo>
                      <a:lnTo>
                        <a:pt x="248" y="30"/>
                      </a:lnTo>
                      <a:lnTo>
                        <a:pt x="248" y="32"/>
                      </a:lnTo>
                      <a:lnTo>
                        <a:pt x="248" y="36"/>
                      </a:lnTo>
                      <a:lnTo>
                        <a:pt x="249" y="40"/>
                      </a:lnTo>
                      <a:lnTo>
                        <a:pt x="250" y="41"/>
                      </a:lnTo>
                      <a:lnTo>
                        <a:pt x="254" y="42"/>
                      </a:lnTo>
                      <a:lnTo>
                        <a:pt x="258" y="45"/>
                      </a:lnTo>
                      <a:lnTo>
                        <a:pt x="261" y="47"/>
                      </a:lnTo>
                      <a:lnTo>
                        <a:pt x="264" y="51"/>
                      </a:lnTo>
                      <a:lnTo>
                        <a:pt x="264" y="51"/>
                      </a:lnTo>
                      <a:lnTo>
                        <a:pt x="266" y="51"/>
                      </a:lnTo>
                      <a:lnTo>
                        <a:pt x="271" y="51"/>
                      </a:lnTo>
                      <a:lnTo>
                        <a:pt x="277" y="52"/>
                      </a:lnTo>
                      <a:lnTo>
                        <a:pt x="278" y="52"/>
                      </a:lnTo>
                      <a:lnTo>
                        <a:pt x="280" y="52"/>
                      </a:lnTo>
                      <a:lnTo>
                        <a:pt x="285" y="52"/>
                      </a:lnTo>
                      <a:lnTo>
                        <a:pt x="287" y="53"/>
                      </a:lnTo>
                      <a:lnTo>
                        <a:pt x="289" y="55"/>
                      </a:lnTo>
                      <a:lnTo>
                        <a:pt x="293" y="59"/>
                      </a:lnTo>
                      <a:lnTo>
                        <a:pt x="297" y="62"/>
                      </a:lnTo>
                      <a:lnTo>
                        <a:pt x="299" y="61"/>
                      </a:lnTo>
                      <a:lnTo>
                        <a:pt x="301" y="61"/>
                      </a:lnTo>
                      <a:lnTo>
                        <a:pt x="302" y="61"/>
                      </a:lnTo>
                      <a:lnTo>
                        <a:pt x="303" y="62"/>
                      </a:lnTo>
                      <a:lnTo>
                        <a:pt x="303" y="63"/>
                      </a:lnTo>
                      <a:lnTo>
                        <a:pt x="303" y="63"/>
                      </a:lnTo>
                      <a:lnTo>
                        <a:pt x="304" y="63"/>
                      </a:lnTo>
                      <a:lnTo>
                        <a:pt x="307" y="63"/>
                      </a:lnTo>
                      <a:lnTo>
                        <a:pt x="312" y="63"/>
                      </a:lnTo>
                      <a:lnTo>
                        <a:pt x="314" y="63"/>
                      </a:lnTo>
                      <a:lnTo>
                        <a:pt x="317" y="64"/>
                      </a:lnTo>
                      <a:lnTo>
                        <a:pt x="320" y="66"/>
                      </a:lnTo>
                      <a:lnTo>
                        <a:pt x="324" y="67"/>
                      </a:lnTo>
                      <a:lnTo>
                        <a:pt x="329" y="68"/>
                      </a:lnTo>
                      <a:lnTo>
                        <a:pt x="333" y="68"/>
                      </a:lnTo>
                      <a:lnTo>
                        <a:pt x="325" y="77"/>
                      </a:lnTo>
                      <a:lnTo>
                        <a:pt x="321" y="82"/>
                      </a:lnTo>
                      <a:lnTo>
                        <a:pt x="320" y="86"/>
                      </a:lnTo>
                      <a:lnTo>
                        <a:pt x="318" y="93"/>
                      </a:lnTo>
                      <a:lnTo>
                        <a:pt x="317" y="98"/>
                      </a:lnTo>
                      <a:lnTo>
                        <a:pt x="317" y="101"/>
                      </a:lnTo>
                      <a:lnTo>
                        <a:pt x="315" y="105"/>
                      </a:lnTo>
                      <a:lnTo>
                        <a:pt x="315" y="107"/>
                      </a:lnTo>
                      <a:lnTo>
                        <a:pt x="315" y="110"/>
                      </a:lnTo>
                      <a:lnTo>
                        <a:pt x="315" y="112"/>
                      </a:lnTo>
                      <a:lnTo>
                        <a:pt x="314" y="114"/>
                      </a:lnTo>
                      <a:lnTo>
                        <a:pt x="312" y="117"/>
                      </a:lnTo>
                      <a:lnTo>
                        <a:pt x="308" y="117"/>
                      </a:lnTo>
                      <a:lnTo>
                        <a:pt x="305" y="117"/>
                      </a:lnTo>
                      <a:lnTo>
                        <a:pt x="304" y="116"/>
                      </a:lnTo>
                      <a:lnTo>
                        <a:pt x="303" y="115"/>
                      </a:lnTo>
                      <a:lnTo>
                        <a:pt x="302" y="115"/>
                      </a:lnTo>
                      <a:lnTo>
                        <a:pt x="299" y="118"/>
                      </a:lnTo>
                      <a:lnTo>
                        <a:pt x="301" y="120"/>
                      </a:lnTo>
                      <a:lnTo>
                        <a:pt x="303" y="120"/>
                      </a:lnTo>
                      <a:lnTo>
                        <a:pt x="298" y="125"/>
                      </a:lnTo>
                      <a:lnTo>
                        <a:pt x="293" y="129"/>
                      </a:lnTo>
                      <a:lnTo>
                        <a:pt x="287" y="134"/>
                      </a:lnTo>
                      <a:lnTo>
                        <a:pt x="286" y="137"/>
                      </a:lnTo>
                      <a:lnTo>
                        <a:pt x="285" y="141"/>
                      </a:lnTo>
                      <a:lnTo>
                        <a:pt x="280" y="144"/>
                      </a:lnTo>
                      <a:lnTo>
                        <a:pt x="278" y="145"/>
                      </a:lnTo>
                      <a:lnTo>
                        <a:pt x="277" y="149"/>
                      </a:lnTo>
                      <a:lnTo>
                        <a:pt x="278" y="153"/>
                      </a:lnTo>
                      <a:lnTo>
                        <a:pt x="276" y="157"/>
                      </a:lnTo>
                      <a:lnTo>
                        <a:pt x="273" y="159"/>
                      </a:lnTo>
                      <a:lnTo>
                        <a:pt x="278" y="158"/>
                      </a:lnTo>
                      <a:lnTo>
                        <a:pt x="281" y="153"/>
                      </a:lnTo>
                      <a:lnTo>
                        <a:pt x="283" y="150"/>
                      </a:lnTo>
                      <a:lnTo>
                        <a:pt x="287" y="149"/>
                      </a:lnTo>
                      <a:lnTo>
                        <a:pt x="291" y="149"/>
                      </a:lnTo>
                      <a:lnTo>
                        <a:pt x="293" y="149"/>
                      </a:lnTo>
                      <a:lnTo>
                        <a:pt x="296" y="152"/>
                      </a:lnTo>
                      <a:lnTo>
                        <a:pt x="296" y="154"/>
                      </a:lnTo>
                      <a:lnTo>
                        <a:pt x="296" y="158"/>
                      </a:lnTo>
                      <a:lnTo>
                        <a:pt x="297" y="160"/>
                      </a:lnTo>
                      <a:lnTo>
                        <a:pt x="299" y="164"/>
                      </a:lnTo>
                      <a:lnTo>
                        <a:pt x="299" y="166"/>
                      </a:lnTo>
                      <a:lnTo>
                        <a:pt x="298" y="169"/>
                      </a:lnTo>
                      <a:lnTo>
                        <a:pt x="294" y="171"/>
                      </a:lnTo>
                      <a:lnTo>
                        <a:pt x="298" y="174"/>
                      </a:lnTo>
                      <a:lnTo>
                        <a:pt x="301" y="177"/>
                      </a:lnTo>
                      <a:lnTo>
                        <a:pt x="303" y="181"/>
                      </a:lnTo>
                      <a:lnTo>
                        <a:pt x="303" y="185"/>
                      </a:lnTo>
                      <a:lnTo>
                        <a:pt x="301" y="187"/>
                      </a:lnTo>
                      <a:lnTo>
                        <a:pt x="296" y="190"/>
                      </a:lnTo>
                      <a:lnTo>
                        <a:pt x="292" y="192"/>
                      </a:lnTo>
                      <a:lnTo>
                        <a:pt x="289" y="193"/>
                      </a:lnTo>
                      <a:lnTo>
                        <a:pt x="291" y="196"/>
                      </a:lnTo>
                      <a:lnTo>
                        <a:pt x="294" y="198"/>
                      </a:lnTo>
                      <a:lnTo>
                        <a:pt x="297" y="201"/>
                      </a:lnTo>
                      <a:lnTo>
                        <a:pt x="301" y="202"/>
                      </a:lnTo>
                      <a:lnTo>
                        <a:pt x="301" y="206"/>
                      </a:lnTo>
                      <a:lnTo>
                        <a:pt x="299" y="208"/>
                      </a:lnTo>
                      <a:lnTo>
                        <a:pt x="297" y="212"/>
                      </a:lnTo>
                      <a:lnTo>
                        <a:pt x="296" y="216"/>
                      </a:lnTo>
                      <a:lnTo>
                        <a:pt x="298" y="219"/>
                      </a:lnTo>
                      <a:lnTo>
                        <a:pt x="303" y="222"/>
                      </a:lnTo>
                      <a:lnTo>
                        <a:pt x="308" y="224"/>
                      </a:lnTo>
                      <a:lnTo>
                        <a:pt x="313" y="224"/>
                      </a:lnTo>
                      <a:lnTo>
                        <a:pt x="317" y="223"/>
                      </a:lnTo>
                      <a:lnTo>
                        <a:pt x="318" y="224"/>
                      </a:lnTo>
                      <a:lnTo>
                        <a:pt x="317" y="227"/>
                      </a:lnTo>
                      <a:lnTo>
                        <a:pt x="315" y="229"/>
                      </a:lnTo>
                      <a:lnTo>
                        <a:pt x="310" y="236"/>
                      </a:lnTo>
                      <a:lnTo>
                        <a:pt x="304" y="241"/>
                      </a:lnTo>
                      <a:lnTo>
                        <a:pt x="288" y="251"/>
                      </a:lnTo>
                      <a:lnTo>
                        <a:pt x="291" y="254"/>
                      </a:lnTo>
                      <a:lnTo>
                        <a:pt x="286" y="256"/>
                      </a:lnTo>
                      <a:lnTo>
                        <a:pt x="281" y="257"/>
                      </a:lnTo>
                      <a:lnTo>
                        <a:pt x="277" y="259"/>
                      </a:lnTo>
                      <a:lnTo>
                        <a:pt x="276" y="257"/>
                      </a:lnTo>
                      <a:lnTo>
                        <a:pt x="271" y="257"/>
                      </a:lnTo>
                      <a:lnTo>
                        <a:pt x="267" y="257"/>
                      </a:lnTo>
                      <a:lnTo>
                        <a:pt x="264" y="255"/>
                      </a:lnTo>
                      <a:lnTo>
                        <a:pt x="260" y="254"/>
                      </a:lnTo>
                      <a:lnTo>
                        <a:pt x="256" y="254"/>
                      </a:lnTo>
                      <a:lnTo>
                        <a:pt x="256" y="252"/>
                      </a:lnTo>
                      <a:lnTo>
                        <a:pt x="255" y="251"/>
                      </a:lnTo>
                      <a:lnTo>
                        <a:pt x="253" y="250"/>
                      </a:lnTo>
                      <a:lnTo>
                        <a:pt x="249" y="250"/>
                      </a:lnTo>
                      <a:lnTo>
                        <a:pt x="248" y="249"/>
                      </a:lnTo>
                      <a:lnTo>
                        <a:pt x="249" y="248"/>
                      </a:lnTo>
                      <a:lnTo>
                        <a:pt x="250" y="248"/>
                      </a:lnTo>
                      <a:lnTo>
                        <a:pt x="249" y="245"/>
                      </a:lnTo>
                      <a:lnTo>
                        <a:pt x="246" y="244"/>
                      </a:lnTo>
                      <a:lnTo>
                        <a:pt x="248" y="246"/>
                      </a:lnTo>
                      <a:lnTo>
                        <a:pt x="248" y="248"/>
                      </a:lnTo>
                      <a:lnTo>
                        <a:pt x="245" y="248"/>
                      </a:lnTo>
                      <a:lnTo>
                        <a:pt x="243" y="248"/>
                      </a:lnTo>
                      <a:lnTo>
                        <a:pt x="240" y="248"/>
                      </a:lnTo>
                      <a:lnTo>
                        <a:pt x="240" y="245"/>
                      </a:lnTo>
                      <a:lnTo>
                        <a:pt x="239" y="243"/>
                      </a:lnTo>
                      <a:lnTo>
                        <a:pt x="239" y="245"/>
                      </a:lnTo>
                      <a:lnTo>
                        <a:pt x="239" y="248"/>
                      </a:lnTo>
                      <a:lnTo>
                        <a:pt x="238" y="248"/>
                      </a:lnTo>
                      <a:lnTo>
                        <a:pt x="235" y="248"/>
                      </a:lnTo>
                      <a:lnTo>
                        <a:pt x="232" y="246"/>
                      </a:lnTo>
                      <a:lnTo>
                        <a:pt x="227" y="245"/>
                      </a:lnTo>
                      <a:lnTo>
                        <a:pt x="221" y="244"/>
                      </a:lnTo>
                      <a:lnTo>
                        <a:pt x="218" y="244"/>
                      </a:lnTo>
                      <a:lnTo>
                        <a:pt x="214" y="246"/>
                      </a:lnTo>
                      <a:lnTo>
                        <a:pt x="208" y="250"/>
                      </a:lnTo>
                      <a:lnTo>
                        <a:pt x="205" y="251"/>
                      </a:lnTo>
                      <a:lnTo>
                        <a:pt x="200" y="254"/>
                      </a:lnTo>
                      <a:lnTo>
                        <a:pt x="196" y="257"/>
                      </a:lnTo>
                      <a:lnTo>
                        <a:pt x="195" y="260"/>
                      </a:lnTo>
                      <a:lnTo>
                        <a:pt x="194" y="264"/>
                      </a:lnTo>
                      <a:lnTo>
                        <a:pt x="192" y="266"/>
                      </a:lnTo>
                      <a:lnTo>
                        <a:pt x="194" y="267"/>
                      </a:lnTo>
                      <a:lnTo>
                        <a:pt x="195" y="273"/>
                      </a:lnTo>
                      <a:lnTo>
                        <a:pt x="196" y="276"/>
                      </a:lnTo>
                      <a:lnTo>
                        <a:pt x="197" y="279"/>
                      </a:lnTo>
                      <a:lnTo>
                        <a:pt x="194" y="279"/>
                      </a:lnTo>
                      <a:lnTo>
                        <a:pt x="190" y="279"/>
                      </a:lnTo>
                      <a:lnTo>
                        <a:pt x="186" y="281"/>
                      </a:lnTo>
                      <a:lnTo>
                        <a:pt x="184" y="282"/>
                      </a:lnTo>
                      <a:lnTo>
                        <a:pt x="180" y="282"/>
                      </a:lnTo>
                      <a:lnTo>
                        <a:pt x="176" y="281"/>
                      </a:lnTo>
                      <a:lnTo>
                        <a:pt x="173" y="281"/>
                      </a:lnTo>
                      <a:lnTo>
                        <a:pt x="169" y="282"/>
                      </a:lnTo>
                      <a:lnTo>
                        <a:pt x="168" y="281"/>
                      </a:lnTo>
                      <a:lnTo>
                        <a:pt x="164" y="279"/>
                      </a:lnTo>
                      <a:lnTo>
                        <a:pt x="162" y="278"/>
                      </a:lnTo>
                      <a:lnTo>
                        <a:pt x="159" y="277"/>
                      </a:lnTo>
                      <a:lnTo>
                        <a:pt x="159" y="277"/>
                      </a:lnTo>
                      <a:lnTo>
                        <a:pt x="160" y="276"/>
                      </a:lnTo>
                      <a:lnTo>
                        <a:pt x="160" y="276"/>
                      </a:lnTo>
                      <a:lnTo>
                        <a:pt x="159" y="273"/>
                      </a:lnTo>
                      <a:lnTo>
                        <a:pt x="155" y="273"/>
                      </a:lnTo>
                      <a:lnTo>
                        <a:pt x="152" y="275"/>
                      </a:lnTo>
                      <a:lnTo>
                        <a:pt x="151" y="272"/>
                      </a:lnTo>
                      <a:lnTo>
                        <a:pt x="148" y="271"/>
                      </a:lnTo>
                      <a:lnTo>
                        <a:pt x="146" y="270"/>
                      </a:lnTo>
                      <a:lnTo>
                        <a:pt x="142" y="268"/>
                      </a:lnTo>
                      <a:lnTo>
                        <a:pt x="138" y="267"/>
                      </a:lnTo>
                      <a:lnTo>
                        <a:pt x="135" y="266"/>
                      </a:lnTo>
                      <a:lnTo>
                        <a:pt x="132" y="267"/>
                      </a:lnTo>
                      <a:lnTo>
                        <a:pt x="131" y="271"/>
                      </a:lnTo>
                      <a:lnTo>
                        <a:pt x="125" y="271"/>
                      </a:lnTo>
                      <a:lnTo>
                        <a:pt x="117" y="271"/>
                      </a:lnTo>
                      <a:lnTo>
                        <a:pt x="114" y="271"/>
                      </a:lnTo>
                      <a:lnTo>
                        <a:pt x="110" y="270"/>
                      </a:lnTo>
                      <a:lnTo>
                        <a:pt x="109" y="268"/>
                      </a:lnTo>
                      <a:lnTo>
                        <a:pt x="107" y="267"/>
                      </a:lnTo>
                      <a:lnTo>
                        <a:pt x="105" y="267"/>
                      </a:lnTo>
                      <a:lnTo>
                        <a:pt x="103" y="267"/>
                      </a:lnTo>
                      <a:lnTo>
                        <a:pt x="101" y="267"/>
                      </a:lnTo>
                      <a:lnTo>
                        <a:pt x="98" y="266"/>
                      </a:lnTo>
                      <a:lnTo>
                        <a:pt x="90" y="262"/>
                      </a:lnTo>
                      <a:lnTo>
                        <a:pt x="83" y="259"/>
                      </a:lnTo>
                      <a:lnTo>
                        <a:pt x="80" y="259"/>
                      </a:lnTo>
                      <a:lnTo>
                        <a:pt x="78" y="260"/>
                      </a:lnTo>
                      <a:lnTo>
                        <a:pt x="77" y="259"/>
                      </a:lnTo>
                      <a:lnTo>
                        <a:pt x="77" y="257"/>
                      </a:lnTo>
                      <a:lnTo>
                        <a:pt x="78" y="254"/>
                      </a:lnTo>
                      <a:lnTo>
                        <a:pt x="77" y="252"/>
                      </a:lnTo>
                      <a:lnTo>
                        <a:pt x="73" y="251"/>
                      </a:lnTo>
                      <a:lnTo>
                        <a:pt x="69" y="251"/>
                      </a:lnTo>
                      <a:lnTo>
                        <a:pt x="67" y="250"/>
                      </a:lnTo>
                      <a:lnTo>
                        <a:pt x="74" y="245"/>
                      </a:lnTo>
                      <a:lnTo>
                        <a:pt x="78" y="238"/>
                      </a:lnTo>
                      <a:lnTo>
                        <a:pt x="79" y="229"/>
                      </a:lnTo>
                      <a:lnTo>
                        <a:pt x="82" y="220"/>
                      </a:lnTo>
                      <a:lnTo>
                        <a:pt x="83" y="214"/>
                      </a:lnTo>
                      <a:lnTo>
                        <a:pt x="84" y="211"/>
                      </a:lnTo>
                      <a:lnTo>
                        <a:pt x="85" y="208"/>
                      </a:lnTo>
                      <a:lnTo>
                        <a:pt x="88" y="206"/>
                      </a:lnTo>
                      <a:lnTo>
                        <a:pt x="87" y="204"/>
                      </a:lnTo>
                      <a:lnTo>
                        <a:pt x="85" y="206"/>
                      </a:lnTo>
                      <a:lnTo>
                        <a:pt x="84" y="208"/>
                      </a:lnTo>
                      <a:lnTo>
                        <a:pt x="84" y="193"/>
                      </a:lnTo>
                      <a:lnTo>
                        <a:pt x="89" y="179"/>
                      </a:lnTo>
                      <a:lnTo>
                        <a:pt x="94" y="182"/>
                      </a:lnTo>
                      <a:lnTo>
                        <a:pt x="99" y="189"/>
                      </a:lnTo>
                      <a:lnTo>
                        <a:pt x="99" y="193"/>
                      </a:lnTo>
                      <a:lnTo>
                        <a:pt x="101" y="196"/>
                      </a:lnTo>
                      <a:lnTo>
                        <a:pt x="103" y="200"/>
                      </a:lnTo>
                      <a:lnTo>
                        <a:pt x="103" y="197"/>
                      </a:lnTo>
                      <a:lnTo>
                        <a:pt x="101" y="195"/>
                      </a:lnTo>
                      <a:lnTo>
                        <a:pt x="100" y="192"/>
                      </a:lnTo>
                      <a:lnTo>
                        <a:pt x="100" y="189"/>
                      </a:lnTo>
                      <a:lnTo>
                        <a:pt x="98" y="182"/>
                      </a:lnTo>
                      <a:lnTo>
                        <a:pt x="93" y="177"/>
                      </a:lnTo>
                      <a:lnTo>
                        <a:pt x="89" y="175"/>
                      </a:lnTo>
                      <a:lnTo>
                        <a:pt x="87" y="173"/>
                      </a:lnTo>
                      <a:lnTo>
                        <a:pt x="85" y="171"/>
                      </a:lnTo>
                      <a:lnTo>
                        <a:pt x="88" y="171"/>
                      </a:lnTo>
                      <a:lnTo>
                        <a:pt x="90" y="171"/>
                      </a:lnTo>
                      <a:lnTo>
                        <a:pt x="91" y="173"/>
                      </a:lnTo>
                      <a:lnTo>
                        <a:pt x="90" y="169"/>
                      </a:lnTo>
                      <a:lnTo>
                        <a:pt x="89" y="164"/>
                      </a:lnTo>
                      <a:lnTo>
                        <a:pt x="89" y="158"/>
                      </a:lnTo>
                      <a:lnTo>
                        <a:pt x="90" y="153"/>
                      </a:lnTo>
                      <a:lnTo>
                        <a:pt x="87" y="154"/>
                      </a:lnTo>
                      <a:lnTo>
                        <a:pt x="80" y="153"/>
                      </a:lnTo>
                      <a:lnTo>
                        <a:pt x="76" y="149"/>
                      </a:lnTo>
                      <a:lnTo>
                        <a:pt x="73" y="145"/>
                      </a:lnTo>
                      <a:lnTo>
                        <a:pt x="69" y="142"/>
                      </a:lnTo>
                      <a:lnTo>
                        <a:pt x="66" y="136"/>
                      </a:lnTo>
                      <a:lnTo>
                        <a:pt x="67" y="133"/>
                      </a:lnTo>
                      <a:lnTo>
                        <a:pt x="68" y="131"/>
                      </a:lnTo>
                      <a:lnTo>
                        <a:pt x="68" y="128"/>
                      </a:lnTo>
                      <a:lnTo>
                        <a:pt x="66" y="127"/>
                      </a:lnTo>
                      <a:lnTo>
                        <a:pt x="63" y="127"/>
                      </a:lnTo>
                      <a:lnTo>
                        <a:pt x="64" y="125"/>
                      </a:lnTo>
                      <a:lnTo>
                        <a:pt x="66" y="122"/>
                      </a:lnTo>
                      <a:lnTo>
                        <a:pt x="68" y="122"/>
                      </a:lnTo>
                      <a:lnTo>
                        <a:pt x="72" y="123"/>
                      </a:lnTo>
                      <a:lnTo>
                        <a:pt x="74" y="125"/>
                      </a:lnTo>
                      <a:lnTo>
                        <a:pt x="77" y="125"/>
                      </a:lnTo>
                      <a:lnTo>
                        <a:pt x="73" y="123"/>
                      </a:lnTo>
                      <a:lnTo>
                        <a:pt x="69" y="122"/>
                      </a:lnTo>
                      <a:lnTo>
                        <a:pt x="66" y="122"/>
                      </a:lnTo>
                      <a:lnTo>
                        <a:pt x="62" y="123"/>
                      </a:lnTo>
                      <a:lnTo>
                        <a:pt x="60" y="122"/>
                      </a:lnTo>
                      <a:lnTo>
                        <a:pt x="57" y="121"/>
                      </a:lnTo>
                      <a:lnTo>
                        <a:pt x="56" y="120"/>
                      </a:lnTo>
                      <a:lnTo>
                        <a:pt x="58" y="118"/>
                      </a:lnTo>
                      <a:lnTo>
                        <a:pt x="58" y="116"/>
                      </a:lnTo>
                      <a:lnTo>
                        <a:pt x="61" y="115"/>
                      </a:lnTo>
                      <a:lnTo>
                        <a:pt x="57" y="115"/>
                      </a:lnTo>
                      <a:lnTo>
                        <a:pt x="53" y="116"/>
                      </a:lnTo>
                      <a:lnTo>
                        <a:pt x="50" y="116"/>
                      </a:lnTo>
                      <a:lnTo>
                        <a:pt x="46" y="114"/>
                      </a:lnTo>
                      <a:lnTo>
                        <a:pt x="52" y="112"/>
                      </a:lnTo>
                      <a:lnTo>
                        <a:pt x="48" y="111"/>
                      </a:lnTo>
                      <a:lnTo>
                        <a:pt x="46" y="111"/>
                      </a:lnTo>
                      <a:lnTo>
                        <a:pt x="42" y="114"/>
                      </a:lnTo>
                      <a:lnTo>
                        <a:pt x="41" y="116"/>
                      </a:lnTo>
                      <a:lnTo>
                        <a:pt x="41" y="114"/>
                      </a:lnTo>
                      <a:lnTo>
                        <a:pt x="40" y="111"/>
                      </a:lnTo>
                      <a:lnTo>
                        <a:pt x="40" y="110"/>
                      </a:lnTo>
                      <a:lnTo>
                        <a:pt x="41" y="107"/>
                      </a:lnTo>
                      <a:lnTo>
                        <a:pt x="40" y="109"/>
                      </a:lnTo>
                      <a:lnTo>
                        <a:pt x="37" y="110"/>
                      </a:lnTo>
                      <a:lnTo>
                        <a:pt x="36" y="109"/>
                      </a:lnTo>
                      <a:lnTo>
                        <a:pt x="37" y="106"/>
                      </a:lnTo>
                      <a:lnTo>
                        <a:pt x="35" y="107"/>
                      </a:lnTo>
                      <a:lnTo>
                        <a:pt x="31" y="107"/>
                      </a:lnTo>
                      <a:lnTo>
                        <a:pt x="25" y="105"/>
                      </a:lnTo>
                      <a:lnTo>
                        <a:pt x="18" y="104"/>
                      </a:lnTo>
                      <a:lnTo>
                        <a:pt x="15" y="104"/>
                      </a:lnTo>
                      <a:lnTo>
                        <a:pt x="12" y="106"/>
                      </a:lnTo>
                      <a:lnTo>
                        <a:pt x="8" y="101"/>
                      </a:lnTo>
                      <a:lnTo>
                        <a:pt x="0" y="98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6" name="Freeform 15">
                  <a:extLst>
                    <a:ext uri="{FF2B5EF4-FFF2-40B4-BE49-F238E27FC236}">
                      <a16:creationId xmlns:a16="http://schemas.microsoft.com/office/drawing/2014/main" id="{C829C1E8-5C3F-406D-8725-4838E495E8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5330" y="6147872"/>
                  <a:ext cx="26862" cy="68953"/>
                </a:xfrm>
                <a:custGeom>
                  <a:avLst/>
                  <a:gdLst>
                    <a:gd name="T0" fmla="*/ 0 w 26"/>
                    <a:gd name="T1" fmla="*/ 20 h 53"/>
                    <a:gd name="T2" fmla="*/ 1 w 26"/>
                    <a:gd name="T3" fmla="*/ 17 h 53"/>
                    <a:gd name="T4" fmla="*/ 4 w 26"/>
                    <a:gd name="T5" fmla="*/ 14 h 53"/>
                    <a:gd name="T6" fmla="*/ 11 w 26"/>
                    <a:gd name="T7" fmla="*/ 11 h 53"/>
                    <a:gd name="T8" fmla="*/ 17 w 26"/>
                    <a:gd name="T9" fmla="*/ 9 h 53"/>
                    <a:gd name="T10" fmla="*/ 19 w 26"/>
                    <a:gd name="T11" fmla="*/ 6 h 53"/>
                    <a:gd name="T12" fmla="*/ 20 w 26"/>
                    <a:gd name="T13" fmla="*/ 4 h 53"/>
                    <a:gd name="T14" fmla="*/ 21 w 26"/>
                    <a:gd name="T15" fmla="*/ 1 h 53"/>
                    <a:gd name="T16" fmla="*/ 22 w 26"/>
                    <a:gd name="T17" fmla="*/ 0 h 53"/>
                    <a:gd name="T18" fmla="*/ 23 w 26"/>
                    <a:gd name="T19" fmla="*/ 7 h 53"/>
                    <a:gd name="T20" fmla="*/ 25 w 26"/>
                    <a:gd name="T21" fmla="*/ 15 h 53"/>
                    <a:gd name="T22" fmla="*/ 26 w 26"/>
                    <a:gd name="T23" fmla="*/ 22 h 53"/>
                    <a:gd name="T24" fmla="*/ 26 w 26"/>
                    <a:gd name="T25" fmla="*/ 28 h 53"/>
                    <a:gd name="T26" fmla="*/ 21 w 26"/>
                    <a:gd name="T27" fmla="*/ 42 h 53"/>
                    <a:gd name="T28" fmla="*/ 15 w 26"/>
                    <a:gd name="T29" fmla="*/ 53 h 53"/>
                    <a:gd name="T30" fmla="*/ 12 w 26"/>
                    <a:gd name="T31" fmla="*/ 52 h 53"/>
                    <a:gd name="T32" fmla="*/ 9 w 26"/>
                    <a:gd name="T33" fmla="*/ 49 h 53"/>
                    <a:gd name="T34" fmla="*/ 6 w 26"/>
                    <a:gd name="T35" fmla="*/ 46 h 53"/>
                    <a:gd name="T36" fmla="*/ 6 w 26"/>
                    <a:gd name="T37" fmla="*/ 44 h 53"/>
                    <a:gd name="T38" fmla="*/ 8 w 26"/>
                    <a:gd name="T39" fmla="*/ 43 h 53"/>
                    <a:gd name="T40" fmla="*/ 3 w 26"/>
                    <a:gd name="T41" fmla="*/ 41 h 53"/>
                    <a:gd name="T42" fmla="*/ 5 w 26"/>
                    <a:gd name="T43" fmla="*/ 39 h 53"/>
                    <a:gd name="T44" fmla="*/ 5 w 26"/>
                    <a:gd name="T45" fmla="*/ 36 h 53"/>
                    <a:gd name="T46" fmla="*/ 3 w 26"/>
                    <a:gd name="T47" fmla="*/ 36 h 53"/>
                    <a:gd name="T48" fmla="*/ 3 w 26"/>
                    <a:gd name="T49" fmla="*/ 34 h 53"/>
                    <a:gd name="T50" fmla="*/ 3 w 26"/>
                    <a:gd name="T51" fmla="*/ 30 h 53"/>
                    <a:gd name="T52" fmla="*/ 1 w 26"/>
                    <a:gd name="T53" fmla="*/ 30 h 53"/>
                    <a:gd name="T54" fmla="*/ 0 w 26"/>
                    <a:gd name="T55" fmla="*/ 27 h 53"/>
                    <a:gd name="T56" fmla="*/ 0 w 26"/>
                    <a:gd name="T57" fmla="*/ 26 h 53"/>
                    <a:gd name="T58" fmla="*/ 3 w 26"/>
                    <a:gd name="T59" fmla="*/ 25 h 53"/>
                    <a:gd name="T60" fmla="*/ 0 w 26"/>
                    <a:gd name="T61" fmla="*/ 20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26" h="53">
                      <a:moveTo>
                        <a:pt x="0" y="20"/>
                      </a:moveTo>
                      <a:lnTo>
                        <a:pt x="1" y="17"/>
                      </a:lnTo>
                      <a:lnTo>
                        <a:pt x="4" y="14"/>
                      </a:lnTo>
                      <a:lnTo>
                        <a:pt x="11" y="11"/>
                      </a:lnTo>
                      <a:lnTo>
                        <a:pt x="17" y="9"/>
                      </a:lnTo>
                      <a:lnTo>
                        <a:pt x="19" y="6"/>
                      </a:lnTo>
                      <a:lnTo>
                        <a:pt x="20" y="4"/>
                      </a:lnTo>
                      <a:lnTo>
                        <a:pt x="21" y="1"/>
                      </a:lnTo>
                      <a:lnTo>
                        <a:pt x="22" y="0"/>
                      </a:lnTo>
                      <a:lnTo>
                        <a:pt x="23" y="7"/>
                      </a:lnTo>
                      <a:lnTo>
                        <a:pt x="25" y="15"/>
                      </a:lnTo>
                      <a:lnTo>
                        <a:pt x="26" y="22"/>
                      </a:lnTo>
                      <a:lnTo>
                        <a:pt x="26" y="28"/>
                      </a:lnTo>
                      <a:lnTo>
                        <a:pt x="21" y="42"/>
                      </a:lnTo>
                      <a:lnTo>
                        <a:pt x="15" y="53"/>
                      </a:lnTo>
                      <a:lnTo>
                        <a:pt x="12" y="52"/>
                      </a:lnTo>
                      <a:lnTo>
                        <a:pt x="9" y="49"/>
                      </a:lnTo>
                      <a:lnTo>
                        <a:pt x="6" y="46"/>
                      </a:lnTo>
                      <a:lnTo>
                        <a:pt x="6" y="44"/>
                      </a:lnTo>
                      <a:lnTo>
                        <a:pt x="8" y="43"/>
                      </a:lnTo>
                      <a:lnTo>
                        <a:pt x="3" y="41"/>
                      </a:lnTo>
                      <a:lnTo>
                        <a:pt x="5" y="39"/>
                      </a:lnTo>
                      <a:lnTo>
                        <a:pt x="5" y="36"/>
                      </a:lnTo>
                      <a:lnTo>
                        <a:pt x="3" y="36"/>
                      </a:lnTo>
                      <a:lnTo>
                        <a:pt x="3" y="34"/>
                      </a:lnTo>
                      <a:lnTo>
                        <a:pt x="3" y="30"/>
                      </a:lnTo>
                      <a:lnTo>
                        <a:pt x="1" y="30"/>
                      </a:lnTo>
                      <a:lnTo>
                        <a:pt x="0" y="27"/>
                      </a:lnTo>
                      <a:lnTo>
                        <a:pt x="0" y="26"/>
                      </a:lnTo>
                      <a:lnTo>
                        <a:pt x="3" y="25"/>
                      </a:lnTo>
                      <a:lnTo>
                        <a:pt x="0" y="20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8" name="Freeform 24">
                  <a:extLst>
                    <a:ext uri="{FF2B5EF4-FFF2-40B4-BE49-F238E27FC236}">
                      <a16:creationId xmlns:a16="http://schemas.microsoft.com/office/drawing/2014/main" id="{305D76F2-D658-4E99-A84D-B14A4861A1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32739" y="5593587"/>
                  <a:ext cx="261907" cy="201557"/>
                </a:xfrm>
                <a:custGeom>
                  <a:avLst/>
                  <a:gdLst>
                    <a:gd name="T0" fmla="*/ 11 w 234"/>
                    <a:gd name="T1" fmla="*/ 109 h 151"/>
                    <a:gd name="T2" fmla="*/ 15 w 234"/>
                    <a:gd name="T3" fmla="*/ 91 h 151"/>
                    <a:gd name="T4" fmla="*/ 14 w 234"/>
                    <a:gd name="T5" fmla="*/ 69 h 151"/>
                    <a:gd name="T6" fmla="*/ 34 w 234"/>
                    <a:gd name="T7" fmla="*/ 66 h 151"/>
                    <a:gd name="T8" fmla="*/ 40 w 234"/>
                    <a:gd name="T9" fmla="*/ 62 h 151"/>
                    <a:gd name="T10" fmla="*/ 52 w 234"/>
                    <a:gd name="T11" fmla="*/ 58 h 151"/>
                    <a:gd name="T12" fmla="*/ 58 w 234"/>
                    <a:gd name="T13" fmla="*/ 60 h 151"/>
                    <a:gd name="T14" fmla="*/ 52 w 234"/>
                    <a:gd name="T15" fmla="*/ 54 h 151"/>
                    <a:gd name="T16" fmla="*/ 61 w 234"/>
                    <a:gd name="T17" fmla="*/ 38 h 151"/>
                    <a:gd name="T18" fmla="*/ 69 w 234"/>
                    <a:gd name="T19" fmla="*/ 31 h 151"/>
                    <a:gd name="T20" fmla="*/ 78 w 234"/>
                    <a:gd name="T21" fmla="*/ 27 h 151"/>
                    <a:gd name="T22" fmla="*/ 72 w 234"/>
                    <a:gd name="T23" fmla="*/ 18 h 151"/>
                    <a:gd name="T24" fmla="*/ 88 w 234"/>
                    <a:gd name="T25" fmla="*/ 9 h 151"/>
                    <a:gd name="T26" fmla="*/ 102 w 234"/>
                    <a:gd name="T27" fmla="*/ 3 h 151"/>
                    <a:gd name="T28" fmla="*/ 113 w 234"/>
                    <a:gd name="T29" fmla="*/ 1 h 151"/>
                    <a:gd name="T30" fmla="*/ 137 w 234"/>
                    <a:gd name="T31" fmla="*/ 3 h 151"/>
                    <a:gd name="T32" fmla="*/ 141 w 234"/>
                    <a:gd name="T33" fmla="*/ 9 h 151"/>
                    <a:gd name="T34" fmla="*/ 148 w 234"/>
                    <a:gd name="T35" fmla="*/ 11 h 151"/>
                    <a:gd name="T36" fmla="*/ 164 w 234"/>
                    <a:gd name="T37" fmla="*/ 7 h 151"/>
                    <a:gd name="T38" fmla="*/ 176 w 234"/>
                    <a:gd name="T39" fmla="*/ 15 h 151"/>
                    <a:gd name="T40" fmla="*/ 180 w 234"/>
                    <a:gd name="T41" fmla="*/ 25 h 151"/>
                    <a:gd name="T42" fmla="*/ 182 w 234"/>
                    <a:gd name="T43" fmla="*/ 34 h 151"/>
                    <a:gd name="T44" fmla="*/ 184 w 234"/>
                    <a:gd name="T45" fmla="*/ 43 h 151"/>
                    <a:gd name="T46" fmla="*/ 196 w 234"/>
                    <a:gd name="T47" fmla="*/ 58 h 151"/>
                    <a:gd name="T48" fmla="*/ 208 w 234"/>
                    <a:gd name="T49" fmla="*/ 68 h 151"/>
                    <a:gd name="T50" fmla="*/ 214 w 234"/>
                    <a:gd name="T51" fmla="*/ 71 h 151"/>
                    <a:gd name="T52" fmla="*/ 224 w 234"/>
                    <a:gd name="T53" fmla="*/ 75 h 151"/>
                    <a:gd name="T54" fmla="*/ 232 w 234"/>
                    <a:gd name="T55" fmla="*/ 82 h 151"/>
                    <a:gd name="T56" fmla="*/ 228 w 234"/>
                    <a:gd name="T57" fmla="*/ 90 h 151"/>
                    <a:gd name="T58" fmla="*/ 216 w 234"/>
                    <a:gd name="T59" fmla="*/ 93 h 151"/>
                    <a:gd name="T60" fmla="*/ 202 w 234"/>
                    <a:gd name="T61" fmla="*/ 92 h 151"/>
                    <a:gd name="T62" fmla="*/ 202 w 234"/>
                    <a:gd name="T63" fmla="*/ 100 h 151"/>
                    <a:gd name="T64" fmla="*/ 208 w 234"/>
                    <a:gd name="T65" fmla="*/ 112 h 151"/>
                    <a:gd name="T66" fmla="*/ 211 w 234"/>
                    <a:gd name="T67" fmla="*/ 125 h 151"/>
                    <a:gd name="T68" fmla="*/ 198 w 234"/>
                    <a:gd name="T69" fmla="*/ 127 h 151"/>
                    <a:gd name="T70" fmla="*/ 187 w 234"/>
                    <a:gd name="T71" fmla="*/ 139 h 151"/>
                    <a:gd name="T72" fmla="*/ 185 w 234"/>
                    <a:gd name="T73" fmla="*/ 151 h 151"/>
                    <a:gd name="T74" fmla="*/ 174 w 234"/>
                    <a:gd name="T75" fmla="*/ 145 h 151"/>
                    <a:gd name="T76" fmla="*/ 159 w 234"/>
                    <a:gd name="T77" fmla="*/ 148 h 151"/>
                    <a:gd name="T78" fmla="*/ 148 w 234"/>
                    <a:gd name="T79" fmla="*/ 141 h 151"/>
                    <a:gd name="T80" fmla="*/ 139 w 234"/>
                    <a:gd name="T81" fmla="*/ 145 h 151"/>
                    <a:gd name="T82" fmla="*/ 133 w 234"/>
                    <a:gd name="T83" fmla="*/ 143 h 151"/>
                    <a:gd name="T84" fmla="*/ 121 w 234"/>
                    <a:gd name="T85" fmla="*/ 141 h 151"/>
                    <a:gd name="T86" fmla="*/ 115 w 234"/>
                    <a:gd name="T87" fmla="*/ 143 h 151"/>
                    <a:gd name="T88" fmla="*/ 104 w 234"/>
                    <a:gd name="T89" fmla="*/ 140 h 151"/>
                    <a:gd name="T90" fmla="*/ 85 w 234"/>
                    <a:gd name="T91" fmla="*/ 134 h 151"/>
                    <a:gd name="T92" fmla="*/ 51 w 234"/>
                    <a:gd name="T93" fmla="*/ 132 h 151"/>
                    <a:gd name="T94" fmla="*/ 29 w 234"/>
                    <a:gd name="T95" fmla="*/ 137 h 151"/>
                    <a:gd name="T96" fmla="*/ 16 w 234"/>
                    <a:gd name="T97" fmla="*/ 140 h 151"/>
                    <a:gd name="T98" fmla="*/ 11 w 234"/>
                    <a:gd name="T99" fmla="*/ 145 h 151"/>
                    <a:gd name="T100" fmla="*/ 13 w 234"/>
                    <a:gd name="T101" fmla="*/ 132 h 151"/>
                    <a:gd name="T102" fmla="*/ 8 w 234"/>
                    <a:gd name="T103" fmla="*/ 124 h 1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34" h="151">
                      <a:moveTo>
                        <a:pt x="0" y="119"/>
                      </a:moveTo>
                      <a:lnTo>
                        <a:pt x="4" y="113"/>
                      </a:lnTo>
                      <a:lnTo>
                        <a:pt x="8" y="111"/>
                      </a:lnTo>
                      <a:lnTo>
                        <a:pt x="11" y="109"/>
                      </a:lnTo>
                      <a:lnTo>
                        <a:pt x="14" y="108"/>
                      </a:lnTo>
                      <a:lnTo>
                        <a:pt x="16" y="106"/>
                      </a:lnTo>
                      <a:lnTo>
                        <a:pt x="18" y="100"/>
                      </a:lnTo>
                      <a:lnTo>
                        <a:pt x="15" y="91"/>
                      </a:lnTo>
                      <a:lnTo>
                        <a:pt x="10" y="84"/>
                      </a:lnTo>
                      <a:lnTo>
                        <a:pt x="7" y="76"/>
                      </a:lnTo>
                      <a:lnTo>
                        <a:pt x="4" y="68"/>
                      </a:lnTo>
                      <a:lnTo>
                        <a:pt x="14" y="69"/>
                      </a:lnTo>
                      <a:lnTo>
                        <a:pt x="25" y="69"/>
                      </a:lnTo>
                      <a:lnTo>
                        <a:pt x="27" y="68"/>
                      </a:lnTo>
                      <a:lnTo>
                        <a:pt x="31" y="66"/>
                      </a:lnTo>
                      <a:lnTo>
                        <a:pt x="34" y="66"/>
                      </a:lnTo>
                      <a:lnTo>
                        <a:pt x="35" y="65"/>
                      </a:lnTo>
                      <a:lnTo>
                        <a:pt x="35" y="64"/>
                      </a:lnTo>
                      <a:lnTo>
                        <a:pt x="37" y="62"/>
                      </a:lnTo>
                      <a:lnTo>
                        <a:pt x="40" y="62"/>
                      </a:lnTo>
                      <a:lnTo>
                        <a:pt x="42" y="60"/>
                      </a:lnTo>
                      <a:lnTo>
                        <a:pt x="45" y="59"/>
                      </a:lnTo>
                      <a:lnTo>
                        <a:pt x="46" y="58"/>
                      </a:lnTo>
                      <a:lnTo>
                        <a:pt x="52" y="58"/>
                      </a:lnTo>
                      <a:lnTo>
                        <a:pt x="53" y="58"/>
                      </a:lnTo>
                      <a:lnTo>
                        <a:pt x="53" y="62"/>
                      </a:lnTo>
                      <a:lnTo>
                        <a:pt x="56" y="62"/>
                      </a:lnTo>
                      <a:lnTo>
                        <a:pt x="58" y="60"/>
                      </a:lnTo>
                      <a:lnTo>
                        <a:pt x="58" y="58"/>
                      </a:lnTo>
                      <a:lnTo>
                        <a:pt x="57" y="57"/>
                      </a:lnTo>
                      <a:lnTo>
                        <a:pt x="54" y="55"/>
                      </a:lnTo>
                      <a:lnTo>
                        <a:pt x="52" y="54"/>
                      </a:lnTo>
                      <a:lnTo>
                        <a:pt x="56" y="49"/>
                      </a:lnTo>
                      <a:lnTo>
                        <a:pt x="57" y="44"/>
                      </a:lnTo>
                      <a:lnTo>
                        <a:pt x="58" y="39"/>
                      </a:lnTo>
                      <a:lnTo>
                        <a:pt x="61" y="38"/>
                      </a:lnTo>
                      <a:lnTo>
                        <a:pt x="63" y="36"/>
                      </a:lnTo>
                      <a:lnTo>
                        <a:pt x="66" y="34"/>
                      </a:lnTo>
                      <a:lnTo>
                        <a:pt x="67" y="32"/>
                      </a:lnTo>
                      <a:lnTo>
                        <a:pt x="69" y="31"/>
                      </a:lnTo>
                      <a:lnTo>
                        <a:pt x="73" y="30"/>
                      </a:lnTo>
                      <a:lnTo>
                        <a:pt x="75" y="30"/>
                      </a:lnTo>
                      <a:lnTo>
                        <a:pt x="77" y="28"/>
                      </a:lnTo>
                      <a:lnTo>
                        <a:pt x="78" y="27"/>
                      </a:lnTo>
                      <a:lnTo>
                        <a:pt x="80" y="25"/>
                      </a:lnTo>
                      <a:lnTo>
                        <a:pt x="75" y="23"/>
                      </a:lnTo>
                      <a:lnTo>
                        <a:pt x="73" y="21"/>
                      </a:lnTo>
                      <a:lnTo>
                        <a:pt x="72" y="18"/>
                      </a:lnTo>
                      <a:lnTo>
                        <a:pt x="74" y="14"/>
                      </a:lnTo>
                      <a:lnTo>
                        <a:pt x="78" y="11"/>
                      </a:lnTo>
                      <a:lnTo>
                        <a:pt x="83" y="9"/>
                      </a:lnTo>
                      <a:lnTo>
                        <a:pt x="88" y="9"/>
                      </a:lnTo>
                      <a:lnTo>
                        <a:pt x="93" y="9"/>
                      </a:lnTo>
                      <a:lnTo>
                        <a:pt x="96" y="9"/>
                      </a:lnTo>
                      <a:lnTo>
                        <a:pt x="99" y="6"/>
                      </a:lnTo>
                      <a:lnTo>
                        <a:pt x="102" y="3"/>
                      </a:lnTo>
                      <a:lnTo>
                        <a:pt x="106" y="0"/>
                      </a:lnTo>
                      <a:lnTo>
                        <a:pt x="109" y="0"/>
                      </a:lnTo>
                      <a:lnTo>
                        <a:pt x="111" y="0"/>
                      </a:lnTo>
                      <a:lnTo>
                        <a:pt x="113" y="1"/>
                      </a:lnTo>
                      <a:lnTo>
                        <a:pt x="116" y="1"/>
                      </a:lnTo>
                      <a:lnTo>
                        <a:pt x="122" y="1"/>
                      </a:lnTo>
                      <a:lnTo>
                        <a:pt x="129" y="1"/>
                      </a:lnTo>
                      <a:lnTo>
                        <a:pt x="137" y="3"/>
                      </a:lnTo>
                      <a:lnTo>
                        <a:pt x="139" y="4"/>
                      </a:lnTo>
                      <a:lnTo>
                        <a:pt x="141" y="5"/>
                      </a:lnTo>
                      <a:lnTo>
                        <a:pt x="142" y="6"/>
                      </a:lnTo>
                      <a:lnTo>
                        <a:pt x="141" y="9"/>
                      </a:lnTo>
                      <a:lnTo>
                        <a:pt x="141" y="10"/>
                      </a:lnTo>
                      <a:lnTo>
                        <a:pt x="142" y="11"/>
                      </a:lnTo>
                      <a:lnTo>
                        <a:pt x="144" y="12"/>
                      </a:lnTo>
                      <a:lnTo>
                        <a:pt x="148" y="11"/>
                      </a:lnTo>
                      <a:lnTo>
                        <a:pt x="152" y="10"/>
                      </a:lnTo>
                      <a:lnTo>
                        <a:pt x="154" y="9"/>
                      </a:lnTo>
                      <a:lnTo>
                        <a:pt x="159" y="7"/>
                      </a:lnTo>
                      <a:lnTo>
                        <a:pt x="164" y="7"/>
                      </a:lnTo>
                      <a:lnTo>
                        <a:pt x="168" y="9"/>
                      </a:lnTo>
                      <a:lnTo>
                        <a:pt x="173" y="12"/>
                      </a:lnTo>
                      <a:lnTo>
                        <a:pt x="174" y="14"/>
                      </a:lnTo>
                      <a:lnTo>
                        <a:pt x="176" y="15"/>
                      </a:lnTo>
                      <a:lnTo>
                        <a:pt x="179" y="16"/>
                      </a:lnTo>
                      <a:lnTo>
                        <a:pt x="180" y="18"/>
                      </a:lnTo>
                      <a:lnTo>
                        <a:pt x="180" y="22"/>
                      </a:lnTo>
                      <a:lnTo>
                        <a:pt x="180" y="25"/>
                      </a:lnTo>
                      <a:lnTo>
                        <a:pt x="180" y="27"/>
                      </a:lnTo>
                      <a:lnTo>
                        <a:pt x="181" y="30"/>
                      </a:lnTo>
                      <a:lnTo>
                        <a:pt x="184" y="33"/>
                      </a:lnTo>
                      <a:lnTo>
                        <a:pt x="182" y="34"/>
                      </a:lnTo>
                      <a:lnTo>
                        <a:pt x="181" y="36"/>
                      </a:lnTo>
                      <a:lnTo>
                        <a:pt x="180" y="38"/>
                      </a:lnTo>
                      <a:lnTo>
                        <a:pt x="181" y="41"/>
                      </a:lnTo>
                      <a:lnTo>
                        <a:pt x="184" y="43"/>
                      </a:lnTo>
                      <a:lnTo>
                        <a:pt x="186" y="46"/>
                      </a:lnTo>
                      <a:lnTo>
                        <a:pt x="190" y="49"/>
                      </a:lnTo>
                      <a:lnTo>
                        <a:pt x="192" y="54"/>
                      </a:lnTo>
                      <a:lnTo>
                        <a:pt x="196" y="58"/>
                      </a:lnTo>
                      <a:lnTo>
                        <a:pt x="201" y="62"/>
                      </a:lnTo>
                      <a:lnTo>
                        <a:pt x="206" y="63"/>
                      </a:lnTo>
                      <a:lnTo>
                        <a:pt x="208" y="65"/>
                      </a:lnTo>
                      <a:lnTo>
                        <a:pt x="208" y="68"/>
                      </a:lnTo>
                      <a:lnTo>
                        <a:pt x="208" y="70"/>
                      </a:lnTo>
                      <a:lnTo>
                        <a:pt x="208" y="71"/>
                      </a:lnTo>
                      <a:lnTo>
                        <a:pt x="209" y="73"/>
                      </a:lnTo>
                      <a:lnTo>
                        <a:pt x="214" y="71"/>
                      </a:lnTo>
                      <a:lnTo>
                        <a:pt x="217" y="71"/>
                      </a:lnTo>
                      <a:lnTo>
                        <a:pt x="220" y="73"/>
                      </a:lnTo>
                      <a:lnTo>
                        <a:pt x="223" y="74"/>
                      </a:lnTo>
                      <a:lnTo>
                        <a:pt x="224" y="75"/>
                      </a:lnTo>
                      <a:lnTo>
                        <a:pt x="224" y="76"/>
                      </a:lnTo>
                      <a:lnTo>
                        <a:pt x="225" y="78"/>
                      </a:lnTo>
                      <a:lnTo>
                        <a:pt x="229" y="80"/>
                      </a:lnTo>
                      <a:lnTo>
                        <a:pt x="232" y="82"/>
                      </a:lnTo>
                      <a:lnTo>
                        <a:pt x="234" y="86"/>
                      </a:lnTo>
                      <a:lnTo>
                        <a:pt x="233" y="87"/>
                      </a:lnTo>
                      <a:lnTo>
                        <a:pt x="230" y="89"/>
                      </a:lnTo>
                      <a:lnTo>
                        <a:pt x="228" y="90"/>
                      </a:lnTo>
                      <a:lnTo>
                        <a:pt x="224" y="92"/>
                      </a:lnTo>
                      <a:lnTo>
                        <a:pt x="223" y="93"/>
                      </a:lnTo>
                      <a:lnTo>
                        <a:pt x="219" y="93"/>
                      </a:lnTo>
                      <a:lnTo>
                        <a:pt x="216" y="93"/>
                      </a:lnTo>
                      <a:lnTo>
                        <a:pt x="212" y="92"/>
                      </a:lnTo>
                      <a:lnTo>
                        <a:pt x="209" y="91"/>
                      </a:lnTo>
                      <a:lnTo>
                        <a:pt x="206" y="91"/>
                      </a:lnTo>
                      <a:lnTo>
                        <a:pt x="202" y="92"/>
                      </a:lnTo>
                      <a:lnTo>
                        <a:pt x="200" y="93"/>
                      </a:lnTo>
                      <a:lnTo>
                        <a:pt x="198" y="95"/>
                      </a:lnTo>
                      <a:lnTo>
                        <a:pt x="198" y="96"/>
                      </a:lnTo>
                      <a:lnTo>
                        <a:pt x="202" y="100"/>
                      </a:lnTo>
                      <a:lnTo>
                        <a:pt x="206" y="102"/>
                      </a:lnTo>
                      <a:lnTo>
                        <a:pt x="207" y="105"/>
                      </a:lnTo>
                      <a:lnTo>
                        <a:pt x="207" y="107"/>
                      </a:lnTo>
                      <a:lnTo>
                        <a:pt x="208" y="112"/>
                      </a:lnTo>
                      <a:lnTo>
                        <a:pt x="212" y="119"/>
                      </a:lnTo>
                      <a:lnTo>
                        <a:pt x="216" y="125"/>
                      </a:lnTo>
                      <a:lnTo>
                        <a:pt x="213" y="125"/>
                      </a:lnTo>
                      <a:lnTo>
                        <a:pt x="211" y="125"/>
                      </a:lnTo>
                      <a:lnTo>
                        <a:pt x="207" y="125"/>
                      </a:lnTo>
                      <a:lnTo>
                        <a:pt x="205" y="127"/>
                      </a:lnTo>
                      <a:lnTo>
                        <a:pt x="202" y="127"/>
                      </a:lnTo>
                      <a:lnTo>
                        <a:pt x="198" y="127"/>
                      </a:lnTo>
                      <a:lnTo>
                        <a:pt x="193" y="128"/>
                      </a:lnTo>
                      <a:lnTo>
                        <a:pt x="190" y="132"/>
                      </a:lnTo>
                      <a:lnTo>
                        <a:pt x="187" y="137"/>
                      </a:lnTo>
                      <a:lnTo>
                        <a:pt x="187" y="139"/>
                      </a:lnTo>
                      <a:lnTo>
                        <a:pt x="187" y="141"/>
                      </a:lnTo>
                      <a:lnTo>
                        <a:pt x="189" y="149"/>
                      </a:lnTo>
                      <a:lnTo>
                        <a:pt x="187" y="151"/>
                      </a:lnTo>
                      <a:lnTo>
                        <a:pt x="185" y="151"/>
                      </a:lnTo>
                      <a:lnTo>
                        <a:pt x="182" y="149"/>
                      </a:lnTo>
                      <a:lnTo>
                        <a:pt x="180" y="148"/>
                      </a:lnTo>
                      <a:lnTo>
                        <a:pt x="176" y="145"/>
                      </a:lnTo>
                      <a:lnTo>
                        <a:pt x="174" y="145"/>
                      </a:lnTo>
                      <a:lnTo>
                        <a:pt x="170" y="146"/>
                      </a:lnTo>
                      <a:lnTo>
                        <a:pt x="165" y="145"/>
                      </a:lnTo>
                      <a:lnTo>
                        <a:pt x="161" y="148"/>
                      </a:lnTo>
                      <a:lnTo>
                        <a:pt x="159" y="148"/>
                      </a:lnTo>
                      <a:lnTo>
                        <a:pt x="155" y="146"/>
                      </a:lnTo>
                      <a:lnTo>
                        <a:pt x="154" y="144"/>
                      </a:lnTo>
                      <a:lnTo>
                        <a:pt x="150" y="141"/>
                      </a:lnTo>
                      <a:lnTo>
                        <a:pt x="148" y="141"/>
                      </a:lnTo>
                      <a:lnTo>
                        <a:pt x="144" y="143"/>
                      </a:lnTo>
                      <a:lnTo>
                        <a:pt x="143" y="145"/>
                      </a:lnTo>
                      <a:lnTo>
                        <a:pt x="142" y="148"/>
                      </a:lnTo>
                      <a:lnTo>
                        <a:pt x="139" y="145"/>
                      </a:lnTo>
                      <a:lnTo>
                        <a:pt x="138" y="143"/>
                      </a:lnTo>
                      <a:lnTo>
                        <a:pt x="136" y="143"/>
                      </a:lnTo>
                      <a:lnTo>
                        <a:pt x="134" y="143"/>
                      </a:lnTo>
                      <a:lnTo>
                        <a:pt x="133" y="143"/>
                      </a:lnTo>
                      <a:lnTo>
                        <a:pt x="132" y="143"/>
                      </a:lnTo>
                      <a:lnTo>
                        <a:pt x="128" y="141"/>
                      </a:lnTo>
                      <a:lnTo>
                        <a:pt x="123" y="141"/>
                      </a:lnTo>
                      <a:lnTo>
                        <a:pt x="121" y="141"/>
                      </a:lnTo>
                      <a:lnTo>
                        <a:pt x="120" y="141"/>
                      </a:lnTo>
                      <a:lnTo>
                        <a:pt x="118" y="141"/>
                      </a:lnTo>
                      <a:lnTo>
                        <a:pt x="117" y="144"/>
                      </a:lnTo>
                      <a:lnTo>
                        <a:pt x="115" y="143"/>
                      </a:lnTo>
                      <a:lnTo>
                        <a:pt x="111" y="140"/>
                      </a:lnTo>
                      <a:lnTo>
                        <a:pt x="107" y="141"/>
                      </a:lnTo>
                      <a:lnTo>
                        <a:pt x="105" y="141"/>
                      </a:lnTo>
                      <a:lnTo>
                        <a:pt x="104" y="140"/>
                      </a:lnTo>
                      <a:lnTo>
                        <a:pt x="99" y="137"/>
                      </a:lnTo>
                      <a:lnTo>
                        <a:pt x="95" y="135"/>
                      </a:lnTo>
                      <a:lnTo>
                        <a:pt x="90" y="135"/>
                      </a:lnTo>
                      <a:lnTo>
                        <a:pt x="85" y="134"/>
                      </a:lnTo>
                      <a:lnTo>
                        <a:pt x="74" y="132"/>
                      </a:lnTo>
                      <a:lnTo>
                        <a:pt x="69" y="132"/>
                      </a:lnTo>
                      <a:lnTo>
                        <a:pt x="63" y="132"/>
                      </a:lnTo>
                      <a:lnTo>
                        <a:pt x="51" y="132"/>
                      </a:lnTo>
                      <a:lnTo>
                        <a:pt x="40" y="132"/>
                      </a:lnTo>
                      <a:lnTo>
                        <a:pt x="35" y="133"/>
                      </a:lnTo>
                      <a:lnTo>
                        <a:pt x="31" y="134"/>
                      </a:lnTo>
                      <a:lnTo>
                        <a:pt x="29" y="137"/>
                      </a:lnTo>
                      <a:lnTo>
                        <a:pt x="26" y="140"/>
                      </a:lnTo>
                      <a:lnTo>
                        <a:pt x="24" y="141"/>
                      </a:lnTo>
                      <a:lnTo>
                        <a:pt x="21" y="141"/>
                      </a:lnTo>
                      <a:lnTo>
                        <a:pt x="16" y="140"/>
                      </a:lnTo>
                      <a:lnTo>
                        <a:pt x="14" y="140"/>
                      </a:lnTo>
                      <a:lnTo>
                        <a:pt x="14" y="141"/>
                      </a:lnTo>
                      <a:lnTo>
                        <a:pt x="13" y="144"/>
                      </a:lnTo>
                      <a:lnTo>
                        <a:pt x="11" y="145"/>
                      </a:lnTo>
                      <a:lnTo>
                        <a:pt x="11" y="144"/>
                      </a:lnTo>
                      <a:lnTo>
                        <a:pt x="11" y="139"/>
                      </a:lnTo>
                      <a:lnTo>
                        <a:pt x="13" y="133"/>
                      </a:lnTo>
                      <a:lnTo>
                        <a:pt x="13" y="132"/>
                      </a:lnTo>
                      <a:lnTo>
                        <a:pt x="13" y="130"/>
                      </a:lnTo>
                      <a:lnTo>
                        <a:pt x="13" y="127"/>
                      </a:lnTo>
                      <a:lnTo>
                        <a:pt x="11" y="125"/>
                      </a:lnTo>
                      <a:lnTo>
                        <a:pt x="8" y="124"/>
                      </a:lnTo>
                      <a:lnTo>
                        <a:pt x="4" y="123"/>
                      </a:lnTo>
                      <a:lnTo>
                        <a:pt x="2" y="119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9" name="Freeform 203">
                  <a:extLst>
                    <a:ext uri="{FF2B5EF4-FFF2-40B4-BE49-F238E27FC236}">
                      <a16:creationId xmlns:a16="http://schemas.microsoft.com/office/drawing/2014/main" id="{7A98BA4E-4DF1-44F6-8650-01C8F2CC99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20814" y="6009964"/>
                  <a:ext cx="129834" cy="188298"/>
                </a:xfrm>
                <a:custGeom>
                  <a:avLst/>
                  <a:gdLst>
                    <a:gd name="T0" fmla="*/ 17 w 114"/>
                    <a:gd name="T1" fmla="*/ 2 h 141"/>
                    <a:gd name="T2" fmla="*/ 7 w 114"/>
                    <a:gd name="T3" fmla="*/ 6 h 141"/>
                    <a:gd name="T4" fmla="*/ 3 w 114"/>
                    <a:gd name="T5" fmla="*/ 17 h 141"/>
                    <a:gd name="T6" fmla="*/ 6 w 114"/>
                    <a:gd name="T7" fmla="*/ 23 h 141"/>
                    <a:gd name="T8" fmla="*/ 8 w 114"/>
                    <a:gd name="T9" fmla="*/ 27 h 141"/>
                    <a:gd name="T10" fmla="*/ 15 w 114"/>
                    <a:gd name="T11" fmla="*/ 32 h 141"/>
                    <a:gd name="T12" fmla="*/ 7 w 114"/>
                    <a:gd name="T13" fmla="*/ 34 h 141"/>
                    <a:gd name="T14" fmla="*/ 7 w 114"/>
                    <a:gd name="T15" fmla="*/ 42 h 141"/>
                    <a:gd name="T16" fmla="*/ 16 w 114"/>
                    <a:gd name="T17" fmla="*/ 44 h 141"/>
                    <a:gd name="T18" fmla="*/ 11 w 114"/>
                    <a:gd name="T19" fmla="*/ 55 h 141"/>
                    <a:gd name="T20" fmla="*/ 16 w 114"/>
                    <a:gd name="T21" fmla="*/ 64 h 141"/>
                    <a:gd name="T22" fmla="*/ 22 w 114"/>
                    <a:gd name="T23" fmla="*/ 70 h 141"/>
                    <a:gd name="T24" fmla="*/ 15 w 114"/>
                    <a:gd name="T25" fmla="*/ 71 h 141"/>
                    <a:gd name="T26" fmla="*/ 21 w 114"/>
                    <a:gd name="T27" fmla="*/ 81 h 141"/>
                    <a:gd name="T28" fmla="*/ 6 w 114"/>
                    <a:gd name="T29" fmla="*/ 86 h 141"/>
                    <a:gd name="T30" fmla="*/ 21 w 114"/>
                    <a:gd name="T31" fmla="*/ 98 h 141"/>
                    <a:gd name="T32" fmla="*/ 28 w 114"/>
                    <a:gd name="T33" fmla="*/ 103 h 141"/>
                    <a:gd name="T34" fmla="*/ 39 w 114"/>
                    <a:gd name="T35" fmla="*/ 106 h 141"/>
                    <a:gd name="T36" fmla="*/ 38 w 114"/>
                    <a:gd name="T37" fmla="*/ 109 h 141"/>
                    <a:gd name="T38" fmla="*/ 37 w 114"/>
                    <a:gd name="T39" fmla="*/ 113 h 141"/>
                    <a:gd name="T40" fmla="*/ 38 w 114"/>
                    <a:gd name="T41" fmla="*/ 118 h 141"/>
                    <a:gd name="T42" fmla="*/ 42 w 114"/>
                    <a:gd name="T43" fmla="*/ 123 h 141"/>
                    <a:gd name="T44" fmla="*/ 49 w 114"/>
                    <a:gd name="T45" fmla="*/ 126 h 141"/>
                    <a:gd name="T46" fmla="*/ 53 w 114"/>
                    <a:gd name="T47" fmla="*/ 136 h 141"/>
                    <a:gd name="T48" fmla="*/ 54 w 114"/>
                    <a:gd name="T49" fmla="*/ 141 h 141"/>
                    <a:gd name="T50" fmla="*/ 65 w 114"/>
                    <a:gd name="T51" fmla="*/ 131 h 141"/>
                    <a:gd name="T52" fmla="*/ 72 w 114"/>
                    <a:gd name="T53" fmla="*/ 130 h 141"/>
                    <a:gd name="T54" fmla="*/ 81 w 114"/>
                    <a:gd name="T55" fmla="*/ 128 h 141"/>
                    <a:gd name="T56" fmla="*/ 88 w 114"/>
                    <a:gd name="T57" fmla="*/ 125 h 141"/>
                    <a:gd name="T58" fmla="*/ 98 w 114"/>
                    <a:gd name="T59" fmla="*/ 124 h 141"/>
                    <a:gd name="T60" fmla="*/ 103 w 114"/>
                    <a:gd name="T61" fmla="*/ 118 h 141"/>
                    <a:gd name="T62" fmla="*/ 104 w 114"/>
                    <a:gd name="T63" fmla="*/ 107 h 141"/>
                    <a:gd name="T64" fmla="*/ 109 w 114"/>
                    <a:gd name="T65" fmla="*/ 106 h 141"/>
                    <a:gd name="T66" fmla="*/ 108 w 114"/>
                    <a:gd name="T67" fmla="*/ 93 h 141"/>
                    <a:gd name="T68" fmla="*/ 98 w 114"/>
                    <a:gd name="T69" fmla="*/ 82 h 141"/>
                    <a:gd name="T70" fmla="*/ 103 w 114"/>
                    <a:gd name="T71" fmla="*/ 64 h 141"/>
                    <a:gd name="T72" fmla="*/ 98 w 114"/>
                    <a:gd name="T73" fmla="*/ 56 h 141"/>
                    <a:gd name="T74" fmla="*/ 106 w 114"/>
                    <a:gd name="T75" fmla="*/ 53 h 141"/>
                    <a:gd name="T76" fmla="*/ 97 w 114"/>
                    <a:gd name="T77" fmla="*/ 48 h 141"/>
                    <a:gd name="T78" fmla="*/ 92 w 114"/>
                    <a:gd name="T79" fmla="*/ 53 h 141"/>
                    <a:gd name="T80" fmla="*/ 88 w 114"/>
                    <a:gd name="T81" fmla="*/ 54 h 141"/>
                    <a:gd name="T82" fmla="*/ 72 w 114"/>
                    <a:gd name="T83" fmla="*/ 45 h 141"/>
                    <a:gd name="T84" fmla="*/ 70 w 114"/>
                    <a:gd name="T85" fmla="*/ 44 h 141"/>
                    <a:gd name="T86" fmla="*/ 71 w 114"/>
                    <a:gd name="T87" fmla="*/ 40 h 141"/>
                    <a:gd name="T88" fmla="*/ 71 w 114"/>
                    <a:gd name="T89" fmla="*/ 35 h 141"/>
                    <a:gd name="T90" fmla="*/ 65 w 114"/>
                    <a:gd name="T91" fmla="*/ 31 h 141"/>
                    <a:gd name="T92" fmla="*/ 51 w 114"/>
                    <a:gd name="T93" fmla="*/ 18 h 141"/>
                    <a:gd name="T94" fmla="*/ 46 w 114"/>
                    <a:gd name="T95" fmla="*/ 10 h 141"/>
                    <a:gd name="T96" fmla="*/ 35 w 114"/>
                    <a:gd name="T97" fmla="*/ 0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14" h="141">
                      <a:moveTo>
                        <a:pt x="23" y="0"/>
                      </a:moveTo>
                      <a:lnTo>
                        <a:pt x="19" y="0"/>
                      </a:lnTo>
                      <a:lnTo>
                        <a:pt x="17" y="2"/>
                      </a:lnTo>
                      <a:lnTo>
                        <a:pt x="15" y="5"/>
                      </a:lnTo>
                      <a:lnTo>
                        <a:pt x="13" y="6"/>
                      </a:lnTo>
                      <a:lnTo>
                        <a:pt x="7" y="6"/>
                      </a:lnTo>
                      <a:lnTo>
                        <a:pt x="0" y="7"/>
                      </a:lnTo>
                      <a:lnTo>
                        <a:pt x="2" y="12"/>
                      </a:lnTo>
                      <a:lnTo>
                        <a:pt x="3" y="17"/>
                      </a:lnTo>
                      <a:lnTo>
                        <a:pt x="5" y="21"/>
                      </a:lnTo>
                      <a:lnTo>
                        <a:pt x="7" y="21"/>
                      </a:lnTo>
                      <a:lnTo>
                        <a:pt x="6" y="23"/>
                      </a:lnTo>
                      <a:lnTo>
                        <a:pt x="6" y="24"/>
                      </a:lnTo>
                      <a:lnTo>
                        <a:pt x="6" y="26"/>
                      </a:lnTo>
                      <a:lnTo>
                        <a:pt x="8" y="27"/>
                      </a:lnTo>
                      <a:lnTo>
                        <a:pt x="13" y="29"/>
                      </a:lnTo>
                      <a:lnTo>
                        <a:pt x="16" y="32"/>
                      </a:lnTo>
                      <a:lnTo>
                        <a:pt x="15" y="32"/>
                      </a:lnTo>
                      <a:lnTo>
                        <a:pt x="12" y="33"/>
                      </a:lnTo>
                      <a:lnTo>
                        <a:pt x="10" y="33"/>
                      </a:lnTo>
                      <a:lnTo>
                        <a:pt x="7" y="34"/>
                      </a:lnTo>
                      <a:lnTo>
                        <a:pt x="8" y="37"/>
                      </a:lnTo>
                      <a:lnTo>
                        <a:pt x="8" y="39"/>
                      </a:lnTo>
                      <a:lnTo>
                        <a:pt x="7" y="42"/>
                      </a:lnTo>
                      <a:lnTo>
                        <a:pt x="12" y="40"/>
                      </a:lnTo>
                      <a:lnTo>
                        <a:pt x="15" y="42"/>
                      </a:lnTo>
                      <a:lnTo>
                        <a:pt x="16" y="44"/>
                      </a:lnTo>
                      <a:lnTo>
                        <a:pt x="16" y="46"/>
                      </a:lnTo>
                      <a:lnTo>
                        <a:pt x="13" y="49"/>
                      </a:lnTo>
                      <a:lnTo>
                        <a:pt x="11" y="55"/>
                      </a:lnTo>
                      <a:lnTo>
                        <a:pt x="11" y="58"/>
                      </a:lnTo>
                      <a:lnTo>
                        <a:pt x="12" y="61"/>
                      </a:lnTo>
                      <a:lnTo>
                        <a:pt x="16" y="64"/>
                      </a:lnTo>
                      <a:lnTo>
                        <a:pt x="21" y="67"/>
                      </a:lnTo>
                      <a:lnTo>
                        <a:pt x="22" y="69"/>
                      </a:lnTo>
                      <a:lnTo>
                        <a:pt x="22" y="70"/>
                      </a:lnTo>
                      <a:lnTo>
                        <a:pt x="21" y="71"/>
                      </a:lnTo>
                      <a:lnTo>
                        <a:pt x="17" y="71"/>
                      </a:lnTo>
                      <a:lnTo>
                        <a:pt x="15" y="71"/>
                      </a:lnTo>
                      <a:lnTo>
                        <a:pt x="16" y="74"/>
                      </a:lnTo>
                      <a:lnTo>
                        <a:pt x="18" y="77"/>
                      </a:lnTo>
                      <a:lnTo>
                        <a:pt x="21" y="81"/>
                      </a:lnTo>
                      <a:lnTo>
                        <a:pt x="21" y="83"/>
                      </a:lnTo>
                      <a:lnTo>
                        <a:pt x="13" y="86"/>
                      </a:lnTo>
                      <a:lnTo>
                        <a:pt x="6" y="86"/>
                      </a:lnTo>
                      <a:lnTo>
                        <a:pt x="8" y="87"/>
                      </a:lnTo>
                      <a:lnTo>
                        <a:pt x="11" y="90"/>
                      </a:lnTo>
                      <a:lnTo>
                        <a:pt x="21" y="98"/>
                      </a:lnTo>
                      <a:lnTo>
                        <a:pt x="23" y="101"/>
                      </a:lnTo>
                      <a:lnTo>
                        <a:pt x="26" y="102"/>
                      </a:lnTo>
                      <a:lnTo>
                        <a:pt x="28" y="103"/>
                      </a:lnTo>
                      <a:lnTo>
                        <a:pt x="32" y="104"/>
                      </a:lnTo>
                      <a:lnTo>
                        <a:pt x="35" y="104"/>
                      </a:lnTo>
                      <a:lnTo>
                        <a:pt x="39" y="106"/>
                      </a:lnTo>
                      <a:lnTo>
                        <a:pt x="40" y="108"/>
                      </a:lnTo>
                      <a:lnTo>
                        <a:pt x="40" y="108"/>
                      </a:lnTo>
                      <a:lnTo>
                        <a:pt x="38" y="109"/>
                      </a:lnTo>
                      <a:lnTo>
                        <a:pt x="37" y="110"/>
                      </a:lnTo>
                      <a:lnTo>
                        <a:pt x="35" y="112"/>
                      </a:lnTo>
                      <a:lnTo>
                        <a:pt x="37" y="113"/>
                      </a:lnTo>
                      <a:lnTo>
                        <a:pt x="38" y="114"/>
                      </a:lnTo>
                      <a:lnTo>
                        <a:pt x="38" y="117"/>
                      </a:lnTo>
                      <a:lnTo>
                        <a:pt x="38" y="118"/>
                      </a:lnTo>
                      <a:lnTo>
                        <a:pt x="40" y="118"/>
                      </a:lnTo>
                      <a:lnTo>
                        <a:pt x="42" y="119"/>
                      </a:lnTo>
                      <a:lnTo>
                        <a:pt x="42" y="123"/>
                      </a:lnTo>
                      <a:lnTo>
                        <a:pt x="43" y="125"/>
                      </a:lnTo>
                      <a:lnTo>
                        <a:pt x="45" y="126"/>
                      </a:lnTo>
                      <a:lnTo>
                        <a:pt x="49" y="126"/>
                      </a:lnTo>
                      <a:lnTo>
                        <a:pt x="50" y="128"/>
                      </a:lnTo>
                      <a:lnTo>
                        <a:pt x="51" y="130"/>
                      </a:lnTo>
                      <a:lnTo>
                        <a:pt x="53" y="136"/>
                      </a:lnTo>
                      <a:lnTo>
                        <a:pt x="54" y="140"/>
                      </a:lnTo>
                      <a:lnTo>
                        <a:pt x="54" y="141"/>
                      </a:lnTo>
                      <a:lnTo>
                        <a:pt x="54" y="141"/>
                      </a:lnTo>
                      <a:lnTo>
                        <a:pt x="58" y="136"/>
                      </a:lnTo>
                      <a:lnTo>
                        <a:pt x="60" y="133"/>
                      </a:lnTo>
                      <a:lnTo>
                        <a:pt x="65" y="131"/>
                      </a:lnTo>
                      <a:lnTo>
                        <a:pt x="67" y="131"/>
                      </a:lnTo>
                      <a:lnTo>
                        <a:pt x="72" y="133"/>
                      </a:lnTo>
                      <a:lnTo>
                        <a:pt x="72" y="130"/>
                      </a:lnTo>
                      <a:lnTo>
                        <a:pt x="75" y="129"/>
                      </a:lnTo>
                      <a:lnTo>
                        <a:pt x="78" y="128"/>
                      </a:lnTo>
                      <a:lnTo>
                        <a:pt x="81" y="128"/>
                      </a:lnTo>
                      <a:lnTo>
                        <a:pt x="83" y="126"/>
                      </a:lnTo>
                      <a:lnTo>
                        <a:pt x="86" y="125"/>
                      </a:lnTo>
                      <a:lnTo>
                        <a:pt x="88" y="125"/>
                      </a:lnTo>
                      <a:lnTo>
                        <a:pt x="90" y="125"/>
                      </a:lnTo>
                      <a:lnTo>
                        <a:pt x="92" y="125"/>
                      </a:lnTo>
                      <a:lnTo>
                        <a:pt x="98" y="124"/>
                      </a:lnTo>
                      <a:lnTo>
                        <a:pt x="103" y="123"/>
                      </a:lnTo>
                      <a:lnTo>
                        <a:pt x="104" y="120"/>
                      </a:lnTo>
                      <a:lnTo>
                        <a:pt x="103" y="118"/>
                      </a:lnTo>
                      <a:lnTo>
                        <a:pt x="101" y="113"/>
                      </a:lnTo>
                      <a:lnTo>
                        <a:pt x="102" y="108"/>
                      </a:lnTo>
                      <a:lnTo>
                        <a:pt x="104" y="107"/>
                      </a:lnTo>
                      <a:lnTo>
                        <a:pt x="106" y="107"/>
                      </a:lnTo>
                      <a:lnTo>
                        <a:pt x="108" y="107"/>
                      </a:lnTo>
                      <a:lnTo>
                        <a:pt x="109" y="106"/>
                      </a:lnTo>
                      <a:lnTo>
                        <a:pt x="114" y="97"/>
                      </a:lnTo>
                      <a:lnTo>
                        <a:pt x="112" y="96"/>
                      </a:lnTo>
                      <a:lnTo>
                        <a:pt x="108" y="93"/>
                      </a:lnTo>
                      <a:lnTo>
                        <a:pt x="103" y="88"/>
                      </a:lnTo>
                      <a:lnTo>
                        <a:pt x="101" y="85"/>
                      </a:lnTo>
                      <a:lnTo>
                        <a:pt x="98" y="82"/>
                      </a:lnTo>
                      <a:lnTo>
                        <a:pt x="98" y="76"/>
                      </a:lnTo>
                      <a:lnTo>
                        <a:pt x="99" y="70"/>
                      </a:lnTo>
                      <a:lnTo>
                        <a:pt x="103" y="64"/>
                      </a:lnTo>
                      <a:lnTo>
                        <a:pt x="102" y="61"/>
                      </a:lnTo>
                      <a:lnTo>
                        <a:pt x="99" y="59"/>
                      </a:lnTo>
                      <a:lnTo>
                        <a:pt x="98" y="56"/>
                      </a:lnTo>
                      <a:lnTo>
                        <a:pt x="98" y="54"/>
                      </a:lnTo>
                      <a:lnTo>
                        <a:pt x="102" y="54"/>
                      </a:lnTo>
                      <a:lnTo>
                        <a:pt x="106" y="53"/>
                      </a:lnTo>
                      <a:lnTo>
                        <a:pt x="103" y="50"/>
                      </a:lnTo>
                      <a:lnTo>
                        <a:pt x="101" y="49"/>
                      </a:lnTo>
                      <a:lnTo>
                        <a:pt x="97" y="48"/>
                      </a:lnTo>
                      <a:lnTo>
                        <a:pt x="94" y="49"/>
                      </a:lnTo>
                      <a:lnTo>
                        <a:pt x="93" y="50"/>
                      </a:lnTo>
                      <a:lnTo>
                        <a:pt x="92" y="53"/>
                      </a:lnTo>
                      <a:lnTo>
                        <a:pt x="91" y="54"/>
                      </a:lnTo>
                      <a:lnTo>
                        <a:pt x="90" y="55"/>
                      </a:lnTo>
                      <a:lnTo>
                        <a:pt x="88" y="54"/>
                      </a:lnTo>
                      <a:lnTo>
                        <a:pt x="87" y="53"/>
                      </a:lnTo>
                      <a:lnTo>
                        <a:pt x="83" y="50"/>
                      </a:lnTo>
                      <a:lnTo>
                        <a:pt x="72" y="45"/>
                      </a:lnTo>
                      <a:lnTo>
                        <a:pt x="71" y="45"/>
                      </a:lnTo>
                      <a:lnTo>
                        <a:pt x="71" y="44"/>
                      </a:lnTo>
                      <a:lnTo>
                        <a:pt x="70" y="44"/>
                      </a:lnTo>
                      <a:lnTo>
                        <a:pt x="69" y="44"/>
                      </a:lnTo>
                      <a:lnTo>
                        <a:pt x="71" y="43"/>
                      </a:lnTo>
                      <a:lnTo>
                        <a:pt x="71" y="40"/>
                      </a:lnTo>
                      <a:lnTo>
                        <a:pt x="71" y="39"/>
                      </a:lnTo>
                      <a:lnTo>
                        <a:pt x="69" y="38"/>
                      </a:lnTo>
                      <a:lnTo>
                        <a:pt x="71" y="35"/>
                      </a:lnTo>
                      <a:lnTo>
                        <a:pt x="71" y="33"/>
                      </a:lnTo>
                      <a:lnTo>
                        <a:pt x="69" y="32"/>
                      </a:lnTo>
                      <a:lnTo>
                        <a:pt x="65" y="31"/>
                      </a:lnTo>
                      <a:lnTo>
                        <a:pt x="58" y="27"/>
                      </a:lnTo>
                      <a:lnTo>
                        <a:pt x="50" y="22"/>
                      </a:lnTo>
                      <a:lnTo>
                        <a:pt x="51" y="18"/>
                      </a:lnTo>
                      <a:lnTo>
                        <a:pt x="51" y="16"/>
                      </a:lnTo>
                      <a:lnTo>
                        <a:pt x="49" y="12"/>
                      </a:lnTo>
                      <a:lnTo>
                        <a:pt x="46" y="10"/>
                      </a:lnTo>
                      <a:lnTo>
                        <a:pt x="44" y="5"/>
                      </a:lnTo>
                      <a:lnTo>
                        <a:pt x="40" y="1"/>
                      </a:lnTo>
                      <a:lnTo>
                        <a:pt x="35" y="0"/>
                      </a:lnTo>
                      <a:lnTo>
                        <a:pt x="28" y="0"/>
                      </a:lnTo>
                      <a:lnTo>
                        <a:pt x="23" y="0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1" name="Freeform 207">
                  <a:extLst>
                    <a:ext uri="{FF2B5EF4-FFF2-40B4-BE49-F238E27FC236}">
                      <a16:creationId xmlns:a16="http://schemas.microsoft.com/office/drawing/2014/main" id="{D91FBC2F-AC01-41DC-8865-EBF7C3C17C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9219" y="5943663"/>
                  <a:ext cx="129834" cy="82216"/>
                </a:xfrm>
                <a:custGeom>
                  <a:avLst/>
                  <a:gdLst>
                    <a:gd name="T0" fmla="*/ 4 w 117"/>
                    <a:gd name="T1" fmla="*/ 48 h 63"/>
                    <a:gd name="T2" fmla="*/ 4 w 117"/>
                    <a:gd name="T3" fmla="*/ 44 h 63"/>
                    <a:gd name="T4" fmla="*/ 5 w 117"/>
                    <a:gd name="T5" fmla="*/ 39 h 63"/>
                    <a:gd name="T6" fmla="*/ 10 w 117"/>
                    <a:gd name="T7" fmla="*/ 36 h 63"/>
                    <a:gd name="T8" fmla="*/ 14 w 117"/>
                    <a:gd name="T9" fmla="*/ 28 h 63"/>
                    <a:gd name="T10" fmla="*/ 20 w 117"/>
                    <a:gd name="T11" fmla="*/ 23 h 63"/>
                    <a:gd name="T12" fmla="*/ 30 w 117"/>
                    <a:gd name="T13" fmla="*/ 14 h 63"/>
                    <a:gd name="T14" fmla="*/ 26 w 117"/>
                    <a:gd name="T15" fmla="*/ 10 h 63"/>
                    <a:gd name="T16" fmla="*/ 30 w 117"/>
                    <a:gd name="T17" fmla="*/ 9 h 63"/>
                    <a:gd name="T18" fmla="*/ 36 w 117"/>
                    <a:gd name="T19" fmla="*/ 11 h 63"/>
                    <a:gd name="T20" fmla="*/ 42 w 117"/>
                    <a:gd name="T21" fmla="*/ 8 h 63"/>
                    <a:gd name="T22" fmla="*/ 45 w 117"/>
                    <a:gd name="T23" fmla="*/ 6 h 63"/>
                    <a:gd name="T24" fmla="*/ 50 w 117"/>
                    <a:gd name="T25" fmla="*/ 8 h 63"/>
                    <a:gd name="T26" fmla="*/ 60 w 117"/>
                    <a:gd name="T27" fmla="*/ 6 h 63"/>
                    <a:gd name="T28" fmla="*/ 69 w 117"/>
                    <a:gd name="T29" fmla="*/ 4 h 63"/>
                    <a:gd name="T30" fmla="*/ 66 w 117"/>
                    <a:gd name="T31" fmla="*/ 4 h 63"/>
                    <a:gd name="T32" fmla="*/ 68 w 117"/>
                    <a:gd name="T33" fmla="*/ 0 h 63"/>
                    <a:gd name="T34" fmla="*/ 73 w 117"/>
                    <a:gd name="T35" fmla="*/ 1 h 63"/>
                    <a:gd name="T36" fmla="*/ 80 w 117"/>
                    <a:gd name="T37" fmla="*/ 3 h 63"/>
                    <a:gd name="T38" fmla="*/ 89 w 117"/>
                    <a:gd name="T39" fmla="*/ 5 h 63"/>
                    <a:gd name="T40" fmla="*/ 96 w 117"/>
                    <a:gd name="T41" fmla="*/ 12 h 63"/>
                    <a:gd name="T42" fmla="*/ 93 w 117"/>
                    <a:gd name="T43" fmla="*/ 20 h 63"/>
                    <a:gd name="T44" fmla="*/ 98 w 117"/>
                    <a:gd name="T45" fmla="*/ 23 h 63"/>
                    <a:gd name="T46" fmla="*/ 104 w 117"/>
                    <a:gd name="T47" fmla="*/ 28 h 63"/>
                    <a:gd name="T48" fmla="*/ 110 w 117"/>
                    <a:gd name="T49" fmla="*/ 30 h 63"/>
                    <a:gd name="T50" fmla="*/ 114 w 117"/>
                    <a:gd name="T51" fmla="*/ 26 h 63"/>
                    <a:gd name="T52" fmla="*/ 117 w 117"/>
                    <a:gd name="T53" fmla="*/ 27 h 63"/>
                    <a:gd name="T54" fmla="*/ 116 w 117"/>
                    <a:gd name="T55" fmla="*/ 33 h 63"/>
                    <a:gd name="T56" fmla="*/ 117 w 117"/>
                    <a:gd name="T57" fmla="*/ 37 h 63"/>
                    <a:gd name="T58" fmla="*/ 116 w 117"/>
                    <a:gd name="T59" fmla="*/ 39 h 63"/>
                    <a:gd name="T60" fmla="*/ 112 w 117"/>
                    <a:gd name="T61" fmla="*/ 38 h 63"/>
                    <a:gd name="T62" fmla="*/ 109 w 117"/>
                    <a:gd name="T63" fmla="*/ 37 h 63"/>
                    <a:gd name="T64" fmla="*/ 107 w 117"/>
                    <a:gd name="T65" fmla="*/ 41 h 63"/>
                    <a:gd name="T66" fmla="*/ 107 w 117"/>
                    <a:gd name="T67" fmla="*/ 44 h 63"/>
                    <a:gd name="T68" fmla="*/ 110 w 117"/>
                    <a:gd name="T69" fmla="*/ 47 h 63"/>
                    <a:gd name="T70" fmla="*/ 106 w 117"/>
                    <a:gd name="T71" fmla="*/ 49 h 63"/>
                    <a:gd name="T72" fmla="*/ 103 w 117"/>
                    <a:gd name="T73" fmla="*/ 46 h 63"/>
                    <a:gd name="T74" fmla="*/ 98 w 117"/>
                    <a:gd name="T75" fmla="*/ 47 h 63"/>
                    <a:gd name="T76" fmla="*/ 94 w 117"/>
                    <a:gd name="T77" fmla="*/ 46 h 63"/>
                    <a:gd name="T78" fmla="*/ 90 w 117"/>
                    <a:gd name="T79" fmla="*/ 43 h 63"/>
                    <a:gd name="T80" fmla="*/ 88 w 117"/>
                    <a:gd name="T81" fmla="*/ 41 h 63"/>
                    <a:gd name="T82" fmla="*/ 87 w 117"/>
                    <a:gd name="T83" fmla="*/ 46 h 63"/>
                    <a:gd name="T84" fmla="*/ 84 w 117"/>
                    <a:gd name="T85" fmla="*/ 51 h 63"/>
                    <a:gd name="T86" fmla="*/ 80 w 117"/>
                    <a:gd name="T87" fmla="*/ 57 h 63"/>
                    <a:gd name="T88" fmla="*/ 79 w 117"/>
                    <a:gd name="T89" fmla="*/ 63 h 63"/>
                    <a:gd name="T90" fmla="*/ 77 w 117"/>
                    <a:gd name="T91" fmla="*/ 62 h 63"/>
                    <a:gd name="T92" fmla="*/ 72 w 117"/>
                    <a:gd name="T93" fmla="*/ 55 h 63"/>
                    <a:gd name="T94" fmla="*/ 67 w 117"/>
                    <a:gd name="T95" fmla="*/ 51 h 63"/>
                    <a:gd name="T96" fmla="*/ 66 w 117"/>
                    <a:gd name="T97" fmla="*/ 46 h 63"/>
                    <a:gd name="T98" fmla="*/ 61 w 117"/>
                    <a:gd name="T99" fmla="*/ 47 h 63"/>
                    <a:gd name="T100" fmla="*/ 57 w 117"/>
                    <a:gd name="T101" fmla="*/ 52 h 63"/>
                    <a:gd name="T102" fmla="*/ 51 w 117"/>
                    <a:gd name="T103" fmla="*/ 58 h 63"/>
                    <a:gd name="T104" fmla="*/ 42 w 117"/>
                    <a:gd name="T105" fmla="*/ 59 h 63"/>
                    <a:gd name="T106" fmla="*/ 31 w 117"/>
                    <a:gd name="T107" fmla="*/ 60 h 63"/>
                    <a:gd name="T108" fmla="*/ 24 w 117"/>
                    <a:gd name="T109" fmla="*/ 54 h 63"/>
                    <a:gd name="T110" fmla="*/ 23 w 117"/>
                    <a:gd name="T111" fmla="*/ 49 h 63"/>
                    <a:gd name="T112" fmla="*/ 21 w 117"/>
                    <a:gd name="T113" fmla="*/ 44 h 63"/>
                    <a:gd name="T114" fmla="*/ 12 w 117"/>
                    <a:gd name="T115" fmla="*/ 46 h 63"/>
                    <a:gd name="T116" fmla="*/ 5 w 117"/>
                    <a:gd name="T117" fmla="*/ 52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17" h="63">
                      <a:moveTo>
                        <a:pt x="0" y="53"/>
                      </a:moveTo>
                      <a:lnTo>
                        <a:pt x="4" y="48"/>
                      </a:lnTo>
                      <a:lnTo>
                        <a:pt x="4" y="47"/>
                      </a:lnTo>
                      <a:lnTo>
                        <a:pt x="4" y="44"/>
                      </a:lnTo>
                      <a:lnTo>
                        <a:pt x="4" y="42"/>
                      </a:lnTo>
                      <a:lnTo>
                        <a:pt x="5" y="39"/>
                      </a:lnTo>
                      <a:lnTo>
                        <a:pt x="8" y="37"/>
                      </a:lnTo>
                      <a:lnTo>
                        <a:pt x="10" y="36"/>
                      </a:lnTo>
                      <a:lnTo>
                        <a:pt x="12" y="35"/>
                      </a:lnTo>
                      <a:lnTo>
                        <a:pt x="14" y="28"/>
                      </a:lnTo>
                      <a:lnTo>
                        <a:pt x="16" y="26"/>
                      </a:lnTo>
                      <a:lnTo>
                        <a:pt x="20" y="23"/>
                      </a:lnTo>
                      <a:lnTo>
                        <a:pt x="25" y="20"/>
                      </a:lnTo>
                      <a:lnTo>
                        <a:pt x="30" y="14"/>
                      </a:lnTo>
                      <a:lnTo>
                        <a:pt x="26" y="14"/>
                      </a:lnTo>
                      <a:lnTo>
                        <a:pt x="26" y="10"/>
                      </a:lnTo>
                      <a:lnTo>
                        <a:pt x="29" y="9"/>
                      </a:lnTo>
                      <a:lnTo>
                        <a:pt x="30" y="9"/>
                      </a:lnTo>
                      <a:lnTo>
                        <a:pt x="32" y="10"/>
                      </a:lnTo>
                      <a:lnTo>
                        <a:pt x="36" y="11"/>
                      </a:lnTo>
                      <a:lnTo>
                        <a:pt x="39" y="10"/>
                      </a:lnTo>
                      <a:lnTo>
                        <a:pt x="42" y="8"/>
                      </a:lnTo>
                      <a:lnTo>
                        <a:pt x="45" y="6"/>
                      </a:lnTo>
                      <a:lnTo>
                        <a:pt x="45" y="6"/>
                      </a:lnTo>
                      <a:lnTo>
                        <a:pt x="46" y="8"/>
                      </a:lnTo>
                      <a:lnTo>
                        <a:pt x="50" y="8"/>
                      </a:lnTo>
                      <a:lnTo>
                        <a:pt x="56" y="8"/>
                      </a:lnTo>
                      <a:lnTo>
                        <a:pt x="60" y="6"/>
                      </a:lnTo>
                      <a:lnTo>
                        <a:pt x="66" y="6"/>
                      </a:lnTo>
                      <a:lnTo>
                        <a:pt x="69" y="4"/>
                      </a:lnTo>
                      <a:lnTo>
                        <a:pt x="67" y="4"/>
                      </a:lnTo>
                      <a:lnTo>
                        <a:pt x="66" y="4"/>
                      </a:lnTo>
                      <a:lnTo>
                        <a:pt x="66" y="1"/>
                      </a:lnTo>
                      <a:lnTo>
                        <a:pt x="68" y="0"/>
                      </a:lnTo>
                      <a:lnTo>
                        <a:pt x="69" y="1"/>
                      </a:lnTo>
                      <a:lnTo>
                        <a:pt x="73" y="1"/>
                      </a:lnTo>
                      <a:lnTo>
                        <a:pt x="78" y="3"/>
                      </a:lnTo>
                      <a:lnTo>
                        <a:pt x="80" y="3"/>
                      </a:lnTo>
                      <a:lnTo>
                        <a:pt x="82" y="4"/>
                      </a:lnTo>
                      <a:lnTo>
                        <a:pt x="89" y="5"/>
                      </a:lnTo>
                      <a:lnTo>
                        <a:pt x="95" y="9"/>
                      </a:lnTo>
                      <a:lnTo>
                        <a:pt x="96" y="12"/>
                      </a:lnTo>
                      <a:lnTo>
                        <a:pt x="95" y="16"/>
                      </a:lnTo>
                      <a:lnTo>
                        <a:pt x="93" y="20"/>
                      </a:lnTo>
                      <a:lnTo>
                        <a:pt x="91" y="23"/>
                      </a:lnTo>
                      <a:lnTo>
                        <a:pt x="98" y="23"/>
                      </a:lnTo>
                      <a:lnTo>
                        <a:pt x="100" y="26"/>
                      </a:lnTo>
                      <a:lnTo>
                        <a:pt x="104" y="28"/>
                      </a:lnTo>
                      <a:lnTo>
                        <a:pt x="109" y="30"/>
                      </a:lnTo>
                      <a:lnTo>
                        <a:pt x="110" y="30"/>
                      </a:lnTo>
                      <a:lnTo>
                        <a:pt x="112" y="28"/>
                      </a:lnTo>
                      <a:lnTo>
                        <a:pt x="114" y="26"/>
                      </a:lnTo>
                      <a:lnTo>
                        <a:pt x="116" y="26"/>
                      </a:lnTo>
                      <a:lnTo>
                        <a:pt x="117" y="27"/>
                      </a:lnTo>
                      <a:lnTo>
                        <a:pt x="117" y="30"/>
                      </a:lnTo>
                      <a:lnTo>
                        <a:pt x="116" y="33"/>
                      </a:lnTo>
                      <a:lnTo>
                        <a:pt x="116" y="36"/>
                      </a:lnTo>
                      <a:lnTo>
                        <a:pt x="117" y="37"/>
                      </a:lnTo>
                      <a:lnTo>
                        <a:pt x="117" y="39"/>
                      </a:lnTo>
                      <a:lnTo>
                        <a:pt x="116" y="39"/>
                      </a:lnTo>
                      <a:lnTo>
                        <a:pt x="114" y="39"/>
                      </a:lnTo>
                      <a:lnTo>
                        <a:pt x="112" y="38"/>
                      </a:lnTo>
                      <a:lnTo>
                        <a:pt x="111" y="37"/>
                      </a:lnTo>
                      <a:lnTo>
                        <a:pt x="109" y="37"/>
                      </a:lnTo>
                      <a:lnTo>
                        <a:pt x="109" y="38"/>
                      </a:lnTo>
                      <a:lnTo>
                        <a:pt x="107" y="41"/>
                      </a:lnTo>
                      <a:lnTo>
                        <a:pt x="106" y="43"/>
                      </a:lnTo>
                      <a:lnTo>
                        <a:pt x="107" y="44"/>
                      </a:lnTo>
                      <a:lnTo>
                        <a:pt x="109" y="46"/>
                      </a:lnTo>
                      <a:lnTo>
                        <a:pt x="110" y="47"/>
                      </a:lnTo>
                      <a:lnTo>
                        <a:pt x="109" y="51"/>
                      </a:lnTo>
                      <a:lnTo>
                        <a:pt x="106" y="49"/>
                      </a:lnTo>
                      <a:lnTo>
                        <a:pt x="104" y="47"/>
                      </a:lnTo>
                      <a:lnTo>
                        <a:pt x="103" y="46"/>
                      </a:lnTo>
                      <a:lnTo>
                        <a:pt x="100" y="46"/>
                      </a:lnTo>
                      <a:lnTo>
                        <a:pt x="98" y="47"/>
                      </a:lnTo>
                      <a:lnTo>
                        <a:pt x="95" y="47"/>
                      </a:lnTo>
                      <a:lnTo>
                        <a:pt x="94" y="46"/>
                      </a:lnTo>
                      <a:lnTo>
                        <a:pt x="91" y="44"/>
                      </a:lnTo>
                      <a:lnTo>
                        <a:pt x="90" y="43"/>
                      </a:lnTo>
                      <a:lnTo>
                        <a:pt x="89" y="42"/>
                      </a:lnTo>
                      <a:lnTo>
                        <a:pt x="88" y="41"/>
                      </a:lnTo>
                      <a:lnTo>
                        <a:pt x="87" y="43"/>
                      </a:lnTo>
                      <a:lnTo>
                        <a:pt x="87" y="46"/>
                      </a:lnTo>
                      <a:lnTo>
                        <a:pt x="85" y="48"/>
                      </a:lnTo>
                      <a:lnTo>
                        <a:pt x="84" y="51"/>
                      </a:lnTo>
                      <a:lnTo>
                        <a:pt x="83" y="53"/>
                      </a:lnTo>
                      <a:lnTo>
                        <a:pt x="80" y="57"/>
                      </a:lnTo>
                      <a:lnTo>
                        <a:pt x="79" y="62"/>
                      </a:lnTo>
                      <a:lnTo>
                        <a:pt x="79" y="63"/>
                      </a:lnTo>
                      <a:lnTo>
                        <a:pt x="78" y="63"/>
                      </a:lnTo>
                      <a:lnTo>
                        <a:pt x="77" y="62"/>
                      </a:lnTo>
                      <a:lnTo>
                        <a:pt x="74" y="58"/>
                      </a:lnTo>
                      <a:lnTo>
                        <a:pt x="72" y="55"/>
                      </a:lnTo>
                      <a:lnTo>
                        <a:pt x="69" y="53"/>
                      </a:lnTo>
                      <a:lnTo>
                        <a:pt x="67" y="51"/>
                      </a:lnTo>
                      <a:lnTo>
                        <a:pt x="66" y="48"/>
                      </a:lnTo>
                      <a:lnTo>
                        <a:pt x="66" y="46"/>
                      </a:lnTo>
                      <a:lnTo>
                        <a:pt x="63" y="43"/>
                      </a:lnTo>
                      <a:lnTo>
                        <a:pt x="61" y="47"/>
                      </a:lnTo>
                      <a:lnTo>
                        <a:pt x="56" y="49"/>
                      </a:lnTo>
                      <a:lnTo>
                        <a:pt x="57" y="52"/>
                      </a:lnTo>
                      <a:lnTo>
                        <a:pt x="55" y="55"/>
                      </a:lnTo>
                      <a:lnTo>
                        <a:pt x="51" y="58"/>
                      </a:lnTo>
                      <a:lnTo>
                        <a:pt x="47" y="59"/>
                      </a:lnTo>
                      <a:lnTo>
                        <a:pt x="42" y="59"/>
                      </a:lnTo>
                      <a:lnTo>
                        <a:pt x="36" y="60"/>
                      </a:lnTo>
                      <a:lnTo>
                        <a:pt x="31" y="60"/>
                      </a:lnTo>
                      <a:lnTo>
                        <a:pt x="26" y="57"/>
                      </a:lnTo>
                      <a:lnTo>
                        <a:pt x="24" y="54"/>
                      </a:lnTo>
                      <a:lnTo>
                        <a:pt x="23" y="52"/>
                      </a:lnTo>
                      <a:lnTo>
                        <a:pt x="23" y="49"/>
                      </a:lnTo>
                      <a:lnTo>
                        <a:pt x="23" y="46"/>
                      </a:lnTo>
                      <a:lnTo>
                        <a:pt x="21" y="44"/>
                      </a:lnTo>
                      <a:lnTo>
                        <a:pt x="15" y="43"/>
                      </a:lnTo>
                      <a:lnTo>
                        <a:pt x="12" y="46"/>
                      </a:lnTo>
                      <a:lnTo>
                        <a:pt x="9" y="48"/>
                      </a:lnTo>
                      <a:lnTo>
                        <a:pt x="5" y="52"/>
                      </a:lnTo>
                      <a:lnTo>
                        <a:pt x="0" y="53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2" name="Freeform 209">
                  <a:extLst>
                    <a:ext uri="{FF2B5EF4-FFF2-40B4-BE49-F238E27FC236}">
                      <a16:creationId xmlns:a16="http://schemas.microsoft.com/office/drawing/2014/main" id="{401DE0FC-7540-44BB-8D6A-5F4E8F8F96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9014" y="6174393"/>
                  <a:ext cx="73871" cy="66303"/>
                </a:xfrm>
                <a:custGeom>
                  <a:avLst/>
                  <a:gdLst>
                    <a:gd name="T0" fmla="*/ 0 w 67"/>
                    <a:gd name="T1" fmla="*/ 26 h 49"/>
                    <a:gd name="T2" fmla="*/ 1 w 67"/>
                    <a:gd name="T3" fmla="*/ 26 h 49"/>
                    <a:gd name="T4" fmla="*/ 1 w 67"/>
                    <a:gd name="T5" fmla="*/ 25 h 49"/>
                    <a:gd name="T6" fmla="*/ 1 w 67"/>
                    <a:gd name="T7" fmla="*/ 21 h 49"/>
                    <a:gd name="T8" fmla="*/ 1 w 67"/>
                    <a:gd name="T9" fmla="*/ 18 h 49"/>
                    <a:gd name="T10" fmla="*/ 4 w 67"/>
                    <a:gd name="T11" fmla="*/ 17 h 49"/>
                    <a:gd name="T12" fmla="*/ 5 w 67"/>
                    <a:gd name="T13" fmla="*/ 15 h 49"/>
                    <a:gd name="T14" fmla="*/ 6 w 67"/>
                    <a:gd name="T15" fmla="*/ 13 h 49"/>
                    <a:gd name="T16" fmla="*/ 9 w 67"/>
                    <a:gd name="T17" fmla="*/ 10 h 49"/>
                    <a:gd name="T18" fmla="*/ 12 w 67"/>
                    <a:gd name="T19" fmla="*/ 7 h 49"/>
                    <a:gd name="T20" fmla="*/ 16 w 67"/>
                    <a:gd name="T21" fmla="*/ 6 h 49"/>
                    <a:gd name="T22" fmla="*/ 17 w 67"/>
                    <a:gd name="T23" fmla="*/ 6 h 49"/>
                    <a:gd name="T24" fmla="*/ 20 w 67"/>
                    <a:gd name="T25" fmla="*/ 7 h 49"/>
                    <a:gd name="T26" fmla="*/ 22 w 67"/>
                    <a:gd name="T27" fmla="*/ 9 h 49"/>
                    <a:gd name="T28" fmla="*/ 22 w 67"/>
                    <a:gd name="T29" fmla="*/ 6 h 49"/>
                    <a:gd name="T30" fmla="*/ 24 w 67"/>
                    <a:gd name="T31" fmla="*/ 5 h 49"/>
                    <a:gd name="T32" fmla="*/ 25 w 67"/>
                    <a:gd name="T33" fmla="*/ 5 h 49"/>
                    <a:gd name="T34" fmla="*/ 26 w 67"/>
                    <a:gd name="T35" fmla="*/ 4 h 49"/>
                    <a:gd name="T36" fmla="*/ 30 w 67"/>
                    <a:gd name="T37" fmla="*/ 4 h 49"/>
                    <a:gd name="T38" fmla="*/ 32 w 67"/>
                    <a:gd name="T39" fmla="*/ 4 h 49"/>
                    <a:gd name="T40" fmla="*/ 35 w 67"/>
                    <a:gd name="T41" fmla="*/ 1 h 49"/>
                    <a:gd name="T42" fmla="*/ 41 w 67"/>
                    <a:gd name="T43" fmla="*/ 1 h 49"/>
                    <a:gd name="T44" fmla="*/ 43 w 67"/>
                    <a:gd name="T45" fmla="*/ 1 h 49"/>
                    <a:gd name="T46" fmla="*/ 46 w 67"/>
                    <a:gd name="T47" fmla="*/ 0 h 49"/>
                    <a:gd name="T48" fmla="*/ 48 w 67"/>
                    <a:gd name="T49" fmla="*/ 0 h 49"/>
                    <a:gd name="T50" fmla="*/ 51 w 67"/>
                    <a:gd name="T51" fmla="*/ 2 h 49"/>
                    <a:gd name="T52" fmla="*/ 52 w 67"/>
                    <a:gd name="T53" fmla="*/ 4 h 49"/>
                    <a:gd name="T54" fmla="*/ 53 w 67"/>
                    <a:gd name="T55" fmla="*/ 6 h 49"/>
                    <a:gd name="T56" fmla="*/ 58 w 67"/>
                    <a:gd name="T57" fmla="*/ 10 h 49"/>
                    <a:gd name="T58" fmla="*/ 62 w 67"/>
                    <a:gd name="T59" fmla="*/ 13 h 49"/>
                    <a:gd name="T60" fmla="*/ 64 w 67"/>
                    <a:gd name="T61" fmla="*/ 18 h 49"/>
                    <a:gd name="T62" fmla="*/ 65 w 67"/>
                    <a:gd name="T63" fmla="*/ 25 h 49"/>
                    <a:gd name="T64" fmla="*/ 67 w 67"/>
                    <a:gd name="T65" fmla="*/ 28 h 49"/>
                    <a:gd name="T66" fmla="*/ 65 w 67"/>
                    <a:gd name="T67" fmla="*/ 33 h 49"/>
                    <a:gd name="T68" fmla="*/ 64 w 67"/>
                    <a:gd name="T69" fmla="*/ 33 h 49"/>
                    <a:gd name="T70" fmla="*/ 63 w 67"/>
                    <a:gd name="T71" fmla="*/ 34 h 49"/>
                    <a:gd name="T72" fmla="*/ 63 w 67"/>
                    <a:gd name="T73" fmla="*/ 36 h 49"/>
                    <a:gd name="T74" fmla="*/ 62 w 67"/>
                    <a:gd name="T75" fmla="*/ 37 h 49"/>
                    <a:gd name="T76" fmla="*/ 59 w 67"/>
                    <a:gd name="T77" fmla="*/ 39 h 49"/>
                    <a:gd name="T78" fmla="*/ 56 w 67"/>
                    <a:gd name="T79" fmla="*/ 39 h 49"/>
                    <a:gd name="T80" fmla="*/ 53 w 67"/>
                    <a:gd name="T81" fmla="*/ 39 h 49"/>
                    <a:gd name="T82" fmla="*/ 46 w 67"/>
                    <a:gd name="T83" fmla="*/ 39 h 49"/>
                    <a:gd name="T84" fmla="*/ 41 w 67"/>
                    <a:gd name="T85" fmla="*/ 42 h 49"/>
                    <a:gd name="T86" fmla="*/ 35 w 67"/>
                    <a:gd name="T87" fmla="*/ 45 h 49"/>
                    <a:gd name="T88" fmla="*/ 30 w 67"/>
                    <a:gd name="T89" fmla="*/ 47 h 49"/>
                    <a:gd name="T90" fmla="*/ 19 w 67"/>
                    <a:gd name="T91" fmla="*/ 49 h 49"/>
                    <a:gd name="T92" fmla="*/ 16 w 67"/>
                    <a:gd name="T93" fmla="*/ 49 h 49"/>
                    <a:gd name="T94" fmla="*/ 15 w 67"/>
                    <a:gd name="T95" fmla="*/ 48 h 49"/>
                    <a:gd name="T96" fmla="*/ 14 w 67"/>
                    <a:gd name="T97" fmla="*/ 47 h 49"/>
                    <a:gd name="T98" fmla="*/ 11 w 67"/>
                    <a:gd name="T99" fmla="*/ 48 h 49"/>
                    <a:gd name="T100" fmla="*/ 9 w 67"/>
                    <a:gd name="T101" fmla="*/ 48 h 49"/>
                    <a:gd name="T102" fmla="*/ 8 w 67"/>
                    <a:gd name="T103" fmla="*/ 47 h 49"/>
                    <a:gd name="T104" fmla="*/ 8 w 67"/>
                    <a:gd name="T105" fmla="*/ 44 h 49"/>
                    <a:gd name="T106" fmla="*/ 6 w 67"/>
                    <a:gd name="T107" fmla="*/ 42 h 49"/>
                    <a:gd name="T108" fmla="*/ 4 w 67"/>
                    <a:gd name="T109" fmla="*/ 39 h 49"/>
                    <a:gd name="T110" fmla="*/ 1 w 67"/>
                    <a:gd name="T111" fmla="*/ 34 h 49"/>
                    <a:gd name="T112" fmla="*/ 1 w 67"/>
                    <a:gd name="T113" fmla="*/ 31 h 49"/>
                    <a:gd name="T114" fmla="*/ 0 w 67"/>
                    <a:gd name="T115" fmla="*/ 26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67" h="49">
                      <a:moveTo>
                        <a:pt x="0" y="26"/>
                      </a:moveTo>
                      <a:lnTo>
                        <a:pt x="1" y="26"/>
                      </a:lnTo>
                      <a:lnTo>
                        <a:pt x="1" y="25"/>
                      </a:lnTo>
                      <a:lnTo>
                        <a:pt x="1" y="21"/>
                      </a:lnTo>
                      <a:lnTo>
                        <a:pt x="1" y="18"/>
                      </a:lnTo>
                      <a:lnTo>
                        <a:pt x="4" y="17"/>
                      </a:lnTo>
                      <a:lnTo>
                        <a:pt x="5" y="15"/>
                      </a:lnTo>
                      <a:lnTo>
                        <a:pt x="6" y="13"/>
                      </a:lnTo>
                      <a:lnTo>
                        <a:pt x="9" y="10"/>
                      </a:lnTo>
                      <a:lnTo>
                        <a:pt x="12" y="7"/>
                      </a:lnTo>
                      <a:lnTo>
                        <a:pt x="16" y="6"/>
                      </a:lnTo>
                      <a:lnTo>
                        <a:pt x="17" y="6"/>
                      </a:lnTo>
                      <a:lnTo>
                        <a:pt x="20" y="7"/>
                      </a:lnTo>
                      <a:lnTo>
                        <a:pt x="22" y="9"/>
                      </a:lnTo>
                      <a:lnTo>
                        <a:pt x="22" y="6"/>
                      </a:lnTo>
                      <a:lnTo>
                        <a:pt x="24" y="5"/>
                      </a:lnTo>
                      <a:lnTo>
                        <a:pt x="25" y="5"/>
                      </a:lnTo>
                      <a:lnTo>
                        <a:pt x="26" y="4"/>
                      </a:lnTo>
                      <a:lnTo>
                        <a:pt x="30" y="4"/>
                      </a:lnTo>
                      <a:lnTo>
                        <a:pt x="32" y="4"/>
                      </a:lnTo>
                      <a:lnTo>
                        <a:pt x="35" y="1"/>
                      </a:lnTo>
                      <a:lnTo>
                        <a:pt x="41" y="1"/>
                      </a:lnTo>
                      <a:lnTo>
                        <a:pt x="43" y="1"/>
                      </a:lnTo>
                      <a:lnTo>
                        <a:pt x="46" y="0"/>
                      </a:lnTo>
                      <a:lnTo>
                        <a:pt x="48" y="0"/>
                      </a:lnTo>
                      <a:lnTo>
                        <a:pt x="51" y="2"/>
                      </a:lnTo>
                      <a:lnTo>
                        <a:pt x="52" y="4"/>
                      </a:lnTo>
                      <a:lnTo>
                        <a:pt x="53" y="6"/>
                      </a:lnTo>
                      <a:lnTo>
                        <a:pt x="58" y="10"/>
                      </a:lnTo>
                      <a:lnTo>
                        <a:pt x="62" y="13"/>
                      </a:lnTo>
                      <a:lnTo>
                        <a:pt x="64" y="18"/>
                      </a:lnTo>
                      <a:lnTo>
                        <a:pt x="65" y="25"/>
                      </a:lnTo>
                      <a:lnTo>
                        <a:pt x="67" y="28"/>
                      </a:lnTo>
                      <a:lnTo>
                        <a:pt x="65" y="33"/>
                      </a:lnTo>
                      <a:lnTo>
                        <a:pt x="64" y="33"/>
                      </a:lnTo>
                      <a:lnTo>
                        <a:pt x="63" y="34"/>
                      </a:lnTo>
                      <a:lnTo>
                        <a:pt x="63" y="36"/>
                      </a:lnTo>
                      <a:lnTo>
                        <a:pt x="62" y="37"/>
                      </a:lnTo>
                      <a:lnTo>
                        <a:pt x="59" y="39"/>
                      </a:lnTo>
                      <a:lnTo>
                        <a:pt x="56" y="39"/>
                      </a:lnTo>
                      <a:lnTo>
                        <a:pt x="53" y="39"/>
                      </a:lnTo>
                      <a:lnTo>
                        <a:pt x="46" y="39"/>
                      </a:lnTo>
                      <a:lnTo>
                        <a:pt x="41" y="42"/>
                      </a:lnTo>
                      <a:lnTo>
                        <a:pt x="35" y="45"/>
                      </a:lnTo>
                      <a:lnTo>
                        <a:pt x="30" y="47"/>
                      </a:lnTo>
                      <a:lnTo>
                        <a:pt x="19" y="49"/>
                      </a:lnTo>
                      <a:lnTo>
                        <a:pt x="16" y="49"/>
                      </a:lnTo>
                      <a:lnTo>
                        <a:pt x="15" y="48"/>
                      </a:lnTo>
                      <a:lnTo>
                        <a:pt x="14" y="47"/>
                      </a:lnTo>
                      <a:lnTo>
                        <a:pt x="11" y="48"/>
                      </a:lnTo>
                      <a:lnTo>
                        <a:pt x="9" y="48"/>
                      </a:lnTo>
                      <a:lnTo>
                        <a:pt x="8" y="47"/>
                      </a:lnTo>
                      <a:lnTo>
                        <a:pt x="8" y="44"/>
                      </a:lnTo>
                      <a:lnTo>
                        <a:pt x="6" y="42"/>
                      </a:lnTo>
                      <a:lnTo>
                        <a:pt x="4" y="39"/>
                      </a:lnTo>
                      <a:lnTo>
                        <a:pt x="1" y="34"/>
                      </a:lnTo>
                      <a:lnTo>
                        <a:pt x="1" y="31"/>
                      </a:lnTo>
                      <a:lnTo>
                        <a:pt x="0" y="26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3" name="Freeform 214">
                  <a:extLst>
                    <a:ext uri="{FF2B5EF4-FFF2-40B4-BE49-F238E27FC236}">
                      <a16:creationId xmlns:a16="http://schemas.microsoft.com/office/drawing/2014/main" id="{511F070F-3AA5-440D-ACA7-5615782A72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49101" y="6566900"/>
                  <a:ext cx="125356" cy="182994"/>
                </a:xfrm>
                <a:custGeom>
                  <a:avLst/>
                  <a:gdLst>
                    <a:gd name="T0" fmla="*/ 0 w 113"/>
                    <a:gd name="T1" fmla="*/ 125 h 138"/>
                    <a:gd name="T2" fmla="*/ 2 w 113"/>
                    <a:gd name="T3" fmla="*/ 112 h 138"/>
                    <a:gd name="T4" fmla="*/ 3 w 113"/>
                    <a:gd name="T5" fmla="*/ 98 h 138"/>
                    <a:gd name="T6" fmla="*/ 7 w 113"/>
                    <a:gd name="T7" fmla="*/ 84 h 138"/>
                    <a:gd name="T8" fmla="*/ 10 w 113"/>
                    <a:gd name="T9" fmla="*/ 70 h 138"/>
                    <a:gd name="T10" fmla="*/ 10 w 113"/>
                    <a:gd name="T11" fmla="*/ 59 h 138"/>
                    <a:gd name="T12" fmla="*/ 11 w 113"/>
                    <a:gd name="T13" fmla="*/ 39 h 138"/>
                    <a:gd name="T14" fmla="*/ 11 w 113"/>
                    <a:gd name="T15" fmla="*/ 22 h 138"/>
                    <a:gd name="T16" fmla="*/ 18 w 113"/>
                    <a:gd name="T17" fmla="*/ 22 h 138"/>
                    <a:gd name="T18" fmla="*/ 32 w 113"/>
                    <a:gd name="T19" fmla="*/ 32 h 138"/>
                    <a:gd name="T20" fmla="*/ 43 w 113"/>
                    <a:gd name="T21" fmla="*/ 33 h 138"/>
                    <a:gd name="T22" fmla="*/ 56 w 113"/>
                    <a:gd name="T23" fmla="*/ 27 h 138"/>
                    <a:gd name="T24" fmla="*/ 67 w 113"/>
                    <a:gd name="T25" fmla="*/ 18 h 138"/>
                    <a:gd name="T26" fmla="*/ 97 w 113"/>
                    <a:gd name="T27" fmla="*/ 0 h 138"/>
                    <a:gd name="T28" fmla="*/ 107 w 113"/>
                    <a:gd name="T29" fmla="*/ 28 h 138"/>
                    <a:gd name="T30" fmla="*/ 106 w 113"/>
                    <a:gd name="T31" fmla="*/ 32 h 138"/>
                    <a:gd name="T32" fmla="*/ 108 w 113"/>
                    <a:gd name="T33" fmla="*/ 34 h 138"/>
                    <a:gd name="T34" fmla="*/ 113 w 113"/>
                    <a:gd name="T35" fmla="*/ 36 h 138"/>
                    <a:gd name="T36" fmla="*/ 110 w 113"/>
                    <a:gd name="T37" fmla="*/ 41 h 138"/>
                    <a:gd name="T38" fmla="*/ 83 w 113"/>
                    <a:gd name="T39" fmla="*/ 54 h 138"/>
                    <a:gd name="T40" fmla="*/ 54 w 113"/>
                    <a:gd name="T41" fmla="*/ 63 h 138"/>
                    <a:gd name="T42" fmla="*/ 82 w 113"/>
                    <a:gd name="T43" fmla="*/ 96 h 138"/>
                    <a:gd name="T44" fmla="*/ 76 w 113"/>
                    <a:gd name="T45" fmla="*/ 97 h 138"/>
                    <a:gd name="T46" fmla="*/ 72 w 113"/>
                    <a:gd name="T47" fmla="*/ 102 h 138"/>
                    <a:gd name="T48" fmla="*/ 72 w 113"/>
                    <a:gd name="T49" fmla="*/ 108 h 138"/>
                    <a:gd name="T50" fmla="*/ 66 w 113"/>
                    <a:gd name="T51" fmla="*/ 113 h 138"/>
                    <a:gd name="T52" fmla="*/ 55 w 113"/>
                    <a:gd name="T53" fmla="*/ 114 h 138"/>
                    <a:gd name="T54" fmla="*/ 46 w 113"/>
                    <a:gd name="T55" fmla="*/ 122 h 138"/>
                    <a:gd name="T56" fmla="*/ 39 w 113"/>
                    <a:gd name="T57" fmla="*/ 133 h 138"/>
                    <a:gd name="T58" fmla="*/ 27 w 113"/>
                    <a:gd name="T59" fmla="*/ 138 h 138"/>
                    <a:gd name="T60" fmla="*/ 7 w 113"/>
                    <a:gd name="T61" fmla="*/ 134 h 138"/>
                    <a:gd name="T62" fmla="*/ 0 w 113"/>
                    <a:gd name="T63" fmla="*/ 133 h 1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113" h="138">
                      <a:moveTo>
                        <a:pt x="0" y="133"/>
                      </a:moveTo>
                      <a:lnTo>
                        <a:pt x="0" y="125"/>
                      </a:lnTo>
                      <a:lnTo>
                        <a:pt x="1" y="119"/>
                      </a:lnTo>
                      <a:lnTo>
                        <a:pt x="2" y="112"/>
                      </a:lnTo>
                      <a:lnTo>
                        <a:pt x="3" y="106"/>
                      </a:lnTo>
                      <a:lnTo>
                        <a:pt x="3" y="98"/>
                      </a:lnTo>
                      <a:lnTo>
                        <a:pt x="6" y="91"/>
                      </a:lnTo>
                      <a:lnTo>
                        <a:pt x="7" y="84"/>
                      </a:lnTo>
                      <a:lnTo>
                        <a:pt x="10" y="77"/>
                      </a:lnTo>
                      <a:lnTo>
                        <a:pt x="10" y="70"/>
                      </a:lnTo>
                      <a:lnTo>
                        <a:pt x="8" y="64"/>
                      </a:lnTo>
                      <a:lnTo>
                        <a:pt x="10" y="59"/>
                      </a:lnTo>
                      <a:lnTo>
                        <a:pt x="11" y="53"/>
                      </a:lnTo>
                      <a:lnTo>
                        <a:pt x="11" y="39"/>
                      </a:lnTo>
                      <a:lnTo>
                        <a:pt x="10" y="26"/>
                      </a:lnTo>
                      <a:lnTo>
                        <a:pt x="11" y="22"/>
                      </a:lnTo>
                      <a:lnTo>
                        <a:pt x="15" y="22"/>
                      </a:lnTo>
                      <a:lnTo>
                        <a:pt x="18" y="22"/>
                      </a:lnTo>
                      <a:lnTo>
                        <a:pt x="22" y="25"/>
                      </a:lnTo>
                      <a:lnTo>
                        <a:pt x="32" y="32"/>
                      </a:lnTo>
                      <a:lnTo>
                        <a:pt x="37" y="33"/>
                      </a:lnTo>
                      <a:lnTo>
                        <a:pt x="43" y="33"/>
                      </a:lnTo>
                      <a:lnTo>
                        <a:pt x="50" y="32"/>
                      </a:lnTo>
                      <a:lnTo>
                        <a:pt x="56" y="27"/>
                      </a:lnTo>
                      <a:lnTo>
                        <a:pt x="62" y="23"/>
                      </a:lnTo>
                      <a:lnTo>
                        <a:pt x="67" y="18"/>
                      </a:lnTo>
                      <a:lnTo>
                        <a:pt x="82" y="9"/>
                      </a:lnTo>
                      <a:lnTo>
                        <a:pt x="97" y="0"/>
                      </a:lnTo>
                      <a:lnTo>
                        <a:pt x="102" y="15"/>
                      </a:lnTo>
                      <a:lnTo>
                        <a:pt x="107" y="28"/>
                      </a:lnTo>
                      <a:lnTo>
                        <a:pt x="106" y="29"/>
                      </a:lnTo>
                      <a:lnTo>
                        <a:pt x="106" y="32"/>
                      </a:lnTo>
                      <a:lnTo>
                        <a:pt x="107" y="33"/>
                      </a:lnTo>
                      <a:lnTo>
                        <a:pt x="108" y="34"/>
                      </a:lnTo>
                      <a:lnTo>
                        <a:pt x="110" y="34"/>
                      </a:lnTo>
                      <a:lnTo>
                        <a:pt x="113" y="36"/>
                      </a:lnTo>
                      <a:lnTo>
                        <a:pt x="113" y="37"/>
                      </a:lnTo>
                      <a:lnTo>
                        <a:pt x="110" y="41"/>
                      </a:lnTo>
                      <a:lnTo>
                        <a:pt x="97" y="48"/>
                      </a:lnTo>
                      <a:lnTo>
                        <a:pt x="83" y="54"/>
                      </a:lnTo>
                      <a:lnTo>
                        <a:pt x="69" y="58"/>
                      </a:lnTo>
                      <a:lnTo>
                        <a:pt x="54" y="63"/>
                      </a:lnTo>
                      <a:lnTo>
                        <a:pt x="86" y="96"/>
                      </a:lnTo>
                      <a:lnTo>
                        <a:pt x="82" y="96"/>
                      </a:lnTo>
                      <a:lnTo>
                        <a:pt x="78" y="97"/>
                      </a:lnTo>
                      <a:lnTo>
                        <a:pt x="76" y="97"/>
                      </a:lnTo>
                      <a:lnTo>
                        <a:pt x="74" y="100"/>
                      </a:lnTo>
                      <a:lnTo>
                        <a:pt x="72" y="102"/>
                      </a:lnTo>
                      <a:lnTo>
                        <a:pt x="72" y="106"/>
                      </a:lnTo>
                      <a:lnTo>
                        <a:pt x="72" y="108"/>
                      </a:lnTo>
                      <a:lnTo>
                        <a:pt x="71" y="111"/>
                      </a:lnTo>
                      <a:lnTo>
                        <a:pt x="66" y="113"/>
                      </a:lnTo>
                      <a:lnTo>
                        <a:pt x="61" y="114"/>
                      </a:lnTo>
                      <a:lnTo>
                        <a:pt x="55" y="114"/>
                      </a:lnTo>
                      <a:lnTo>
                        <a:pt x="50" y="117"/>
                      </a:lnTo>
                      <a:lnTo>
                        <a:pt x="46" y="122"/>
                      </a:lnTo>
                      <a:lnTo>
                        <a:pt x="43" y="128"/>
                      </a:lnTo>
                      <a:lnTo>
                        <a:pt x="39" y="133"/>
                      </a:lnTo>
                      <a:lnTo>
                        <a:pt x="34" y="138"/>
                      </a:lnTo>
                      <a:lnTo>
                        <a:pt x="27" y="138"/>
                      </a:lnTo>
                      <a:lnTo>
                        <a:pt x="17" y="136"/>
                      </a:lnTo>
                      <a:lnTo>
                        <a:pt x="7" y="134"/>
                      </a:lnTo>
                      <a:lnTo>
                        <a:pt x="0" y="133"/>
                      </a:lnTo>
                      <a:lnTo>
                        <a:pt x="0" y="13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4" name="Freeform 277">
                  <a:extLst>
                    <a:ext uri="{FF2B5EF4-FFF2-40B4-BE49-F238E27FC236}">
                      <a16:creationId xmlns:a16="http://schemas.microsoft.com/office/drawing/2014/main" id="{DFF607CD-5E24-4DBF-AFAF-6727734C20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23823" y="6415732"/>
                  <a:ext cx="4477" cy="5304"/>
                </a:xfrm>
                <a:custGeom>
                  <a:avLst/>
                  <a:gdLst>
                    <a:gd name="T0" fmla="*/ 2 w 2"/>
                    <a:gd name="T1" fmla="*/ 2 h 2"/>
                    <a:gd name="T2" fmla="*/ 0 w 2"/>
                    <a:gd name="T3" fmla="*/ 0 h 2"/>
                    <a:gd name="T4" fmla="*/ 2 w 2"/>
                    <a:gd name="T5" fmla="*/ 0 h 2"/>
                    <a:gd name="T6" fmla="*/ 2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2" y="2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5" name="Freeform 278">
                  <a:extLst>
                    <a:ext uri="{FF2B5EF4-FFF2-40B4-BE49-F238E27FC236}">
                      <a16:creationId xmlns:a16="http://schemas.microsoft.com/office/drawing/2014/main" id="{3015B95C-20E5-4233-96BB-63264081DF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7126" y="5972836"/>
                  <a:ext cx="353685" cy="397811"/>
                </a:xfrm>
                <a:custGeom>
                  <a:avLst/>
                  <a:gdLst>
                    <a:gd name="T0" fmla="*/ 13 w 317"/>
                    <a:gd name="T1" fmla="*/ 48 h 299"/>
                    <a:gd name="T2" fmla="*/ 15 w 317"/>
                    <a:gd name="T3" fmla="*/ 36 h 299"/>
                    <a:gd name="T4" fmla="*/ 37 w 317"/>
                    <a:gd name="T5" fmla="*/ 35 h 299"/>
                    <a:gd name="T6" fmla="*/ 50 w 317"/>
                    <a:gd name="T7" fmla="*/ 21 h 299"/>
                    <a:gd name="T8" fmla="*/ 61 w 317"/>
                    <a:gd name="T9" fmla="*/ 37 h 299"/>
                    <a:gd name="T10" fmla="*/ 69 w 317"/>
                    <a:gd name="T11" fmla="*/ 26 h 299"/>
                    <a:gd name="T12" fmla="*/ 78 w 317"/>
                    <a:gd name="T13" fmla="*/ 24 h 299"/>
                    <a:gd name="T14" fmla="*/ 93 w 317"/>
                    <a:gd name="T15" fmla="*/ 24 h 299"/>
                    <a:gd name="T16" fmla="*/ 94 w 317"/>
                    <a:gd name="T17" fmla="*/ 14 h 299"/>
                    <a:gd name="T18" fmla="*/ 100 w 317"/>
                    <a:gd name="T19" fmla="*/ 13 h 299"/>
                    <a:gd name="T20" fmla="*/ 110 w 317"/>
                    <a:gd name="T21" fmla="*/ 8 h 299"/>
                    <a:gd name="T22" fmla="*/ 125 w 317"/>
                    <a:gd name="T23" fmla="*/ 3 h 299"/>
                    <a:gd name="T24" fmla="*/ 146 w 317"/>
                    <a:gd name="T25" fmla="*/ 2 h 299"/>
                    <a:gd name="T26" fmla="*/ 170 w 317"/>
                    <a:gd name="T27" fmla="*/ 15 h 299"/>
                    <a:gd name="T28" fmla="*/ 185 w 317"/>
                    <a:gd name="T29" fmla="*/ 29 h 299"/>
                    <a:gd name="T30" fmla="*/ 184 w 317"/>
                    <a:gd name="T31" fmla="*/ 41 h 299"/>
                    <a:gd name="T32" fmla="*/ 187 w 317"/>
                    <a:gd name="T33" fmla="*/ 45 h 299"/>
                    <a:gd name="T34" fmla="*/ 174 w 317"/>
                    <a:gd name="T35" fmla="*/ 42 h 299"/>
                    <a:gd name="T36" fmla="*/ 153 w 317"/>
                    <a:gd name="T37" fmla="*/ 52 h 299"/>
                    <a:gd name="T38" fmla="*/ 147 w 317"/>
                    <a:gd name="T39" fmla="*/ 56 h 299"/>
                    <a:gd name="T40" fmla="*/ 154 w 317"/>
                    <a:gd name="T41" fmla="*/ 67 h 299"/>
                    <a:gd name="T42" fmla="*/ 148 w 317"/>
                    <a:gd name="T43" fmla="*/ 83 h 299"/>
                    <a:gd name="T44" fmla="*/ 181 w 317"/>
                    <a:gd name="T45" fmla="*/ 112 h 299"/>
                    <a:gd name="T46" fmla="*/ 213 w 317"/>
                    <a:gd name="T47" fmla="*/ 159 h 299"/>
                    <a:gd name="T48" fmla="*/ 243 w 317"/>
                    <a:gd name="T49" fmla="*/ 166 h 299"/>
                    <a:gd name="T50" fmla="*/ 249 w 317"/>
                    <a:gd name="T51" fmla="*/ 176 h 299"/>
                    <a:gd name="T52" fmla="*/ 265 w 317"/>
                    <a:gd name="T53" fmla="*/ 190 h 299"/>
                    <a:gd name="T54" fmla="*/ 307 w 317"/>
                    <a:gd name="T55" fmla="*/ 213 h 299"/>
                    <a:gd name="T56" fmla="*/ 314 w 317"/>
                    <a:gd name="T57" fmla="*/ 234 h 299"/>
                    <a:gd name="T58" fmla="*/ 298 w 317"/>
                    <a:gd name="T59" fmla="*/ 221 h 299"/>
                    <a:gd name="T60" fmla="*/ 276 w 317"/>
                    <a:gd name="T61" fmla="*/ 216 h 299"/>
                    <a:gd name="T62" fmla="*/ 267 w 317"/>
                    <a:gd name="T63" fmla="*/ 243 h 299"/>
                    <a:gd name="T64" fmla="*/ 282 w 317"/>
                    <a:gd name="T65" fmla="*/ 262 h 299"/>
                    <a:gd name="T66" fmla="*/ 266 w 317"/>
                    <a:gd name="T67" fmla="*/ 280 h 299"/>
                    <a:gd name="T68" fmla="*/ 249 w 317"/>
                    <a:gd name="T69" fmla="*/ 299 h 299"/>
                    <a:gd name="T70" fmla="*/ 246 w 317"/>
                    <a:gd name="T71" fmla="*/ 283 h 299"/>
                    <a:gd name="T72" fmla="*/ 256 w 317"/>
                    <a:gd name="T73" fmla="*/ 271 h 299"/>
                    <a:gd name="T74" fmla="*/ 251 w 317"/>
                    <a:gd name="T75" fmla="*/ 253 h 299"/>
                    <a:gd name="T76" fmla="*/ 235 w 317"/>
                    <a:gd name="T77" fmla="*/ 229 h 299"/>
                    <a:gd name="T78" fmla="*/ 222 w 317"/>
                    <a:gd name="T79" fmla="*/ 222 h 299"/>
                    <a:gd name="T80" fmla="*/ 206 w 317"/>
                    <a:gd name="T81" fmla="*/ 211 h 299"/>
                    <a:gd name="T82" fmla="*/ 196 w 317"/>
                    <a:gd name="T83" fmla="*/ 200 h 299"/>
                    <a:gd name="T84" fmla="*/ 181 w 317"/>
                    <a:gd name="T85" fmla="*/ 190 h 299"/>
                    <a:gd name="T86" fmla="*/ 168 w 317"/>
                    <a:gd name="T87" fmla="*/ 186 h 299"/>
                    <a:gd name="T88" fmla="*/ 138 w 317"/>
                    <a:gd name="T89" fmla="*/ 163 h 299"/>
                    <a:gd name="T90" fmla="*/ 120 w 317"/>
                    <a:gd name="T91" fmla="*/ 152 h 299"/>
                    <a:gd name="T92" fmla="*/ 105 w 317"/>
                    <a:gd name="T93" fmla="*/ 133 h 299"/>
                    <a:gd name="T94" fmla="*/ 98 w 317"/>
                    <a:gd name="T95" fmla="*/ 110 h 299"/>
                    <a:gd name="T96" fmla="*/ 69 w 317"/>
                    <a:gd name="T97" fmla="*/ 89 h 299"/>
                    <a:gd name="T98" fmla="*/ 37 w 317"/>
                    <a:gd name="T99" fmla="*/ 104 h 299"/>
                    <a:gd name="T100" fmla="*/ 25 w 317"/>
                    <a:gd name="T101" fmla="*/ 101 h 299"/>
                    <a:gd name="T102" fmla="*/ 19 w 317"/>
                    <a:gd name="T103" fmla="*/ 95 h 299"/>
                    <a:gd name="T104" fmla="*/ 9 w 317"/>
                    <a:gd name="T105" fmla="*/ 79 h 299"/>
                    <a:gd name="T106" fmla="*/ 2 w 317"/>
                    <a:gd name="T107" fmla="*/ 67 h 2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317" h="299">
                      <a:moveTo>
                        <a:pt x="0" y="62"/>
                      </a:moveTo>
                      <a:lnTo>
                        <a:pt x="4" y="61"/>
                      </a:lnTo>
                      <a:lnTo>
                        <a:pt x="9" y="60"/>
                      </a:lnTo>
                      <a:lnTo>
                        <a:pt x="13" y="57"/>
                      </a:lnTo>
                      <a:lnTo>
                        <a:pt x="14" y="53"/>
                      </a:lnTo>
                      <a:lnTo>
                        <a:pt x="13" y="48"/>
                      </a:lnTo>
                      <a:lnTo>
                        <a:pt x="9" y="46"/>
                      </a:lnTo>
                      <a:lnTo>
                        <a:pt x="5" y="42"/>
                      </a:lnTo>
                      <a:lnTo>
                        <a:pt x="10" y="37"/>
                      </a:lnTo>
                      <a:lnTo>
                        <a:pt x="10" y="36"/>
                      </a:lnTo>
                      <a:lnTo>
                        <a:pt x="10" y="34"/>
                      </a:lnTo>
                      <a:lnTo>
                        <a:pt x="15" y="36"/>
                      </a:lnTo>
                      <a:lnTo>
                        <a:pt x="18" y="37"/>
                      </a:lnTo>
                      <a:lnTo>
                        <a:pt x="21" y="36"/>
                      </a:lnTo>
                      <a:lnTo>
                        <a:pt x="26" y="36"/>
                      </a:lnTo>
                      <a:lnTo>
                        <a:pt x="32" y="36"/>
                      </a:lnTo>
                      <a:lnTo>
                        <a:pt x="35" y="36"/>
                      </a:lnTo>
                      <a:lnTo>
                        <a:pt x="37" y="35"/>
                      </a:lnTo>
                      <a:lnTo>
                        <a:pt x="40" y="30"/>
                      </a:lnTo>
                      <a:lnTo>
                        <a:pt x="41" y="29"/>
                      </a:lnTo>
                      <a:lnTo>
                        <a:pt x="40" y="26"/>
                      </a:lnTo>
                      <a:lnTo>
                        <a:pt x="45" y="24"/>
                      </a:lnTo>
                      <a:lnTo>
                        <a:pt x="47" y="20"/>
                      </a:lnTo>
                      <a:lnTo>
                        <a:pt x="50" y="21"/>
                      </a:lnTo>
                      <a:lnTo>
                        <a:pt x="50" y="24"/>
                      </a:lnTo>
                      <a:lnTo>
                        <a:pt x="51" y="28"/>
                      </a:lnTo>
                      <a:lnTo>
                        <a:pt x="55" y="31"/>
                      </a:lnTo>
                      <a:lnTo>
                        <a:pt x="58" y="34"/>
                      </a:lnTo>
                      <a:lnTo>
                        <a:pt x="60" y="36"/>
                      </a:lnTo>
                      <a:lnTo>
                        <a:pt x="61" y="37"/>
                      </a:lnTo>
                      <a:lnTo>
                        <a:pt x="63" y="40"/>
                      </a:lnTo>
                      <a:lnTo>
                        <a:pt x="63" y="39"/>
                      </a:lnTo>
                      <a:lnTo>
                        <a:pt x="64" y="36"/>
                      </a:lnTo>
                      <a:lnTo>
                        <a:pt x="64" y="32"/>
                      </a:lnTo>
                      <a:lnTo>
                        <a:pt x="66" y="30"/>
                      </a:lnTo>
                      <a:lnTo>
                        <a:pt x="69" y="26"/>
                      </a:lnTo>
                      <a:lnTo>
                        <a:pt x="71" y="21"/>
                      </a:lnTo>
                      <a:lnTo>
                        <a:pt x="72" y="18"/>
                      </a:lnTo>
                      <a:lnTo>
                        <a:pt x="73" y="18"/>
                      </a:lnTo>
                      <a:lnTo>
                        <a:pt x="74" y="19"/>
                      </a:lnTo>
                      <a:lnTo>
                        <a:pt x="75" y="21"/>
                      </a:lnTo>
                      <a:lnTo>
                        <a:pt x="78" y="24"/>
                      </a:lnTo>
                      <a:lnTo>
                        <a:pt x="83" y="23"/>
                      </a:lnTo>
                      <a:lnTo>
                        <a:pt x="85" y="23"/>
                      </a:lnTo>
                      <a:lnTo>
                        <a:pt x="88" y="24"/>
                      </a:lnTo>
                      <a:lnTo>
                        <a:pt x="90" y="25"/>
                      </a:lnTo>
                      <a:lnTo>
                        <a:pt x="93" y="28"/>
                      </a:lnTo>
                      <a:lnTo>
                        <a:pt x="93" y="24"/>
                      </a:lnTo>
                      <a:lnTo>
                        <a:pt x="93" y="23"/>
                      </a:lnTo>
                      <a:lnTo>
                        <a:pt x="91" y="21"/>
                      </a:lnTo>
                      <a:lnTo>
                        <a:pt x="90" y="19"/>
                      </a:lnTo>
                      <a:lnTo>
                        <a:pt x="91" y="18"/>
                      </a:lnTo>
                      <a:lnTo>
                        <a:pt x="93" y="15"/>
                      </a:lnTo>
                      <a:lnTo>
                        <a:pt x="94" y="14"/>
                      </a:lnTo>
                      <a:lnTo>
                        <a:pt x="95" y="14"/>
                      </a:lnTo>
                      <a:lnTo>
                        <a:pt x="96" y="15"/>
                      </a:lnTo>
                      <a:lnTo>
                        <a:pt x="100" y="16"/>
                      </a:lnTo>
                      <a:lnTo>
                        <a:pt x="101" y="16"/>
                      </a:lnTo>
                      <a:lnTo>
                        <a:pt x="101" y="14"/>
                      </a:lnTo>
                      <a:lnTo>
                        <a:pt x="100" y="13"/>
                      </a:lnTo>
                      <a:lnTo>
                        <a:pt x="100" y="10"/>
                      </a:lnTo>
                      <a:lnTo>
                        <a:pt x="101" y="8"/>
                      </a:lnTo>
                      <a:lnTo>
                        <a:pt x="101" y="7"/>
                      </a:lnTo>
                      <a:lnTo>
                        <a:pt x="104" y="7"/>
                      </a:lnTo>
                      <a:lnTo>
                        <a:pt x="107" y="8"/>
                      </a:lnTo>
                      <a:lnTo>
                        <a:pt x="110" y="8"/>
                      </a:lnTo>
                      <a:lnTo>
                        <a:pt x="111" y="9"/>
                      </a:lnTo>
                      <a:lnTo>
                        <a:pt x="114" y="9"/>
                      </a:lnTo>
                      <a:lnTo>
                        <a:pt x="116" y="8"/>
                      </a:lnTo>
                      <a:lnTo>
                        <a:pt x="120" y="4"/>
                      </a:lnTo>
                      <a:lnTo>
                        <a:pt x="122" y="3"/>
                      </a:lnTo>
                      <a:lnTo>
                        <a:pt x="125" y="3"/>
                      </a:lnTo>
                      <a:lnTo>
                        <a:pt x="131" y="3"/>
                      </a:lnTo>
                      <a:lnTo>
                        <a:pt x="135" y="2"/>
                      </a:lnTo>
                      <a:lnTo>
                        <a:pt x="138" y="0"/>
                      </a:lnTo>
                      <a:lnTo>
                        <a:pt x="143" y="0"/>
                      </a:lnTo>
                      <a:lnTo>
                        <a:pt x="147" y="0"/>
                      </a:lnTo>
                      <a:lnTo>
                        <a:pt x="146" y="2"/>
                      </a:lnTo>
                      <a:lnTo>
                        <a:pt x="146" y="3"/>
                      </a:lnTo>
                      <a:lnTo>
                        <a:pt x="148" y="8"/>
                      </a:lnTo>
                      <a:lnTo>
                        <a:pt x="153" y="12"/>
                      </a:lnTo>
                      <a:lnTo>
                        <a:pt x="157" y="14"/>
                      </a:lnTo>
                      <a:lnTo>
                        <a:pt x="163" y="15"/>
                      </a:lnTo>
                      <a:lnTo>
                        <a:pt x="170" y="15"/>
                      </a:lnTo>
                      <a:lnTo>
                        <a:pt x="176" y="15"/>
                      </a:lnTo>
                      <a:lnTo>
                        <a:pt x="184" y="16"/>
                      </a:lnTo>
                      <a:lnTo>
                        <a:pt x="182" y="20"/>
                      </a:lnTo>
                      <a:lnTo>
                        <a:pt x="181" y="21"/>
                      </a:lnTo>
                      <a:lnTo>
                        <a:pt x="178" y="26"/>
                      </a:lnTo>
                      <a:lnTo>
                        <a:pt x="185" y="29"/>
                      </a:lnTo>
                      <a:lnTo>
                        <a:pt x="182" y="31"/>
                      </a:lnTo>
                      <a:lnTo>
                        <a:pt x="181" y="34"/>
                      </a:lnTo>
                      <a:lnTo>
                        <a:pt x="181" y="35"/>
                      </a:lnTo>
                      <a:lnTo>
                        <a:pt x="184" y="36"/>
                      </a:lnTo>
                      <a:lnTo>
                        <a:pt x="182" y="39"/>
                      </a:lnTo>
                      <a:lnTo>
                        <a:pt x="184" y="41"/>
                      </a:lnTo>
                      <a:lnTo>
                        <a:pt x="187" y="42"/>
                      </a:lnTo>
                      <a:lnTo>
                        <a:pt x="189" y="44"/>
                      </a:lnTo>
                      <a:lnTo>
                        <a:pt x="190" y="46"/>
                      </a:lnTo>
                      <a:lnTo>
                        <a:pt x="189" y="47"/>
                      </a:lnTo>
                      <a:lnTo>
                        <a:pt x="186" y="47"/>
                      </a:lnTo>
                      <a:lnTo>
                        <a:pt x="187" y="45"/>
                      </a:lnTo>
                      <a:lnTo>
                        <a:pt x="186" y="44"/>
                      </a:lnTo>
                      <a:lnTo>
                        <a:pt x="184" y="44"/>
                      </a:lnTo>
                      <a:lnTo>
                        <a:pt x="180" y="44"/>
                      </a:lnTo>
                      <a:lnTo>
                        <a:pt x="178" y="45"/>
                      </a:lnTo>
                      <a:lnTo>
                        <a:pt x="176" y="42"/>
                      </a:lnTo>
                      <a:lnTo>
                        <a:pt x="174" y="42"/>
                      </a:lnTo>
                      <a:lnTo>
                        <a:pt x="170" y="45"/>
                      </a:lnTo>
                      <a:lnTo>
                        <a:pt x="168" y="46"/>
                      </a:lnTo>
                      <a:lnTo>
                        <a:pt x="162" y="50"/>
                      </a:lnTo>
                      <a:lnTo>
                        <a:pt x="159" y="51"/>
                      </a:lnTo>
                      <a:lnTo>
                        <a:pt x="155" y="52"/>
                      </a:lnTo>
                      <a:lnTo>
                        <a:pt x="153" y="52"/>
                      </a:lnTo>
                      <a:lnTo>
                        <a:pt x="153" y="51"/>
                      </a:lnTo>
                      <a:lnTo>
                        <a:pt x="155" y="50"/>
                      </a:lnTo>
                      <a:lnTo>
                        <a:pt x="152" y="51"/>
                      </a:lnTo>
                      <a:lnTo>
                        <a:pt x="149" y="52"/>
                      </a:lnTo>
                      <a:lnTo>
                        <a:pt x="148" y="55"/>
                      </a:lnTo>
                      <a:lnTo>
                        <a:pt x="147" y="56"/>
                      </a:lnTo>
                      <a:lnTo>
                        <a:pt x="146" y="57"/>
                      </a:lnTo>
                      <a:lnTo>
                        <a:pt x="147" y="58"/>
                      </a:lnTo>
                      <a:lnTo>
                        <a:pt x="148" y="61"/>
                      </a:lnTo>
                      <a:lnTo>
                        <a:pt x="149" y="63"/>
                      </a:lnTo>
                      <a:lnTo>
                        <a:pt x="151" y="64"/>
                      </a:lnTo>
                      <a:lnTo>
                        <a:pt x="154" y="67"/>
                      </a:lnTo>
                      <a:lnTo>
                        <a:pt x="154" y="71"/>
                      </a:lnTo>
                      <a:lnTo>
                        <a:pt x="152" y="73"/>
                      </a:lnTo>
                      <a:lnTo>
                        <a:pt x="151" y="73"/>
                      </a:lnTo>
                      <a:lnTo>
                        <a:pt x="149" y="72"/>
                      </a:lnTo>
                      <a:lnTo>
                        <a:pt x="147" y="77"/>
                      </a:lnTo>
                      <a:lnTo>
                        <a:pt x="148" y="83"/>
                      </a:lnTo>
                      <a:lnTo>
                        <a:pt x="149" y="88"/>
                      </a:lnTo>
                      <a:lnTo>
                        <a:pt x="153" y="91"/>
                      </a:lnTo>
                      <a:lnTo>
                        <a:pt x="160" y="100"/>
                      </a:lnTo>
                      <a:lnTo>
                        <a:pt x="169" y="106"/>
                      </a:lnTo>
                      <a:lnTo>
                        <a:pt x="178" y="110"/>
                      </a:lnTo>
                      <a:lnTo>
                        <a:pt x="181" y="112"/>
                      </a:lnTo>
                      <a:lnTo>
                        <a:pt x="185" y="116"/>
                      </a:lnTo>
                      <a:lnTo>
                        <a:pt x="190" y="127"/>
                      </a:lnTo>
                      <a:lnTo>
                        <a:pt x="195" y="139"/>
                      </a:lnTo>
                      <a:lnTo>
                        <a:pt x="198" y="147"/>
                      </a:lnTo>
                      <a:lnTo>
                        <a:pt x="206" y="154"/>
                      </a:lnTo>
                      <a:lnTo>
                        <a:pt x="213" y="159"/>
                      </a:lnTo>
                      <a:lnTo>
                        <a:pt x="221" y="164"/>
                      </a:lnTo>
                      <a:lnTo>
                        <a:pt x="226" y="165"/>
                      </a:lnTo>
                      <a:lnTo>
                        <a:pt x="229" y="166"/>
                      </a:lnTo>
                      <a:lnTo>
                        <a:pt x="234" y="168"/>
                      </a:lnTo>
                      <a:lnTo>
                        <a:pt x="239" y="166"/>
                      </a:lnTo>
                      <a:lnTo>
                        <a:pt x="243" y="166"/>
                      </a:lnTo>
                      <a:lnTo>
                        <a:pt x="248" y="166"/>
                      </a:lnTo>
                      <a:lnTo>
                        <a:pt x="253" y="168"/>
                      </a:lnTo>
                      <a:lnTo>
                        <a:pt x="254" y="169"/>
                      </a:lnTo>
                      <a:lnTo>
                        <a:pt x="254" y="171"/>
                      </a:lnTo>
                      <a:lnTo>
                        <a:pt x="251" y="174"/>
                      </a:lnTo>
                      <a:lnTo>
                        <a:pt x="249" y="176"/>
                      </a:lnTo>
                      <a:lnTo>
                        <a:pt x="246" y="179"/>
                      </a:lnTo>
                      <a:lnTo>
                        <a:pt x="246" y="181"/>
                      </a:lnTo>
                      <a:lnTo>
                        <a:pt x="250" y="184"/>
                      </a:lnTo>
                      <a:lnTo>
                        <a:pt x="255" y="186"/>
                      </a:lnTo>
                      <a:lnTo>
                        <a:pt x="260" y="189"/>
                      </a:lnTo>
                      <a:lnTo>
                        <a:pt x="265" y="190"/>
                      </a:lnTo>
                      <a:lnTo>
                        <a:pt x="276" y="195"/>
                      </a:lnTo>
                      <a:lnTo>
                        <a:pt x="286" y="201"/>
                      </a:lnTo>
                      <a:lnTo>
                        <a:pt x="291" y="203"/>
                      </a:lnTo>
                      <a:lnTo>
                        <a:pt x="297" y="207"/>
                      </a:lnTo>
                      <a:lnTo>
                        <a:pt x="302" y="209"/>
                      </a:lnTo>
                      <a:lnTo>
                        <a:pt x="307" y="213"/>
                      </a:lnTo>
                      <a:lnTo>
                        <a:pt x="314" y="219"/>
                      </a:lnTo>
                      <a:lnTo>
                        <a:pt x="315" y="223"/>
                      </a:lnTo>
                      <a:lnTo>
                        <a:pt x="317" y="228"/>
                      </a:lnTo>
                      <a:lnTo>
                        <a:pt x="315" y="229"/>
                      </a:lnTo>
                      <a:lnTo>
                        <a:pt x="315" y="232"/>
                      </a:lnTo>
                      <a:lnTo>
                        <a:pt x="314" y="234"/>
                      </a:lnTo>
                      <a:lnTo>
                        <a:pt x="313" y="235"/>
                      </a:lnTo>
                      <a:lnTo>
                        <a:pt x="309" y="235"/>
                      </a:lnTo>
                      <a:lnTo>
                        <a:pt x="305" y="232"/>
                      </a:lnTo>
                      <a:lnTo>
                        <a:pt x="303" y="228"/>
                      </a:lnTo>
                      <a:lnTo>
                        <a:pt x="301" y="223"/>
                      </a:lnTo>
                      <a:lnTo>
                        <a:pt x="298" y="221"/>
                      </a:lnTo>
                      <a:lnTo>
                        <a:pt x="293" y="221"/>
                      </a:lnTo>
                      <a:lnTo>
                        <a:pt x="288" y="219"/>
                      </a:lnTo>
                      <a:lnTo>
                        <a:pt x="286" y="218"/>
                      </a:lnTo>
                      <a:lnTo>
                        <a:pt x="283" y="213"/>
                      </a:lnTo>
                      <a:lnTo>
                        <a:pt x="280" y="214"/>
                      </a:lnTo>
                      <a:lnTo>
                        <a:pt x="276" y="216"/>
                      </a:lnTo>
                      <a:lnTo>
                        <a:pt x="273" y="218"/>
                      </a:lnTo>
                      <a:lnTo>
                        <a:pt x="270" y="222"/>
                      </a:lnTo>
                      <a:lnTo>
                        <a:pt x="266" y="229"/>
                      </a:lnTo>
                      <a:lnTo>
                        <a:pt x="264" y="237"/>
                      </a:lnTo>
                      <a:lnTo>
                        <a:pt x="265" y="240"/>
                      </a:lnTo>
                      <a:lnTo>
                        <a:pt x="267" y="243"/>
                      </a:lnTo>
                      <a:lnTo>
                        <a:pt x="271" y="244"/>
                      </a:lnTo>
                      <a:lnTo>
                        <a:pt x="275" y="245"/>
                      </a:lnTo>
                      <a:lnTo>
                        <a:pt x="278" y="248"/>
                      </a:lnTo>
                      <a:lnTo>
                        <a:pt x="281" y="251"/>
                      </a:lnTo>
                      <a:lnTo>
                        <a:pt x="282" y="259"/>
                      </a:lnTo>
                      <a:lnTo>
                        <a:pt x="282" y="262"/>
                      </a:lnTo>
                      <a:lnTo>
                        <a:pt x="280" y="265"/>
                      </a:lnTo>
                      <a:lnTo>
                        <a:pt x="275" y="266"/>
                      </a:lnTo>
                      <a:lnTo>
                        <a:pt x="269" y="269"/>
                      </a:lnTo>
                      <a:lnTo>
                        <a:pt x="266" y="271"/>
                      </a:lnTo>
                      <a:lnTo>
                        <a:pt x="266" y="276"/>
                      </a:lnTo>
                      <a:lnTo>
                        <a:pt x="266" y="280"/>
                      </a:lnTo>
                      <a:lnTo>
                        <a:pt x="266" y="282"/>
                      </a:lnTo>
                      <a:lnTo>
                        <a:pt x="264" y="283"/>
                      </a:lnTo>
                      <a:lnTo>
                        <a:pt x="261" y="287"/>
                      </a:lnTo>
                      <a:lnTo>
                        <a:pt x="256" y="292"/>
                      </a:lnTo>
                      <a:lnTo>
                        <a:pt x="251" y="298"/>
                      </a:lnTo>
                      <a:lnTo>
                        <a:pt x="249" y="299"/>
                      </a:lnTo>
                      <a:lnTo>
                        <a:pt x="246" y="299"/>
                      </a:lnTo>
                      <a:lnTo>
                        <a:pt x="244" y="298"/>
                      </a:lnTo>
                      <a:lnTo>
                        <a:pt x="242" y="294"/>
                      </a:lnTo>
                      <a:lnTo>
                        <a:pt x="242" y="291"/>
                      </a:lnTo>
                      <a:lnTo>
                        <a:pt x="244" y="287"/>
                      </a:lnTo>
                      <a:lnTo>
                        <a:pt x="246" y="283"/>
                      </a:lnTo>
                      <a:lnTo>
                        <a:pt x="249" y="280"/>
                      </a:lnTo>
                      <a:lnTo>
                        <a:pt x="249" y="277"/>
                      </a:lnTo>
                      <a:lnTo>
                        <a:pt x="249" y="273"/>
                      </a:lnTo>
                      <a:lnTo>
                        <a:pt x="251" y="272"/>
                      </a:lnTo>
                      <a:lnTo>
                        <a:pt x="254" y="272"/>
                      </a:lnTo>
                      <a:lnTo>
                        <a:pt x="256" y="271"/>
                      </a:lnTo>
                      <a:lnTo>
                        <a:pt x="257" y="270"/>
                      </a:lnTo>
                      <a:lnTo>
                        <a:pt x="257" y="267"/>
                      </a:lnTo>
                      <a:lnTo>
                        <a:pt x="256" y="265"/>
                      </a:lnTo>
                      <a:lnTo>
                        <a:pt x="254" y="262"/>
                      </a:lnTo>
                      <a:lnTo>
                        <a:pt x="254" y="260"/>
                      </a:lnTo>
                      <a:lnTo>
                        <a:pt x="251" y="253"/>
                      </a:lnTo>
                      <a:lnTo>
                        <a:pt x="249" y="246"/>
                      </a:lnTo>
                      <a:lnTo>
                        <a:pt x="245" y="238"/>
                      </a:lnTo>
                      <a:lnTo>
                        <a:pt x="244" y="233"/>
                      </a:lnTo>
                      <a:lnTo>
                        <a:pt x="242" y="229"/>
                      </a:lnTo>
                      <a:lnTo>
                        <a:pt x="239" y="228"/>
                      </a:lnTo>
                      <a:lnTo>
                        <a:pt x="235" y="229"/>
                      </a:lnTo>
                      <a:lnTo>
                        <a:pt x="233" y="230"/>
                      </a:lnTo>
                      <a:lnTo>
                        <a:pt x="232" y="229"/>
                      </a:lnTo>
                      <a:lnTo>
                        <a:pt x="228" y="225"/>
                      </a:lnTo>
                      <a:lnTo>
                        <a:pt x="224" y="224"/>
                      </a:lnTo>
                      <a:lnTo>
                        <a:pt x="223" y="223"/>
                      </a:lnTo>
                      <a:lnTo>
                        <a:pt x="222" y="222"/>
                      </a:lnTo>
                      <a:lnTo>
                        <a:pt x="223" y="218"/>
                      </a:lnTo>
                      <a:lnTo>
                        <a:pt x="222" y="214"/>
                      </a:lnTo>
                      <a:lnTo>
                        <a:pt x="219" y="211"/>
                      </a:lnTo>
                      <a:lnTo>
                        <a:pt x="214" y="209"/>
                      </a:lnTo>
                      <a:lnTo>
                        <a:pt x="210" y="209"/>
                      </a:lnTo>
                      <a:lnTo>
                        <a:pt x="206" y="211"/>
                      </a:lnTo>
                      <a:lnTo>
                        <a:pt x="207" y="208"/>
                      </a:lnTo>
                      <a:lnTo>
                        <a:pt x="207" y="206"/>
                      </a:lnTo>
                      <a:lnTo>
                        <a:pt x="205" y="203"/>
                      </a:lnTo>
                      <a:lnTo>
                        <a:pt x="201" y="203"/>
                      </a:lnTo>
                      <a:lnTo>
                        <a:pt x="198" y="202"/>
                      </a:lnTo>
                      <a:lnTo>
                        <a:pt x="196" y="200"/>
                      </a:lnTo>
                      <a:lnTo>
                        <a:pt x="195" y="196"/>
                      </a:lnTo>
                      <a:lnTo>
                        <a:pt x="192" y="194"/>
                      </a:lnTo>
                      <a:lnTo>
                        <a:pt x="190" y="191"/>
                      </a:lnTo>
                      <a:lnTo>
                        <a:pt x="187" y="190"/>
                      </a:lnTo>
                      <a:lnTo>
                        <a:pt x="185" y="191"/>
                      </a:lnTo>
                      <a:lnTo>
                        <a:pt x="181" y="190"/>
                      </a:lnTo>
                      <a:lnTo>
                        <a:pt x="178" y="189"/>
                      </a:lnTo>
                      <a:lnTo>
                        <a:pt x="174" y="189"/>
                      </a:lnTo>
                      <a:lnTo>
                        <a:pt x="171" y="190"/>
                      </a:lnTo>
                      <a:lnTo>
                        <a:pt x="170" y="189"/>
                      </a:lnTo>
                      <a:lnTo>
                        <a:pt x="170" y="189"/>
                      </a:lnTo>
                      <a:lnTo>
                        <a:pt x="168" y="186"/>
                      </a:lnTo>
                      <a:lnTo>
                        <a:pt x="162" y="182"/>
                      </a:lnTo>
                      <a:lnTo>
                        <a:pt x="155" y="179"/>
                      </a:lnTo>
                      <a:lnTo>
                        <a:pt x="149" y="171"/>
                      </a:lnTo>
                      <a:lnTo>
                        <a:pt x="143" y="165"/>
                      </a:lnTo>
                      <a:lnTo>
                        <a:pt x="141" y="164"/>
                      </a:lnTo>
                      <a:lnTo>
                        <a:pt x="138" y="163"/>
                      </a:lnTo>
                      <a:lnTo>
                        <a:pt x="137" y="162"/>
                      </a:lnTo>
                      <a:lnTo>
                        <a:pt x="135" y="159"/>
                      </a:lnTo>
                      <a:lnTo>
                        <a:pt x="132" y="155"/>
                      </a:lnTo>
                      <a:lnTo>
                        <a:pt x="128" y="153"/>
                      </a:lnTo>
                      <a:lnTo>
                        <a:pt x="123" y="152"/>
                      </a:lnTo>
                      <a:lnTo>
                        <a:pt x="120" y="152"/>
                      </a:lnTo>
                      <a:lnTo>
                        <a:pt x="120" y="150"/>
                      </a:lnTo>
                      <a:lnTo>
                        <a:pt x="119" y="147"/>
                      </a:lnTo>
                      <a:lnTo>
                        <a:pt x="115" y="141"/>
                      </a:lnTo>
                      <a:lnTo>
                        <a:pt x="110" y="136"/>
                      </a:lnTo>
                      <a:lnTo>
                        <a:pt x="106" y="135"/>
                      </a:lnTo>
                      <a:lnTo>
                        <a:pt x="105" y="133"/>
                      </a:lnTo>
                      <a:lnTo>
                        <a:pt x="105" y="133"/>
                      </a:lnTo>
                      <a:lnTo>
                        <a:pt x="104" y="131"/>
                      </a:lnTo>
                      <a:lnTo>
                        <a:pt x="101" y="122"/>
                      </a:lnTo>
                      <a:lnTo>
                        <a:pt x="99" y="115"/>
                      </a:lnTo>
                      <a:lnTo>
                        <a:pt x="98" y="112"/>
                      </a:lnTo>
                      <a:lnTo>
                        <a:pt x="98" y="110"/>
                      </a:lnTo>
                      <a:lnTo>
                        <a:pt x="96" y="106"/>
                      </a:lnTo>
                      <a:lnTo>
                        <a:pt x="94" y="103"/>
                      </a:lnTo>
                      <a:lnTo>
                        <a:pt x="89" y="99"/>
                      </a:lnTo>
                      <a:lnTo>
                        <a:pt x="83" y="96"/>
                      </a:lnTo>
                      <a:lnTo>
                        <a:pt x="77" y="93"/>
                      </a:lnTo>
                      <a:lnTo>
                        <a:pt x="69" y="89"/>
                      </a:lnTo>
                      <a:lnTo>
                        <a:pt x="61" y="87"/>
                      </a:lnTo>
                      <a:lnTo>
                        <a:pt x="53" y="88"/>
                      </a:lnTo>
                      <a:lnTo>
                        <a:pt x="50" y="90"/>
                      </a:lnTo>
                      <a:lnTo>
                        <a:pt x="47" y="93"/>
                      </a:lnTo>
                      <a:lnTo>
                        <a:pt x="42" y="99"/>
                      </a:lnTo>
                      <a:lnTo>
                        <a:pt x="37" y="104"/>
                      </a:lnTo>
                      <a:lnTo>
                        <a:pt x="34" y="105"/>
                      </a:lnTo>
                      <a:lnTo>
                        <a:pt x="29" y="106"/>
                      </a:lnTo>
                      <a:lnTo>
                        <a:pt x="25" y="106"/>
                      </a:lnTo>
                      <a:lnTo>
                        <a:pt x="23" y="106"/>
                      </a:lnTo>
                      <a:lnTo>
                        <a:pt x="23" y="105"/>
                      </a:lnTo>
                      <a:lnTo>
                        <a:pt x="25" y="101"/>
                      </a:lnTo>
                      <a:lnTo>
                        <a:pt x="28" y="98"/>
                      </a:lnTo>
                      <a:lnTo>
                        <a:pt x="28" y="96"/>
                      </a:lnTo>
                      <a:lnTo>
                        <a:pt x="28" y="95"/>
                      </a:lnTo>
                      <a:lnTo>
                        <a:pt x="25" y="94"/>
                      </a:lnTo>
                      <a:lnTo>
                        <a:pt x="21" y="95"/>
                      </a:lnTo>
                      <a:lnTo>
                        <a:pt x="19" y="95"/>
                      </a:lnTo>
                      <a:lnTo>
                        <a:pt x="15" y="95"/>
                      </a:lnTo>
                      <a:lnTo>
                        <a:pt x="9" y="91"/>
                      </a:lnTo>
                      <a:lnTo>
                        <a:pt x="8" y="88"/>
                      </a:lnTo>
                      <a:lnTo>
                        <a:pt x="7" y="85"/>
                      </a:lnTo>
                      <a:lnTo>
                        <a:pt x="7" y="82"/>
                      </a:lnTo>
                      <a:lnTo>
                        <a:pt x="9" y="79"/>
                      </a:lnTo>
                      <a:lnTo>
                        <a:pt x="12" y="77"/>
                      </a:lnTo>
                      <a:lnTo>
                        <a:pt x="12" y="75"/>
                      </a:lnTo>
                      <a:lnTo>
                        <a:pt x="10" y="73"/>
                      </a:lnTo>
                      <a:lnTo>
                        <a:pt x="8" y="72"/>
                      </a:lnTo>
                      <a:lnTo>
                        <a:pt x="4" y="69"/>
                      </a:lnTo>
                      <a:lnTo>
                        <a:pt x="2" y="67"/>
                      </a:lnTo>
                      <a:lnTo>
                        <a:pt x="0" y="64"/>
                      </a:lnTo>
                      <a:lnTo>
                        <a:pt x="0" y="63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6" name="Freeform 279">
                  <a:extLst>
                    <a:ext uri="{FF2B5EF4-FFF2-40B4-BE49-F238E27FC236}">
                      <a16:creationId xmlns:a16="http://schemas.microsoft.com/office/drawing/2014/main" id="{81D6A169-7A8E-4AA6-A70D-8B2B9CE23C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11897" y="6224784"/>
                  <a:ext cx="49248" cy="100779"/>
                </a:xfrm>
                <a:custGeom>
                  <a:avLst/>
                  <a:gdLst>
                    <a:gd name="T0" fmla="*/ 3 w 43"/>
                    <a:gd name="T1" fmla="*/ 23 h 76"/>
                    <a:gd name="T2" fmla="*/ 0 w 43"/>
                    <a:gd name="T3" fmla="*/ 18 h 76"/>
                    <a:gd name="T4" fmla="*/ 0 w 43"/>
                    <a:gd name="T5" fmla="*/ 10 h 76"/>
                    <a:gd name="T6" fmla="*/ 5 w 43"/>
                    <a:gd name="T7" fmla="*/ 13 h 76"/>
                    <a:gd name="T8" fmla="*/ 17 w 43"/>
                    <a:gd name="T9" fmla="*/ 7 h 76"/>
                    <a:gd name="T10" fmla="*/ 26 w 43"/>
                    <a:gd name="T11" fmla="*/ 1 h 76"/>
                    <a:gd name="T12" fmla="*/ 30 w 43"/>
                    <a:gd name="T13" fmla="*/ 1 h 76"/>
                    <a:gd name="T14" fmla="*/ 34 w 43"/>
                    <a:gd name="T15" fmla="*/ 4 h 76"/>
                    <a:gd name="T16" fmla="*/ 36 w 43"/>
                    <a:gd name="T17" fmla="*/ 6 h 76"/>
                    <a:gd name="T18" fmla="*/ 36 w 43"/>
                    <a:gd name="T19" fmla="*/ 10 h 76"/>
                    <a:gd name="T20" fmla="*/ 39 w 43"/>
                    <a:gd name="T21" fmla="*/ 11 h 76"/>
                    <a:gd name="T22" fmla="*/ 43 w 43"/>
                    <a:gd name="T23" fmla="*/ 22 h 76"/>
                    <a:gd name="T24" fmla="*/ 41 w 43"/>
                    <a:gd name="T25" fmla="*/ 28 h 76"/>
                    <a:gd name="T26" fmla="*/ 38 w 43"/>
                    <a:gd name="T27" fmla="*/ 33 h 76"/>
                    <a:gd name="T28" fmla="*/ 41 w 43"/>
                    <a:gd name="T29" fmla="*/ 39 h 76"/>
                    <a:gd name="T30" fmla="*/ 39 w 43"/>
                    <a:gd name="T31" fmla="*/ 50 h 76"/>
                    <a:gd name="T32" fmla="*/ 39 w 43"/>
                    <a:gd name="T33" fmla="*/ 58 h 76"/>
                    <a:gd name="T34" fmla="*/ 38 w 43"/>
                    <a:gd name="T35" fmla="*/ 65 h 76"/>
                    <a:gd name="T36" fmla="*/ 33 w 43"/>
                    <a:gd name="T37" fmla="*/ 67 h 76"/>
                    <a:gd name="T38" fmla="*/ 26 w 43"/>
                    <a:gd name="T39" fmla="*/ 66 h 76"/>
                    <a:gd name="T40" fmla="*/ 22 w 43"/>
                    <a:gd name="T41" fmla="*/ 69 h 76"/>
                    <a:gd name="T42" fmla="*/ 20 w 43"/>
                    <a:gd name="T43" fmla="*/ 75 h 76"/>
                    <a:gd name="T44" fmla="*/ 14 w 43"/>
                    <a:gd name="T45" fmla="*/ 75 h 76"/>
                    <a:gd name="T46" fmla="*/ 10 w 43"/>
                    <a:gd name="T47" fmla="*/ 74 h 76"/>
                    <a:gd name="T48" fmla="*/ 6 w 43"/>
                    <a:gd name="T49" fmla="*/ 74 h 76"/>
                    <a:gd name="T50" fmla="*/ 6 w 43"/>
                    <a:gd name="T51" fmla="*/ 70 h 76"/>
                    <a:gd name="T52" fmla="*/ 5 w 43"/>
                    <a:gd name="T53" fmla="*/ 63 h 76"/>
                    <a:gd name="T54" fmla="*/ 9 w 43"/>
                    <a:gd name="T55" fmla="*/ 50 h 76"/>
                    <a:gd name="T56" fmla="*/ 10 w 43"/>
                    <a:gd name="T57" fmla="*/ 45 h 76"/>
                    <a:gd name="T58" fmla="*/ 5 w 43"/>
                    <a:gd name="T59" fmla="*/ 42 h 76"/>
                    <a:gd name="T60" fmla="*/ 7 w 43"/>
                    <a:gd name="T61" fmla="*/ 34 h 76"/>
                    <a:gd name="T62" fmla="*/ 6 w 43"/>
                    <a:gd name="T63" fmla="*/ 31 h 76"/>
                    <a:gd name="T64" fmla="*/ 5 w 43"/>
                    <a:gd name="T65" fmla="*/ 26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43" h="76">
                      <a:moveTo>
                        <a:pt x="5" y="26"/>
                      </a:moveTo>
                      <a:lnTo>
                        <a:pt x="3" y="23"/>
                      </a:lnTo>
                      <a:lnTo>
                        <a:pt x="1" y="21"/>
                      </a:lnTo>
                      <a:lnTo>
                        <a:pt x="0" y="18"/>
                      </a:lnTo>
                      <a:lnTo>
                        <a:pt x="0" y="16"/>
                      </a:lnTo>
                      <a:lnTo>
                        <a:pt x="0" y="10"/>
                      </a:lnTo>
                      <a:lnTo>
                        <a:pt x="3" y="12"/>
                      </a:lnTo>
                      <a:lnTo>
                        <a:pt x="5" y="13"/>
                      </a:lnTo>
                      <a:lnTo>
                        <a:pt x="11" y="12"/>
                      </a:lnTo>
                      <a:lnTo>
                        <a:pt x="17" y="7"/>
                      </a:lnTo>
                      <a:lnTo>
                        <a:pt x="22" y="4"/>
                      </a:lnTo>
                      <a:lnTo>
                        <a:pt x="26" y="1"/>
                      </a:lnTo>
                      <a:lnTo>
                        <a:pt x="28" y="0"/>
                      </a:lnTo>
                      <a:lnTo>
                        <a:pt x="30" y="1"/>
                      </a:lnTo>
                      <a:lnTo>
                        <a:pt x="33" y="4"/>
                      </a:lnTo>
                      <a:lnTo>
                        <a:pt x="34" y="4"/>
                      </a:lnTo>
                      <a:lnTo>
                        <a:pt x="36" y="4"/>
                      </a:lnTo>
                      <a:lnTo>
                        <a:pt x="36" y="6"/>
                      </a:lnTo>
                      <a:lnTo>
                        <a:pt x="38" y="7"/>
                      </a:lnTo>
                      <a:lnTo>
                        <a:pt x="36" y="10"/>
                      </a:lnTo>
                      <a:lnTo>
                        <a:pt x="37" y="10"/>
                      </a:lnTo>
                      <a:lnTo>
                        <a:pt x="39" y="11"/>
                      </a:lnTo>
                      <a:lnTo>
                        <a:pt x="42" y="16"/>
                      </a:lnTo>
                      <a:lnTo>
                        <a:pt x="43" y="22"/>
                      </a:lnTo>
                      <a:lnTo>
                        <a:pt x="42" y="26"/>
                      </a:lnTo>
                      <a:lnTo>
                        <a:pt x="41" y="28"/>
                      </a:lnTo>
                      <a:lnTo>
                        <a:pt x="39" y="31"/>
                      </a:lnTo>
                      <a:lnTo>
                        <a:pt x="38" y="33"/>
                      </a:lnTo>
                      <a:lnTo>
                        <a:pt x="39" y="35"/>
                      </a:lnTo>
                      <a:lnTo>
                        <a:pt x="41" y="39"/>
                      </a:lnTo>
                      <a:lnTo>
                        <a:pt x="41" y="44"/>
                      </a:lnTo>
                      <a:lnTo>
                        <a:pt x="39" y="50"/>
                      </a:lnTo>
                      <a:lnTo>
                        <a:pt x="39" y="54"/>
                      </a:lnTo>
                      <a:lnTo>
                        <a:pt x="39" y="58"/>
                      </a:lnTo>
                      <a:lnTo>
                        <a:pt x="38" y="61"/>
                      </a:lnTo>
                      <a:lnTo>
                        <a:pt x="38" y="65"/>
                      </a:lnTo>
                      <a:lnTo>
                        <a:pt x="36" y="67"/>
                      </a:lnTo>
                      <a:lnTo>
                        <a:pt x="33" y="67"/>
                      </a:lnTo>
                      <a:lnTo>
                        <a:pt x="30" y="67"/>
                      </a:lnTo>
                      <a:lnTo>
                        <a:pt x="26" y="66"/>
                      </a:lnTo>
                      <a:lnTo>
                        <a:pt x="23" y="66"/>
                      </a:lnTo>
                      <a:lnTo>
                        <a:pt x="22" y="69"/>
                      </a:lnTo>
                      <a:lnTo>
                        <a:pt x="21" y="72"/>
                      </a:lnTo>
                      <a:lnTo>
                        <a:pt x="20" y="75"/>
                      </a:lnTo>
                      <a:lnTo>
                        <a:pt x="16" y="76"/>
                      </a:lnTo>
                      <a:lnTo>
                        <a:pt x="14" y="75"/>
                      </a:lnTo>
                      <a:lnTo>
                        <a:pt x="11" y="75"/>
                      </a:lnTo>
                      <a:lnTo>
                        <a:pt x="10" y="74"/>
                      </a:lnTo>
                      <a:lnTo>
                        <a:pt x="9" y="71"/>
                      </a:lnTo>
                      <a:lnTo>
                        <a:pt x="6" y="74"/>
                      </a:lnTo>
                      <a:lnTo>
                        <a:pt x="4" y="71"/>
                      </a:lnTo>
                      <a:lnTo>
                        <a:pt x="6" y="70"/>
                      </a:lnTo>
                      <a:lnTo>
                        <a:pt x="6" y="69"/>
                      </a:lnTo>
                      <a:lnTo>
                        <a:pt x="5" y="63"/>
                      </a:lnTo>
                      <a:lnTo>
                        <a:pt x="6" y="48"/>
                      </a:lnTo>
                      <a:lnTo>
                        <a:pt x="9" y="50"/>
                      </a:lnTo>
                      <a:lnTo>
                        <a:pt x="10" y="48"/>
                      </a:lnTo>
                      <a:lnTo>
                        <a:pt x="10" y="45"/>
                      </a:lnTo>
                      <a:lnTo>
                        <a:pt x="7" y="43"/>
                      </a:lnTo>
                      <a:lnTo>
                        <a:pt x="5" y="42"/>
                      </a:lnTo>
                      <a:lnTo>
                        <a:pt x="6" y="38"/>
                      </a:lnTo>
                      <a:lnTo>
                        <a:pt x="7" y="34"/>
                      </a:lnTo>
                      <a:lnTo>
                        <a:pt x="7" y="32"/>
                      </a:lnTo>
                      <a:lnTo>
                        <a:pt x="6" y="31"/>
                      </a:lnTo>
                      <a:lnTo>
                        <a:pt x="5" y="28"/>
                      </a:lnTo>
                      <a:lnTo>
                        <a:pt x="5" y="26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7" name="Freeform 280">
                  <a:extLst>
                    <a:ext uri="{FF2B5EF4-FFF2-40B4-BE49-F238E27FC236}">
                      <a16:creationId xmlns:a16="http://schemas.microsoft.com/office/drawing/2014/main" id="{8ADE7845-D295-47F7-BF0C-EB0690C80D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67861" y="6153177"/>
                  <a:ext cx="11193" cy="7957"/>
                </a:xfrm>
                <a:custGeom>
                  <a:avLst/>
                  <a:gdLst>
                    <a:gd name="T0" fmla="*/ 9 w 9"/>
                    <a:gd name="T1" fmla="*/ 6 h 6"/>
                    <a:gd name="T2" fmla="*/ 5 w 9"/>
                    <a:gd name="T3" fmla="*/ 5 h 6"/>
                    <a:gd name="T4" fmla="*/ 3 w 9"/>
                    <a:gd name="T5" fmla="*/ 5 h 6"/>
                    <a:gd name="T6" fmla="*/ 0 w 9"/>
                    <a:gd name="T7" fmla="*/ 3 h 6"/>
                    <a:gd name="T8" fmla="*/ 5 w 9"/>
                    <a:gd name="T9" fmla="*/ 2 h 6"/>
                    <a:gd name="T10" fmla="*/ 9 w 9"/>
                    <a:gd name="T11" fmla="*/ 0 h 6"/>
                    <a:gd name="T12" fmla="*/ 9 w 9"/>
                    <a:gd name="T1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6">
                      <a:moveTo>
                        <a:pt x="9" y="6"/>
                      </a:moveTo>
                      <a:lnTo>
                        <a:pt x="5" y="5"/>
                      </a:lnTo>
                      <a:lnTo>
                        <a:pt x="3" y="5"/>
                      </a:lnTo>
                      <a:lnTo>
                        <a:pt x="0" y="3"/>
                      </a:lnTo>
                      <a:lnTo>
                        <a:pt x="5" y="2"/>
                      </a:lnTo>
                      <a:lnTo>
                        <a:pt x="9" y="0"/>
                      </a:lnTo>
                      <a:lnTo>
                        <a:pt x="9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8" name="Freeform 281">
                  <a:extLst>
                    <a:ext uri="{FF2B5EF4-FFF2-40B4-BE49-F238E27FC236}">
                      <a16:creationId xmlns:a16="http://schemas.microsoft.com/office/drawing/2014/main" id="{FA854EBC-3A1F-4CE9-8ECB-92C55B4906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9493" y="6352083"/>
                  <a:ext cx="96257" cy="68953"/>
                </a:xfrm>
                <a:custGeom>
                  <a:avLst/>
                  <a:gdLst>
                    <a:gd name="T0" fmla="*/ 11 w 87"/>
                    <a:gd name="T1" fmla="*/ 24 h 53"/>
                    <a:gd name="T2" fmla="*/ 7 w 87"/>
                    <a:gd name="T3" fmla="*/ 23 h 53"/>
                    <a:gd name="T4" fmla="*/ 2 w 87"/>
                    <a:gd name="T5" fmla="*/ 19 h 53"/>
                    <a:gd name="T6" fmla="*/ 0 w 87"/>
                    <a:gd name="T7" fmla="*/ 17 h 53"/>
                    <a:gd name="T8" fmla="*/ 0 w 87"/>
                    <a:gd name="T9" fmla="*/ 16 h 53"/>
                    <a:gd name="T10" fmla="*/ 2 w 87"/>
                    <a:gd name="T11" fmla="*/ 11 h 53"/>
                    <a:gd name="T12" fmla="*/ 5 w 87"/>
                    <a:gd name="T13" fmla="*/ 7 h 53"/>
                    <a:gd name="T14" fmla="*/ 8 w 87"/>
                    <a:gd name="T15" fmla="*/ 5 h 53"/>
                    <a:gd name="T16" fmla="*/ 10 w 87"/>
                    <a:gd name="T17" fmla="*/ 7 h 53"/>
                    <a:gd name="T18" fmla="*/ 14 w 87"/>
                    <a:gd name="T19" fmla="*/ 8 h 53"/>
                    <a:gd name="T20" fmla="*/ 16 w 87"/>
                    <a:gd name="T21" fmla="*/ 6 h 53"/>
                    <a:gd name="T22" fmla="*/ 19 w 87"/>
                    <a:gd name="T23" fmla="*/ 5 h 53"/>
                    <a:gd name="T24" fmla="*/ 23 w 87"/>
                    <a:gd name="T25" fmla="*/ 3 h 53"/>
                    <a:gd name="T26" fmla="*/ 25 w 87"/>
                    <a:gd name="T27" fmla="*/ 3 h 53"/>
                    <a:gd name="T28" fmla="*/ 30 w 87"/>
                    <a:gd name="T29" fmla="*/ 6 h 53"/>
                    <a:gd name="T30" fmla="*/ 35 w 87"/>
                    <a:gd name="T31" fmla="*/ 10 h 53"/>
                    <a:gd name="T32" fmla="*/ 40 w 87"/>
                    <a:gd name="T33" fmla="*/ 10 h 53"/>
                    <a:gd name="T34" fmla="*/ 47 w 87"/>
                    <a:gd name="T35" fmla="*/ 10 h 53"/>
                    <a:gd name="T36" fmla="*/ 55 w 87"/>
                    <a:gd name="T37" fmla="*/ 8 h 53"/>
                    <a:gd name="T38" fmla="*/ 58 w 87"/>
                    <a:gd name="T39" fmla="*/ 7 h 53"/>
                    <a:gd name="T40" fmla="*/ 61 w 87"/>
                    <a:gd name="T41" fmla="*/ 6 h 53"/>
                    <a:gd name="T42" fmla="*/ 64 w 87"/>
                    <a:gd name="T43" fmla="*/ 5 h 53"/>
                    <a:gd name="T44" fmla="*/ 67 w 87"/>
                    <a:gd name="T45" fmla="*/ 3 h 53"/>
                    <a:gd name="T46" fmla="*/ 72 w 87"/>
                    <a:gd name="T47" fmla="*/ 5 h 53"/>
                    <a:gd name="T48" fmla="*/ 73 w 87"/>
                    <a:gd name="T49" fmla="*/ 5 h 53"/>
                    <a:gd name="T50" fmla="*/ 75 w 87"/>
                    <a:gd name="T51" fmla="*/ 3 h 53"/>
                    <a:gd name="T52" fmla="*/ 78 w 87"/>
                    <a:gd name="T53" fmla="*/ 2 h 53"/>
                    <a:gd name="T54" fmla="*/ 82 w 87"/>
                    <a:gd name="T55" fmla="*/ 1 h 53"/>
                    <a:gd name="T56" fmla="*/ 84 w 87"/>
                    <a:gd name="T57" fmla="*/ 0 h 53"/>
                    <a:gd name="T58" fmla="*/ 87 w 87"/>
                    <a:gd name="T59" fmla="*/ 1 h 53"/>
                    <a:gd name="T60" fmla="*/ 82 w 87"/>
                    <a:gd name="T61" fmla="*/ 8 h 53"/>
                    <a:gd name="T62" fmla="*/ 78 w 87"/>
                    <a:gd name="T63" fmla="*/ 16 h 53"/>
                    <a:gd name="T64" fmla="*/ 77 w 87"/>
                    <a:gd name="T65" fmla="*/ 18 h 53"/>
                    <a:gd name="T66" fmla="*/ 74 w 87"/>
                    <a:gd name="T67" fmla="*/ 23 h 53"/>
                    <a:gd name="T68" fmla="*/ 73 w 87"/>
                    <a:gd name="T69" fmla="*/ 27 h 53"/>
                    <a:gd name="T70" fmla="*/ 73 w 87"/>
                    <a:gd name="T71" fmla="*/ 30 h 53"/>
                    <a:gd name="T72" fmla="*/ 74 w 87"/>
                    <a:gd name="T73" fmla="*/ 33 h 53"/>
                    <a:gd name="T74" fmla="*/ 77 w 87"/>
                    <a:gd name="T75" fmla="*/ 37 h 53"/>
                    <a:gd name="T76" fmla="*/ 78 w 87"/>
                    <a:gd name="T77" fmla="*/ 39 h 53"/>
                    <a:gd name="T78" fmla="*/ 78 w 87"/>
                    <a:gd name="T79" fmla="*/ 43 h 53"/>
                    <a:gd name="T80" fmla="*/ 74 w 87"/>
                    <a:gd name="T81" fmla="*/ 48 h 53"/>
                    <a:gd name="T82" fmla="*/ 73 w 87"/>
                    <a:gd name="T83" fmla="*/ 50 h 53"/>
                    <a:gd name="T84" fmla="*/ 74 w 87"/>
                    <a:gd name="T85" fmla="*/ 53 h 53"/>
                    <a:gd name="T86" fmla="*/ 67 w 87"/>
                    <a:gd name="T87" fmla="*/ 53 h 53"/>
                    <a:gd name="T88" fmla="*/ 61 w 87"/>
                    <a:gd name="T89" fmla="*/ 51 h 53"/>
                    <a:gd name="T90" fmla="*/ 57 w 87"/>
                    <a:gd name="T91" fmla="*/ 49 h 53"/>
                    <a:gd name="T92" fmla="*/ 55 w 87"/>
                    <a:gd name="T93" fmla="*/ 46 h 53"/>
                    <a:gd name="T94" fmla="*/ 52 w 87"/>
                    <a:gd name="T95" fmla="*/ 43 h 53"/>
                    <a:gd name="T96" fmla="*/ 48 w 87"/>
                    <a:gd name="T97" fmla="*/ 40 h 53"/>
                    <a:gd name="T98" fmla="*/ 40 w 87"/>
                    <a:gd name="T99" fmla="*/ 38 h 53"/>
                    <a:gd name="T100" fmla="*/ 30 w 87"/>
                    <a:gd name="T101" fmla="*/ 34 h 53"/>
                    <a:gd name="T102" fmla="*/ 26 w 87"/>
                    <a:gd name="T103" fmla="*/ 32 h 53"/>
                    <a:gd name="T104" fmla="*/ 21 w 87"/>
                    <a:gd name="T105" fmla="*/ 28 h 53"/>
                    <a:gd name="T106" fmla="*/ 16 w 87"/>
                    <a:gd name="T107" fmla="*/ 26 h 53"/>
                    <a:gd name="T108" fmla="*/ 11 w 87"/>
                    <a:gd name="T109" fmla="*/ 24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87" h="53">
                      <a:moveTo>
                        <a:pt x="11" y="24"/>
                      </a:moveTo>
                      <a:lnTo>
                        <a:pt x="7" y="23"/>
                      </a:lnTo>
                      <a:lnTo>
                        <a:pt x="2" y="19"/>
                      </a:lnTo>
                      <a:lnTo>
                        <a:pt x="0" y="17"/>
                      </a:lnTo>
                      <a:lnTo>
                        <a:pt x="0" y="16"/>
                      </a:lnTo>
                      <a:lnTo>
                        <a:pt x="2" y="11"/>
                      </a:lnTo>
                      <a:lnTo>
                        <a:pt x="5" y="7"/>
                      </a:lnTo>
                      <a:lnTo>
                        <a:pt x="8" y="5"/>
                      </a:lnTo>
                      <a:lnTo>
                        <a:pt x="10" y="7"/>
                      </a:lnTo>
                      <a:lnTo>
                        <a:pt x="14" y="8"/>
                      </a:lnTo>
                      <a:lnTo>
                        <a:pt x="16" y="6"/>
                      </a:lnTo>
                      <a:lnTo>
                        <a:pt x="19" y="5"/>
                      </a:lnTo>
                      <a:lnTo>
                        <a:pt x="23" y="3"/>
                      </a:lnTo>
                      <a:lnTo>
                        <a:pt x="25" y="3"/>
                      </a:lnTo>
                      <a:lnTo>
                        <a:pt x="30" y="6"/>
                      </a:lnTo>
                      <a:lnTo>
                        <a:pt x="35" y="10"/>
                      </a:lnTo>
                      <a:lnTo>
                        <a:pt x="40" y="10"/>
                      </a:lnTo>
                      <a:lnTo>
                        <a:pt x="47" y="10"/>
                      </a:lnTo>
                      <a:lnTo>
                        <a:pt x="55" y="8"/>
                      </a:lnTo>
                      <a:lnTo>
                        <a:pt x="58" y="7"/>
                      </a:lnTo>
                      <a:lnTo>
                        <a:pt x="61" y="6"/>
                      </a:lnTo>
                      <a:lnTo>
                        <a:pt x="64" y="5"/>
                      </a:lnTo>
                      <a:lnTo>
                        <a:pt x="67" y="3"/>
                      </a:lnTo>
                      <a:lnTo>
                        <a:pt x="72" y="5"/>
                      </a:lnTo>
                      <a:lnTo>
                        <a:pt x="73" y="5"/>
                      </a:lnTo>
                      <a:lnTo>
                        <a:pt x="75" y="3"/>
                      </a:lnTo>
                      <a:lnTo>
                        <a:pt x="78" y="2"/>
                      </a:lnTo>
                      <a:lnTo>
                        <a:pt x="82" y="1"/>
                      </a:lnTo>
                      <a:lnTo>
                        <a:pt x="84" y="0"/>
                      </a:lnTo>
                      <a:lnTo>
                        <a:pt x="87" y="1"/>
                      </a:lnTo>
                      <a:lnTo>
                        <a:pt x="82" y="8"/>
                      </a:lnTo>
                      <a:lnTo>
                        <a:pt x="78" y="16"/>
                      </a:lnTo>
                      <a:lnTo>
                        <a:pt x="77" y="18"/>
                      </a:lnTo>
                      <a:lnTo>
                        <a:pt x="74" y="23"/>
                      </a:lnTo>
                      <a:lnTo>
                        <a:pt x="73" y="27"/>
                      </a:lnTo>
                      <a:lnTo>
                        <a:pt x="73" y="30"/>
                      </a:lnTo>
                      <a:lnTo>
                        <a:pt x="74" y="33"/>
                      </a:lnTo>
                      <a:lnTo>
                        <a:pt x="77" y="37"/>
                      </a:lnTo>
                      <a:lnTo>
                        <a:pt x="78" y="39"/>
                      </a:lnTo>
                      <a:lnTo>
                        <a:pt x="78" y="43"/>
                      </a:lnTo>
                      <a:lnTo>
                        <a:pt x="74" y="48"/>
                      </a:lnTo>
                      <a:lnTo>
                        <a:pt x="73" y="50"/>
                      </a:lnTo>
                      <a:lnTo>
                        <a:pt x="74" y="53"/>
                      </a:lnTo>
                      <a:lnTo>
                        <a:pt x="67" y="53"/>
                      </a:lnTo>
                      <a:lnTo>
                        <a:pt x="61" y="51"/>
                      </a:lnTo>
                      <a:lnTo>
                        <a:pt x="57" y="49"/>
                      </a:lnTo>
                      <a:lnTo>
                        <a:pt x="55" y="46"/>
                      </a:lnTo>
                      <a:lnTo>
                        <a:pt x="52" y="43"/>
                      </a:lnTo>
                      <a:lnTo>
                        <a:pt x="48" y="40"/>
                      </a:lnTo>
                      <a:lnTo>
                        <a:pt x="40" y="38"/>
                      </a:lnTo>
                      <a:lnTo>
                        <a:pt x="30" y="34"/>
                      </a:lnTo>
                      <a:lnTo>
                        <a:pt x="26" y="32"/>
                      </a:lnTo>
                      <a:lnTo>
                        <a:pt x="21" y="28"/>
                      </a:lnTo>
                      <a:lnTo>
                        <a:pt x="16" y="26"/>
                      </a:lnTo>
                      <a:lnTo>
                        <a:pt x="11" y="2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9" name="Freeform 306">
                  <a:extLst>
                    <a:ext uri="{FF2B5EF4-FFF2-40B4-BE49-F238E27FC236}">
                      <a16:creationId xmlns:a16="http://schemas.microsoft.com/office/drawing/2014/main" id="{38AC6333-6BF9-4B89-9F98-4295358A47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52191" y="5890621"/>
                  <a:ext cx="219374" cy="111387"/>
                </a:xfrm>
                <a:custGeom>
                  <a:avLst/>
                  <a:gdLst>
                    <a:gd name="T0" fmla="*/ 2 w 196"/>
                    <a:gd name="T1" fmla="*/ 51 h 83"/>
                    <a:gd name="T2" fmla="*/ 2 w 196"/>
                    <a:gd name="T3" fmla="*/ 48 h 83"/>
                    <a:gd name="T4" fmla="*/ 14 w 196"/>
                    <a:gd name="T5" fmla="*/ 49 h 83"/>
                    <a:gd name="T6" fmla="*/ 17 w 196"/>
                    <a:gd name="T7" fmla="*/ 55 h 83"/>
                    <a:gd name="T8" fmla="*/ 24 w 196"/>
                    <a:gd name="T9" fmla="*/ 45 h 83"/>
                    <a:gd name="T10" fmla="*/ 35 w 196"/>
                    <a:gd name="T11" fmla="*/ 48 h 83"/>
                    <a:gd name="T12" fmla="*/ 40 w 196"/>
                    <a:gd name="T13" fmla="*/ 50 h 83"/>
                    <a:gd name="T14" fmla="*/ 45 w 196"/>
                    <a:gd name="T15" fmla="*/ 50 h 83"/>
                    <a:gd name="T16" fmla="*/ 59 w 196"/>
                    <a:gd name="T17" fmla="*/ 44 h 83"/>
                    <a:gd name="T18" fmla="*/ 67 w 196"/>
                    <a:gd name="T19" fmla="*/ 42 h 83"/>
                    <a:gd name="T20" fmla="*/ 78 w 196"/>
                    <a:gd name="T21" fmla="*/ 43 h 83"/>
                    <a:gd name="T22" fmla="*/ 86 w 196"/>
                    <a:gd name="T23" fmla="*/ 47 h 83"/>
                    <a:gd name="T24" fmla="*/ 91 w 196"/>
                    <a:gd name="T25" fmla="*/ 45 h 83"/>
                    <a:gd name="T26" fmla="*/ 88 w 196"/>
                    <a:gd name="T27" fmla="*/ 40 h 83"/>
                    <a:gd name="T28" fmla="*/ 86 w 196"/>
                    <a:gd name="T29" fmla="*/ 33 h 83"/>
                    <a:gd name="T30" fmla="*/ 85 w 196"/>
                    <a:gd name="T31" fmla="*/ 27 h 83"/>
                    <a:gd name="T32" fmla="*/ 98 w 196"/>
                    <a:gd name="T33" fmla="*/ 21 h 83"/>
                    <a:gd name="T34" fmla="*/ 101 w 196"/>
                    <a:gd name="T35" fmla="*/ 15 h 83"/>
                    <a:gd name="T36" fmla="*/ 107 w 196"/>
                    <a:gd name="T37" fmla="*/ 12 h 83"/>
                    <a:gd name="T38" fmla="*/ 110 w 196"/>
                    <a:gd name="T39" fmla="*/ 6 h 83"/>
                    <a:gd name="T40" fmla="*/ 121 w 196"/>
                    <a:gd name="T41" fmla="*/ 13 h 83"/>
                    <a:gd name="T42" fmla="*/ 131 w 196"/>
                    <a:gd name="T43" fmla="*/ 13 h 83"/>
                    <a:gd name="T44" fmla="*/ 136 w 196"/>
                    <a:gd name="T45" fmla="*/ 7 h 83"/>
                    <a:gd name="T46" fmla="*/ 140 w 196"/>
                    <a:gd name="T47" fmla="*/ 0 h 83"/>
                    <a:gd name="T48" fmla="*/ 157 w 196"/>
                    <a:gd name="T49" fmla="*/ 3 h 83"/>
                    <a:gd name="T50" fmla="*/ 169 w 196"/>
                    <a:gd name="T51" fmla="*/ 8 h 83"/>
                    <a:gd name="T52" fmla="*/ 184 w 196"/>
                    <a:gd name="T53" fmla="*/ 7 h 83"/>
                    <a:gd name="T54" fmla="*/ 190 w 196"/>
                    <a:gd name="T55" fmla="*/ 15 h 83"/>
                    <a:gd name="T56" fmla="*/ 193 w 196"/>
                    <a:gd name="T57" fmla="*/ 27 h 83"/>
                    <a:gd name="T58" fmla="*/ 196 w 196"/>
                    <a:gd name="T59" fmla="*/ 33 h 83"/>
                    <a:gd name="T60" fmla="*/ 192 w 196"/>
                    <a:gd name="T61" fmla="*/ 43 h 83"/>
                    <a:gd name="T62" fmla="*/ 184 w 196"/>
                    <a:gd name="T63" fmla="*/ 42 h 83"/>
                    <a:gd name="T64" fmla="*/ 180 w 196"/>
                    <a:gd name="T65" fmla="*/ 43 h 83"/>
                    <a:gd name="T66" fmla="*/ 184 w 196"/>
                    <a:gd name="T67" fmla="*/ 48 h 83"/>
                    <a:gd name="T68" fmla="*/ 178 w 196"/>
                    <a:gd name="T69" fmla="*/ 56 h 83"/>
                    <a:gd name="T70" fmla="*/ 176 w 196"/>
                    <a:gd name="T71" fmla="*/ 65 h 83"/>
                    <a:gd name="T72" fmla="*/ 168 w 196"/>
                    <a:gd name="T73" fmla="*/ 74 h 83"/>
                    <a:gd name="T74" fmla="*/ 161 w 196"/>
                    <a:gd name="T75" fmla="*/ 75 h 83"/>
                    <a:gd name="T76" fmla="*/ 149 w 196"/>
                    <a:gd name="T77" fmla="*/ 76 h 83"/>
                    <a:gd name="T78" fmla="*/ 137 w 196"/>
                    <a:gd name="T79" fmla="*/ 80 h 83"/>
                    <a:gd name="T80" fmla="*/ 128 w 196"/>
                    <a:gd name="T81" fmla="*/ 83 h 83"/>
                    <a:gd name="T82" fmla="*/ 112 w 196"/>
                    <a:gd name="T83" fmla="*/ 80 h 83"/>
                    <a:gd name="T84" fmla="*/ 80 w 196"/>
                    <a:gd name="T85" fmla="*/ 76 h 83"/>
                    <a:gd name="T86" fmla="*/ 69 w 196"/>
                    <a:gd name="T87" fmla="*/ 66 h 83"/>
                    <a:gd name="T88" fmla="*/ 67 w 196"/>
                    <a:gd name="T89" fmla="*/ 62 h 83"/>
                    <a:gd name="T90" fmla="*/ 51 w 196"/>
                    <a:gd name="T91" fmla="*/ 65 h 83"/>
                    <a:gd name="T92" fmla="*/ 40 w 196"/>
                    <a:gd name="T93" fmla="*/ 70 h 83"/>
                    <a:gd name="T94" fmla="*/ 26 w 196"/>
                    <a:gd name="T95" fmla="*/ 69 h 83"/>
                    <a:gd name="T96" fmla="*/ 24 w 196"/>
                    <a:gd name="T97" fmla="*/ 65 h 83"/>
                    <a:gd name="T98" fmla="*/ 18 w 196"/>
                    <a:gd name="T99" fmla="*/ 69 h 83"/>
                    <a:gd name="T100" fmla="*/ 10 w 196"/>
                    <a:gd name="T101" fmla="*/ 66 h 83"/>
                    <a:gd name="T102" fmla="*/ 1 w 196"/>
                    <a:gd name="T103" fmla="*/ 62 h 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96" h="83">
                      <a:moveTo>
                        <a:pt x="0" y="55"/>
                      </a:moveTo>
                      <a:lnTo>
                        <a:pt x="2" y="53"/>
                      </a:lnTo>
                      <a:lnTo>
                        <a:pt x="2" y="51"/>
                      </a:lnTo>
                      <a:lnTo>
                        <a:pt x="2" y="50"/>
                      </a:lnTo>
                      <a:lnTo>
                        <a:pt x="1" y="48"/>
                      </a:lnTo>
                      <a:lnTo>
                        <a:pt x="2" y="48"/>
                      </a:lnTo>
                      <a:lnTo>
                        <a:pt x="5" y="48"/>
                      </a:lnTo>
                      <a:lnTo>
                        <a:pt x="11" y="48"/>
                      </a:lnTo>
                      <a:lnTo>
                        <a:pt x="14" y="49"/>
                      </a:lnTo>
                      <a:lnTo>
                        <a:pt x="17" y="50"/>
                      </a:lnTo>
                      <a:lnTo>
                        <a:pt x="17" y="53"/>
                      </a:lnTo>
                      <a:lnTo>
                        <a:pt x="17" y="55"/>
                      </a:lnTo>
                      <a:lnTo>
                        <a:pt x="21" y="55"/>
                      </a:lnTo>
                      <a:lnTo>
                        <a:pt x="22" y="53"/>
                      </a:lnTo>
                      <a:lnTo>
                        <a:pt x="24" y="45"/>
                      </a:lnTo>
                      <a:lnTo>
                        <a:pt x="27" y="47"/>
                      </a:lnTo>
                      <a:lnTo>
                        <a:pt x="29" y="48"/>
                      </a:lnTo>
                      <a:lnTo>
                        <a:pt x="35" y="48"/>
                      </a:lnTo>
                      <a:lnTo>
                        <a:pt x="35" y="49"/>
                      </a:lnTo>
                      <a:lnTo>
                        <a:pt x="38" y="50"/>
                      </a:lnTo>
                      <a:lnTo>
                        <a:pt x="40" y="50"/>
                      </a:lnTo>
                      <a:lnTo>
                        <a:pt x="42" y="50"/>
                      </a:lnTo>
                      <a:lnTo>
                        <a:pt x="43" y="51"/>
                      </a:lnTo>
                      <a:lnTo>
                        <a:pt x="45" y="50"/>
                      </a:lnTo>
                      <a:lnTo>
                        <a:pt x="49" y="48"/>
                      </a:lnTo>
                      <a:lnTo>
                        <a:pt x="53" y="47"/>
                      </a:lnTo>
                      <a:lnTo>
                        <a:pt x="59" y="44"/>
                      </a:lnTo>
                      <a:lnTo>
                        <a:pt x="64" y="44"/>
                      </a:lnTo>
                      <a:lnTo>
                        <a:pt x="69" y="45"/>
                      </a:lnTo>
                      <a:lnTo>
                        <a:pt x="67" y="42"/>
                      </a:lnTo>
                      <a:lnTo>
                        <a:pt x="74" y="43"/>
                      </a:lnTo>
                      <a:lnTo>
                        <a:pt x="76" y="44"/>
                      </a:lnTo>
                      <a:lnTo>
                        <a:pt x="78" y="43"/>
                      </a:lnTo>
                      <a:lnTo>
                        <a:pt x="82" y="43"/>
                      </a:lnTo>
                      <a:lnTo>
                        <a:pt x="85" y="44"/>
                      </a:lnTo>
                      <a:lnTo>
                        <a:pt x="86" y="47"/>
                      </a:lnTo>
                      <a:lnTo>
                        <a:pt x="88" y="48"/>
                      </a:lnTo>
                      <a:lnTo>
                        <a:pt x="89" y="48"/>
                      </a:lnTo>
                      <a:lnTo>
                        <a:pt x="91" y="45"/>
                      </a:lnTo>
                      <a:lnTo>
                        <a:pt x="91" y="43"/>
                      </a:lnTo>
                      <a:lnTo>
                        <a:pt x="89" y="42"/>
                      </a:lnTo>
                      <a:lnTo>
                        <a:pt x="88" y="40"/>
                      </a:lnTo>
                      <a:lnTo>
                        <a:pt x="87" y="39"/>
                      </a:lnTo>
                      <a:lnTo>
                        <a:pt x="88" y="35"/>
                      </a:lnTo>
                      <a:lnTo>
                        <a:pt x="86" y="33"/>
                      </a:lnTo>
                      <a:lnTo>
                        <a:pt x="85" y="31"/>
                      </a:lnTo>
                      <a:lnTo>
                        <a:pt x="83" y="28"/>
                      </a:lnTo>
                      <a:lnTo>
                        <a:pt x="85" y="27"/>
                      </a:lnTo>
                      <a:lnTo>
                        <a:pt x="89" y="24"/>
                      </a:lnTo>
                      <a:lnTo>
                        <a:pt x="94" y="23"/>
                      </a:lnTo>
                      <a:lnTo>
                        <a:pt x="98" y="21"/>
                      </a:lnTo>
                      <a:lnTo>
                        <a:pt x="99" y="19"/>
                      </a:lnTo>
                      <a:lnTo>
                        <a:pt x="101" y="17"/>
                      </a:lnTo>
                      <a:lnTo>
                        <a:pt x="101" y="15"/>
                      </a:lnTo>
                      <a:lnTo>
                        <a:pt x="103" y="15"/>
                      </a:lnTo>
                      <a:lnTo>
                        <a:pt x="107" y="15"/>
                      </a:lnTo>
                      <a:lnTo>
                        <a:pt x="107" y="12"/>
                      </a:lnTo>
                      <a:lnTo>
                        <a:pt x="107" y="8"/>
                      </a:lnTo>
                      <a:lnTo>
                        <a:pt x="107" y="5"/>
                      </a:lnTo>
                      <a:lnTo>
                        <a:pt x="110" y="6"/>
                      </a:lnTo>
                      <a:lnTo>
                        <a:pt x="114" y="10"/>
                      </a:lnTo>
                      <a:lnTo>
                        <a:pt x="118" y="12"/>
                      </a:lnTo>
                      <a:lnTo>
                        <a:pt x="121" y="13"/>
                      </a:lnTo>
                      <a:lnTo>
                        <a:pt x="126" y="12"/>
                      </a:lnTo>
                      <a:lnTo>
                        <a:pt x="130" y="12"/>
                      </a:lnTo>
                      <a:lnTo>
                        <a:pt x="131" y="13"/>
                      </a:lnTo>
                      <a:lnTo>
                        <a:pt x="133" y="13"/>
                      </a:lnTo>
                      <a:lnTo>
                        <a:pt x="134" y="10"/>
                      </a:lnTo>
                      <a:lnTo>
                        <a:pt x="136" y="7"/>
                      </a:lnTo>
                      <a:lnTo>
                        <a:pt x="139" y="6"/>
                      </a:lnTo>
                      <a:lnTo>
                        <a:pt x="139" y="5"/>
                      </a:lnTo>
                      <a:lnTo>
                        <a:pt x="140" y="0"/>
                      </a:lnTo>
                      <a:lnTo>
                        <a:pt x="144" y="0"/>
                      </a:lnTo>
                      <a:lnTo>
                        <a:pt x="149" y="1"/>
                      </a:lnTo>
                      <a:lnTo>
                        <a:pt x="157" y="3"/>
                      </a:lnTo>
                      <a:lnTo>
                        <a:pt x="160" y="5"/>
                      </a:lnTo>
                      <a:lnTo>
                        <a:pt x="165" y="6"/>
                      </a:lnTo>
                      <a:lnTo>
                        <a:pt x="169" y="8"/>
                      </a:lnTo>
                      <a:lnTo>
                        <a:pt x="174" y="8"/>
                      </a:lnTo>
                      <a:lnTo>
                        <a:pt x="179" y="7"/>
                      </a:lnTo>
                      <a:lnTo>
                        <a:pt x="184" y="7"/>
                      </a:lnTo>
                      <a:lnTo>
                        <a:pt x="188" y="8"/>
                      </a:lnTo>
                      <a:lnTo>
                        <a:pt x="190" y="12"/>
                      </a:lnTo>
                      <a:lnTo>
                        <a:pt x="190" y="15"/>
                      </a:lnTo>
                      <a:lnTo>
                        <a:pt x="190" y="18"/>
                      </a:lnTo>
                      <a:lnTo>
                        <a:pt x="192" y="23"/>
                      </a:lnTo>
                      <a:lnTo>
                        <a:pt x="193" y="27"/>
                      </a:lnTo>
                      <a:lnTo>
                        <a:pt x="195" y="31"/>
                      </a:lnTo>
                      <a:lnTo>
                        <a:pt x="196" y="32"/>
                      </a:lnTo>
                      <a:lnTo>
                        <a:pt x="196" y="33"/>
                      </a:lnTo>
                      <a:lnTo>
                        <a:pt x="195" y="35"/>
                      </a:lnTo>
                      <a:lnTo>
                        <a:pt x="192" y="40"/>
                      </a:lnTo>
                      <a:lnTo>
                        <a:pt x="192" y="43"/>
                      </a:lnTo>
                      <a:lnTo>
                        <a:pt x="190" y="44"/>
                      </a:lnTo>
                      <a:lnTo>
                        <a:pt x="188" y="43"/>
                      </a:lnTo>
                      <a:lnTo>
                        <a:pt x="184" y="42"/>
                      </a:lnTo>
                      <a:lnTo>
                        <a:pt x="180" y="42"/>
                      </a:lnTo>
                      <a:lnTo>
                        <a:pt x="179" y="42"/>
                      </a:lnTo>
                      <a:lnTo>
                        <a:pt x="180" y="43"/>
                      </a:lnTo>
                      <a:lnTo>
                        <a:pt x="183" y="44"/>
                      </a:lnTo>
                      <a:lnTo>
                        <a:pt x="185" y="47"/>
                      </a:lnTo>
                      <a:lnTo>
                        <a:pt x="184" y="48"/>
                      </a:lnTo>
                      <a:lnTo>
                        <a:pt x="183" y="49"/>
                      </a:lnTo>
                      <a:lnTo>
                        <a:pt x="179" y="53"/>
                      </a:lnTo>
                      <a:lnTo>
                        <a:pt x="178" y="56"/>
                      </a:lnTo>
                      <a:lnTo>
                        <a:pt x="179" y="60"/>
                      </a:lnTo>
                      <a:lnTo>
                        <a:pt x="179" y="65"/>
                      </a:lnTo>
                      <a:lnTo>
                        <a:pt x="176" y="65"/>
                      </a:lnTo>
                      <a:lnTo>
                        <a:pt x="172" y="67"/>
                      </a:lnTo>
                      <a:lnTo>
                        <a:pt x="168" y="71"/>
                      </a:lnTo>
                      <a:lnTo>
                        <a:pt x="168" y="74"/>
                      </a:lnTo>
                      <a:lnTo>
                        <a:pt x="168" y="75"/>
                      </a:lnTo>
                      <a:lnTo>
                        <a:pt x="165" y="74"/>
                      </a:lnTo>
                      <a:lnTo>
                        <a:pt x="161" y="75"/>
                      </a:lnTo>
                      <a:lnTo>
                        <a:pt x="157" y="76"/>
                      </a:lnTo>
                      <a:lnTo>
                        <a:pt x="153" y="76"/>
                      </a:lnTo>
                      <a:lnTo>
                        <a:pt x="149" y="76"/>
                      </a:lnTo>
                      <a:lnTo>
                        <a:pt x="144" y="76"/>
                      </a:lnTo>
                      <a:lnTo>
                        <a:pt x="141" y="77"/>
                      </a:lnTo>
                      <a:lnTo>
                        <a:pt x="137" y="80"/>
                      </a:lnTo>
                      <a:lnTo>
                        <a:pt x="134" y="82"/>
                      </a:lnTo>
                      <a:lnTo>
                        <a:pt x="131" y="83"/>
                      </a:lnTo>
                      <a:lnTo>
                        <a:pt x="128" y="83"/>
                      </a:lnTo>
                      <a:lnTo>
                        <a:pt x="121" y="83"/>
                      </a:lnTo>
                      <a:lnTo>
                        <a:pt x="117" y="81"/>
                      </a:lnTo>
                      <a:lnTo>
                        <a:pt x="112" y="80"/>
                      </a:lnTo>
                      <a:lnTo>
                        <a:pt x="96" y="78"/>
                      </a:lnTo>
                      <a:lnTo>
                        <a:pt x="88" y="78"/>
                      </a:lnTo>
                      <a:lnTo>
                        <a:pt x="80" y="76"/>
                      </a:lnTo>
                      <a:lnTo>
                        <a:pt x="76" y="75"/>
                      </a:lnTo>
                      <a:lnTo>
                        <a:pt x="71" y="70"/>
                      </a:lnTo>
                      <a:lnTo>
                        <a:pt x="69" y="66"/>
                      </a:lnTo>
                      <a:lnTo>
                        <a:pt x="69" y="64"/>
                      </a:lnTo>
                      <a:lnTo>
                        <a:pt x="70" y="62"/>
                      </a:lnTo>
                      <a:lnTo>
                        <a:pt x="67" y="62"/>
                      </a:lnTo>
                      <a:lnTo>
                        <a:pt x="65" y="62"/>
                      </a:lnTo>
                      <a:lnTo>
                        <a:pt x="59" y="65"/>
                      </a:lnTo>
                      <a:lnTo>
                        <a:pt x="51" y="65"/>
                      </a:lnTo>
                      <a:lnTo>
                        <a:pt x="44" y="66"/>
                      </a:lnTo>
                      <a:lnTo>
                        <a:pt x="43" y="67"/>
                      </a:lnTo>
                      <a:lnTo>
                        <a:pt x="40" y="70"/>
                      </a:lnTo>
                      <a:lnTo>
                        <a:pt x="38" y="71"/>
                      </a:lnTo>
                      <a:lnTo>
                        <a:pt x="35" y="71"/>
                      </a:lnTo>
                      <a:lnTo>
                        <a:pt x="26" y="69"/>
                      </a:lnTo>
                      <a:lnTo>
                        <a:pt x="24" y="69"/>
                      </a:lnTo>
                      <a:lnTo>
                        <a:pt x="24" y="66"/>
                      </a:lnTo>
                      <a:lnTo>
                        <a:pt x="24" y="65"/>
                      </a:lnTo>
                      <a:lnTo>
                        <a:pt x="23" y="65"/>
                      </a:lnTo>
                      <a:lnTo>
                        <a:pt x="21" y="66"/>
                      </a:lnTo>
                      <a:lnTo>
                        <a:pt x="18" y="69"/>
                      </a:lnTo>
                      <a:lnTo>
                        <a:pt x="16" y="69"/>
                      </a:lnTo>
                      <a:lnTo>
                        <a:pt x="12" y="69"/>
                      </a:lnTo>
                      <a:lnTo>
                        <a:pt x="10" y="66"/>
                      </a:lnTo>
                      <a:lnTo>
                        <a:pt x="7" y="65"/>
                      </a:lnTo>
                      <a:lnTo>
                        <a:pt x="3" y="62"/>
                      </a:lnTo>
                      <a:lnTo>
                        <a:pt x="1" y="62"/>
                      </a:lnTo>
                      <a:lnTo>
                        <a:pt x="2" y="59"/>
                      </a:lnTo>
                      <a:lnTo>
                        <a:pt x="0" y="55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0" name="Freeform 307">
                  <a:extLst>
                    <a:ext uri="{FF2B5EF4-FFF2-40B4-BE49-F238E27FC236}">
                      <a16:creationId xmlns:a16="http://schemas.microsoft.com/office/drawing/2014/main" id="{A5079D6D-D2F4-444F-96B5-92B0F6EFAE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03677" y="5506071"/>
                  <a:ext cx="11193" cy="5304"/>
                </a:xfrm>
                <a:custGeom>
                  <a:avLst/>
                  <a:gdLst>
                    <a:gd name="T0" fmla="*/ 7 w 10"/>
                    <a:gd name="T1" fmla="*/ 0 h 5"/>
                    <a:gd name="T2" fmla="*/ 0 w 10"/>
                    <a:gd name="T3" fmla="*/ 3 h 5"/>
                    <a:gd name="T4" fmla="*/ 3 w 10"/>
                    <a:gd name="T5" fmla="*/ 5 h 5"/>
                    <a:gd name="T6" fmla="*/ 5 w 10"/>
                    <a:gd name="T7" fmla="*/ 5 h 5"/>
                    <a:gd name="T8" fmla="*/ 8 w 10"/>
                    <a:gd name="T9" fmla="*/ 5 h 5"/>
                    <a:gd name="T10" fmla="*/ 10 w 10"/>
                    <a:gd name="T11" fmla="*/ 3 h 5"/>
                    <a:gd name="T12" fmla="*/ 10 w 10"/>
                    <a:gd name="T13" fmla="*/ 1 h 5"/>
                    <a:gd name="T14" fmla="*/ 9 w 10"/>
                    <a:gd name="T15" fmla="*/ 0 h 5"/>
                    <a:gd name="T16" fmla="*/ 8 w 10"/>
                    <a:gd name="T17" fmla="*/ 0 h 5"/>
                    <a:gd name="T18" fmla="*/ 7 w 10"/>
                    <a:gd name="T19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0" h="5">
                      <a:moveTo>
                        <a:pt x="7" y="0"/>
                      </a:moveTo>
                      <a:lnTo>
                        <a:pt x="0" y="3"/>
                      </a:lnTo>
                      <a:lnTo>
                        <a:pt x="3" y="5"/>
                      </a:lnTo>
                      <a:lnTo>
                        <a:pt x="5" y="5"/>
                      </a:lnTo>
                      <a:lnTo>
                        <a:pt x="8" y="5"/>
                      </a:lnTo>
                      <a:lnTo>
                        <a:pt x="10" y="3"/>
                      </a:lnTo>
                      <a:lnTo>
                        <a:pt x="10" y="1"/>
                      </a:lnTo>
                      <a:lnTo>
                        <a:pt x="9" y="0"/>
                      </a:lnTo>
                      <a:lnTo>
                        <a:pt x="8" y="0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1" name="Freeform 308">
                  <a:extLst>
                    <a:ext uri="{FF2B5EF4-FFF2-40B4-BE49-F238E27FC236}">
                      <a16:creationId xmlns:a16="http://schemas.microsoft.com/office/drawing/2014/main" id="{E8694378-BC22-4BBB-9EB8-C19E3CC21F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05915" y="5514027"/>
                  <a:ext cx="8954" cy="2653"/>
                </a:xfrm>
                <a:custGeom>
                  <a:avLst/>
                  <a:gdLst>
                    <a:gd name="T0" fmla="*/ 2 w 6"/>
                    <a:gd name="T1" fmla="*/ 0 h 2"/>
                    <a:gd name="T2" fmla="*/ 0 w 6"/>
                    <a:gd name="T3" fmla="*/ 2 h 2"/>
                    <a:gd name="T4" fmla="*/ 4 w 6"/>
                    <a:gd name="T5" fmla="*/ 2 h 2"/>
                    <a:gd name="T6" fmla="*/ 6 w 6"/>
                    <a:gd name="T7" fmla="*/ 0 h 2"/>
                    <a:gd name="T8" fmla="*/ 2 w 6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2"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6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2" name="Freeform 309">
                  <a:extLst>
                    <a:ext uri="{FF2B5EF4-FFF2-40B4-BE49-F238E27FC236}">
                      <a16:creationId xmlns:a16="http://schemas.microsoft.com/office/drawing/2014/main" id="{F25D43B4-6100-4184-BD95-3940D8106E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37988" y="5543199"/>
                  <a:ext cx="17908" cy="45086"/>
                </a:xfrm>
                <a:custGeom>
                  <a:avLst/>
                  <a:gdLst>
                    <a:gd name="T0" fmla="*/ 0 w 16"/>
                    <a:gd name="T1" fmla="*/ 28 h 33"/>
                    <a:gd name="T2" fmla="*/ 0 w 16"/>
                    <a:gd name="T3" fmla="*/ 33 h 33"/>
                    <a:gd name="T4" fmla="*/ 2 w 16"/>
                    <a:gd name="T5" fmla="*/ 31 h 33"/>
                    <a:gd name="T6" fmla="*/ 5 w 16"/>
                    <a:gd name="T7" fmla="*/ 27 h 33"/>
                    <a:gd name="T8" fmla="*/ 6 w 16"/>
                    <a:gd name="T9" fmla="*/ 23 h 33"/>
                    <a:gd name="T10" fmla="*/ 7 w 16"/>
                    <a:gd name="T11" fmla="*/ 20 h 33"/>
                    <a:gd name="T12" fmla="*/ 11 w 16"/>
                    <a:gd name="T13" fmla="*/ 10 h 33"/>
                    <a:gd name="T14" fmla="*/ 16 w 16"/>
                    <a:gd name="T15" fmla="*/ 0 h 33"/>
                    <a:gd name="T16" fmla="*/ 12 w 16"/>
                    <a:gd name="T17" fmla="*/ 1 h 33"/>
                    <a:gd name="T18" fmla="*/ 11 w 16"/>
                    <a:gd name="T19" fmla="*/ 5 h 33"/>
                    <a:gd name="T20" fmla="*/ 10 w 16"/>
                    <a:gd name="T21" fmla="*/ 9 h 33"/>
                    <a:gd name="T22" fmla="*/ 7 w 16"/>
                    <a:gd name="T23" fmla="*/ 11 h 33"/>
                    <a:gd name="T24" fmla="*/ 5 w 16"/>
                    <a:gd name="T25" fmla="*/ 15 h 33"/>
                    <a:gd name="T26" fmla="*/ 2 w 16"/>
                    <a:gd name="T27" fmla="*/ 18 h 33"/>
                    <a:gd name="T28" fmla="*/ 0 w 16"/>
                    <a:gd name="T29" fmla="*/ 23 h 33"/>
                    <a:gd name="T30" fmla="*/ 0 w 16"/>
                    <a:gd name="T31" fmla="*/ 28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6" h="33">
                      <a:moveTo>
                        <a:pt x="0" y="28"/>
                      </a:moveTo>
                      <a:lnTo>
                        <a:pt x="0" y="33"/>
                      </a:lnTo>
                      <a:lnTo>
                        <a:pt x="2" y="31"/>
                      </a:lnTo>
                      <a:lnTo>
                        <a:pt x="5" y="27"/>
                      </a:lnTo>
                      <a:lnTo>
                        <a:pt x="6" y="23"/>
                      </a:lnTo>
                      <a:lnTo>
                        <a:pt x="7" y="20"/>
                      </a:lnTo>
                      <a:lnTo>
                        <a:pt x="11" y="10"/>
                      </a:lnTo>
                      <a:lnTo>
                        <a:pt x="16" y="0"/>
                      </a:lnTo>
                      <a:lnTo>
                        <a:pt x="12" y="1"/>
                      </a:lnTo>
                      <a:lnTo>
                        <a:pt x="11" y="5"/>
                      </a:lnTo>
                      <a:lnTo>
                        <a:pt x="10" y="9"/>
                      </a:lnTo>
                      <a:lnTo>
                        <a:pt x="7" y="11"/>
                      </a:lnTo>
                      <a:lnTo>
                        <a:pt x="5" y="15"/>
                      </a:lnTo>
                      <a:lnTo>
                        <a:pt x="2" y="18"/>
                      </a:lnTo>
                      <a:lnTo>
                        <a:pt x="0" y="23"/>
                      </a:lnTo>
                      <a:lnTo>
                        <a:pt x="0" y="2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3" name="Freeform 310">
                  <a:extLst>
                    <a:ext uri="{FF2B5EF4-FFF2-40B4-BE49-F238E27FC236}">
                      <a16:creationId xmlns:a16="http://schemas.microsoft.com/office/drawing/2014/main" id="{0AB3B059-B766-4EE8-B70E-EDA7BE85E3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8281" y="5474246"/>
                  <a:ext cx="4477" cy="2653"/>
                </a:xfrm>
                <a:custGeom>
                  <a:avLst/>
                  <a:gdLst>
                    <a:gd name="T0" fmla="*/ 2 w 2"/>
                    <a:gd name="T1" fmla="*/ 0 h 2"/>
                    <a:gd name="T2" fmla="*/ 0 w 2"/>
                    <a:gd name="T3" fmla="*/ 2 h 2"/>
                    <a:gd name="T4" fmla="*/ 2 w 2"/>
                    <a:gd name="T5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4" name="Freeform 311">
                  <a:extLst>
                    <a:ext uri="{FF2B5EF4-FFF2-40B4-BE49-F238E27FC236}">
                      <a16:creationId xmlns:a16="http://schemas.microsoft.com/office/drawing/2014/main" id="{AD8F35CA-4AB0-4490-90DC-E82F5C244D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2758" y="5519332"/>
                  <a:ext cx="22385" cy="42433"/>
                </a:xfrm>
                <a:custGeom>
                  <a:avLst/>
                  <a:gdLst>
                    <a:gd name="T0" fmla="*/ 6 w 20"/>
                    <a:gd name="T1" fmla="*/ 27 h 30"/>
                    <a:gd name="T2" fmla="*/ 8 w 20"/>
                    <a:gd name="T3" fmla="*/ 24 h 30"/>
                    <a:gd name="T4" fmla="*/ 11 w 20"/>
                    <a:gd name="T5" fmla="*/ 21 h 30"/>
                    <a:gd name="T6" fmla="*/ 15 w 20"/>
                    <a:gd name="T7" fmla="*/ 16 h 30"/>
                    <a:gd name="T8" fmla="*/ 19 w 20"/>
                    <a:gd name="T9" fmla="*/ 13 h 30"/>
                    <a:gd name="T10" fmla="*/ 16 w 20"/>
                    <a:gd name="T11" fmla="*/ 13 h 30"/>
                    <a:gd name="T12" fmla="*/ 15 w 20"/>
                    <a:gd name="T13" fmla="*/ 11 h 30"/>
                    <a:gd name="T14" fmla="*/ 16 w 20"/>
                    <a:gd name="T15" fmla="*/ 8 h 30"/>
                    <a:gd name="T16" fmla="*/ 19 w 20"/>
                    <a:gd name="T17" fmla="*/ 5 h 30"/>
                    <a:gd name="T18" fmla="*/ 20 w 20"/>
                    <a:gd name="T19" fmla="*/ 2 h 30"/>
                    <a:gd name="T20" fmla="*/ 20 w 20"/>
                    <a:gd name="T21" fmla="*/ 1 h 30"/>
                    <a:gd name="T22" fmla="*/ 19 w 20"/>
                    <a:gd name="T23" fmla="*/ 0 h 30"/>
                    <a:gd name="T24" fmla="*/ 14 w 20"/>
                    <a:gd name="T25" fmla="*/ 0 h 30"/>
                    <a:gd name="T26" fmla="*/ 8 w 20"/>
                    <a:gd name="T27" fmla="*/ 3 h 30"/>
                    <a:gd name="T28" fmla="*/ 2 w 20"/>
                    <a:gd name="T29" fmla="*/ 8 h 30"/>
                    <a:gd name="T30" fmla="*/ 0 w 20"/>
                    <a:gd name="T31" fmla="*/ 12 h 30"/>
                    <a:gd name="T32" fmla="*/ 0 w 20"/>
                    <a:gd name="T33" fmla="*/ 17 h 30"/>
                    <a:gd name="T34" fmla="*/ 2 w 20"/>
                    <a:gd name="T35" fmla="*/ 22 h 30"/>
                    <a:gd name="T36" fmla="*/ 5 w 20"/>
                    <a:gd name="T37" fmla="*/ 24 h 30"/>
                    <a:gd name="T38" fmla="*/ 2 w 20"/>
                    <a:gd name="T39" fmla="*/ 30 h 30"/>
                    <a:gd name="T40" fmla="*/ 4 w 20"/>
                    <a:gd name="T41" fmla="*/ 29 h 30"/>
                    <a:gd name="T42" fmla="*/ 6 w 20"/>
                    <a:gd name="T43" fmla="*/ 27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20" h="30">
                      <a:moveTo>
                        <a:pt x="6" y="27"/>
                      </a:moveTo>
                      <a:lnTo>
                        <a:pt x="8" y="24"/>
                      </a:lnTo>
                      <a:lnTo>
                        <a:pt x="11" y="21"/>
                      </a:lnTo>
                      <a:lnTo>
                        <a:pt x="15" y="16"/>
                      </a:lnTo>
                      <a:lnTo>
                        <a:pt x="19" y="13"/>
                      </a:lnTo>
                      <a:lnTo>
                        <a:pt x="16" y="13"/>
                      </a:lnTo>
                      <a:lnTo>
                        <a:pt x="15" y="11"/>
                      </a:lnTo>
                      <a:lnTo>
                        <a:pt x="16" y="8"/>
                      </a:lnTo>
                      <a:lnTo>
                        <a:pt x="19" y="5"/>
                      </a:lnTo>
                      <a:lnTo>
                        <a:pt x="20" y="2"/>
                      </a:lnTo>
                      <a:lnTo>
                        <a:pt x="20" y="1"/>
                      </a:lnTo>
                      <a:lnTo>
                        <a:pt x="19" y="0"/>
                      </a:lnTo>
                      <a:lnTo>
                        <a:pt x="14" y="0"/>
                      </a:lnTo>
                      <a:lnTo>
                        <a:pt x="8" y="3"/>
                      </a:lnTo>
                      <a:lnTo>
                        <a:pt x="2" y="8"/>
                      </a:lnTo>
                      <a:lnTo>
                        <a:pt x="0" y="12"/>
                      </a:lnTo>
                      <a:lnTo>
                        <a:pt x="0" y="17"/>
                      </a:lnTo>
                      <a:lnTo>
                        <a:pt x="2" y="22"/>
                      </a:lnTo>
                      <a:lnTo>
                        <a:pt x="5" y="24"/>
                      </a:lnTo>
                      <a:lnTo>
                        <a:pt x="2" y="30"/>
                      </a:lnTo>
                      <a:lnTo>
                        <a:pt x="4" y="29"/>
                      </a:lnTo>
                      <a:lnTo>
                        <a:pt x="6" y="2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5" name="Freeform 312">
                  <a:extLst>
                    <a:ext uri="{FF2B5EF4-FFF2-40B4-BE49-F238E27FC236}">
                      <a16:creationId xmlns:a16="http://schemas.microsoft.com/office/drawing/2014/main" id="{FA1D36C0-AE0C-47FD-BF19-DA3BC9D281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2758" y="5415900"/>
                  <a:ext cx="6716" cy="5304"/>
                </a:xfrm>
                <a:custGeom>
                  <a:avLst/>
                  <a:gdLst>
                    <a:gd name="T0" fmla="*/ 2 w 5"/>
                    <a:gd name="T1" fmla="*/ 3 h 5"/>
                    <a:gd name="T2" fmla="*/ 3 w 5"/>
                    <a:gd name="T3" fmla="*/ 5 h 5"/>
                    <a:gd name="T4" fmla="*/ 5 w 5"/>
                    <a:gd name="T5" fmla="*/ 5 h 5"/>
                    <a:gd name="T6" fmla="*/ 0 w 5"/>
                    <a:gd name="T7" fmla="*/ 0 h 5"/>
                    <a:gd name="T8" fmla="*/ 2 w 5"/>
                    <a:gd name="T9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5">
                      <a:moveTo>
                        <a:pt x="2" y="3"/>
                      </a:moveTo>
                      <a:lnTo>
                        <a:pt x="3" y="5"/>
                      </a:lnTo>
                      <a:lnTo>
                        <a:pt x="5" y="5"/>
                      </a:lnTo>
                      <a:lnTo>
                        <a:pt x="0" y="0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6" name="Freeform 313">
                  <a:extLst>
                    <a:ext uri="{FF2B5EF4-FFF2-40B4-BE49-F238E27FC236}">
                      <a16:creationId xmlns:a16="http://schemas.microsoft.com/office/drawing/2014/main" id="{9BEFABD1-BDE5-4E3B-9388-150A8FDCCB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4996" y="5471593"/>
                  <a:ext cx="4477" cy="5304"/>
                </a:xfrm>
                <a:custGeom>
                  <a:avLst/>
                  <a:gdLst>
                    <a:gd name="T0" fmla="*/ 2 w 2"/>
                    <a:gd name="T1" fmla="*/ 0 h 4"/>
                    <a:gd name="T2" fmla="*/ 0 w 2"/>
                    <a:gd name="T3" fmla="*/ 4 h 4"/>
                    <a:gd name="T4" fmla="*/ 1 w 2"/>
                    <a:gd name="T5" fmla="*/ 2 h 4"/>
                    <a:gd name="T6" fmla="*/ 2 w 2"/>
                    <a:gd name="T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4">
                      <a:moveTo>
                        <a:pt x="2" y="0"/>
                      </a:moveTo>
                      <a:lnTo>
                        <a:pt x="0" y="4"/>
                      </a:lnTo>
                      <a:lnTo>
                        <a:pt x="1" y="2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7" name="Freeform 314">
                  <a:extLst>
                    <a:ext uri="{FF2B5EF4-FFF2-40B4-BE49-F238E27FC236}">
                      <a16:creationId xmlns:a16="http://schemas.microsoft.com/office/drawing/2014/main" id="{47DD3D27-8398-4076-99FB-851BA06D18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9473" y="5455681"/>
                  <a:ext cx="4477" cy="2653"/>
                </a:xfrm>
                <a:custGeom>
                  <a:avLst/>
                  <a:gdLst>
                    <a:gd name="T0" fmla="*/ 2 w 4"/>
                    <a:gd name="T1" fmla="*/ 1 h 2"/>
                    <a:gd name="T2" fmla="*/ 4 w 4"/>
                    <a:gd name="T3" fmla="*/ 0 h 2"/>
                    <a:gd name="T4" fmla="*/ 2 w 4"/>
                    <a:gd name="T5" fmla="*/ 0 h 2"/>
                    <a:gd name="T6" fmla="*/ 0 w 4"/>
                    <a:gd name="T7" fmla="*/ 2 h 2"/>
                    <a:gd name="T8" fmla="*/ 2 w 4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2">
                      <a:moveTo>
                        <a:pt x="2" y="1"/>
                      </a:move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2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8" name="Freeform 315">
                  <a:extLst>
                    <a:ext uri="{FF2B5EF4-FFF2-40B4-BE49-F238E27FC236}">
                      <a16:creationId xmlns:a16="http://schemas.microsoft.com/office/drawing/2014/main" id="{6FAC5B6B-4F17-415E-92FF-14D24E0A98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07381" y="5516678"/>
                  <a:ext cx="6716" cy="2653"/>
                </a:xfrm>
                <a:custGeom>
                  <a:avLst/>
                  <a:gdLst>
                    <a:gd name="T0" fmla="*/ 0 w 6"/>
                    <a:gd name="T1" fmla="*/ 3 h 3"/>
                    <a:gd name="T2" fmla="*/ 4 w 6"/>
                    <a:gd name="T3" fmla="*/ 3 h 3"/>
                    <a:gd name="T4" fmla="*/ 6 w 6"/>
                    <a:gd name="T5" fmla="*/ 2 h 3"/>
                    <a:gd name="T6" fmla="*/ 4 w 6"/>
                    <a:gd name="T7" fmla="*/ 0 h 3"/>
                    <a:gd name="T8" fmla="*/ 3 w 6"/>
                    <a:gd name="T9" fmla="*/ 0 h 3"/>
                    <a:gd name="T10" fmla="*/ 0 w 6"/>
                    <a:gd name="T11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3">
                      <a:moveTo>
                        <a:pt x="0" y="3"/>
                      </a:moveTo>
                      <a:lnTo>
                        <a:pt x="4" y="3"/>
                      </a:lnTo>
                      <a:lnTo>
                        <a:pt x="6" y="2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9" name="Freeform 316">
                  <a:extLst>
                    <a:ext uri="{FF2B5EF4-FFF2-40B4-BE49-F238E27FC236}">
                      <a16:creationId xmlns:a16="http://schemas.microsoft.com/office/drawing/2014/main" id="{FEDA631B-AD2E-49A3-BAD1-02106A0662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7822" y="5219647"/>
                  <a:ext cx="4477" cy="0"/>
                </a:xfrm>
                <a:custGeom>
                  <a:avLst/>
                  <a:gdLst>
                    <a:gd name="T0" fmla="*/ 4 w 4"/>
                    <a:gd name="T1" fmla="*/ 0 w 4"/>
                    <a:gd name="T2" fmla="*/ 3 w 4"/>
                    <a:gd name="T3" fmla="*/ 4 w 4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4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0" name="Freeform 317">
                  <a:extLst>
                    <a:ext uri="{FF2B5EF4-FFF2-40B4-BE49-F238E27FC236}">
                      <a16:creationId xmlns:a16="http://schemas.microsoft.com/office/drawing/2014/main" id="{B6C0756B-5016-47AD-8748-89FDE42790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6961" y="5087043"/>
                  <a:ext cx="317868" cy="535718"/>
                </a:xfrm>
                <a:custGeom>
                  <a:avLst/>
                  <a:gdLst>
                    <a:gd name="T0" fmla="*/ 15 w 284"/>
                    <a:gd name="T1" fmla="*/ 285 h 404"/>
                    <a:gd name="T2" fmla="*/ 22 w 284"/>
                    <a:gd name="T3" fmla="*/ 264 h 404"/>
                    <a:gd name="T4" fmla="*/ 26 w 284"/>
                    <a:gd name="T5" fmla="*/ 235 h 404"/>
                    <a:gd name="T6" fmla="*/ 30 w 284"/>
                    <a:gd name="T7" fmla="*/ 216 h 404"/>
                    <a:gd name="T8" fmla="*/ 20 w 284"/>
                    <a:gd name="T9" fmla="*/ 180 h 404"/>
                    <a:gd name="T10" fmla="*/ 21 w 284"/>
                    <a:gd name="T11" fmla="*/ 158 h 404"/>
                    <a:gd name="T12" fmla="*/ 47 w 284"/>
                    <a:gd name="T13" fmla="*/ 141 h 404"/>
                    <a:gd name="T14" fmla="*/ 57 w 284"/>
                    <a:gd name="T15" fmla="*/ 129 h 404"/>
                    <a:gd name="T16" fmla="*/ 73 w 284"/>
                    <a:gd name="T17" fmla="*/ 102 h 404"/>
                    <a:gd name="T18" fmla="*/ 93 w 284"/>
                    <a:gd name="T19" fmla="*/ 76 h 404"/>
                    <a:gd name="T20" fmla="*/ 110 w 284"/>
                    <a:gd name="T21" fmla="*/ 50 h 404"/>
                    <a:gd name="T22" fmla="*/ 139 w 284"/>
                    <a:gd name="T23" fmla="*/ 28 h 404"/>
                    <a:gd name="T24" fmla="*/ 153 w 284"/>
                    <a:gd name="T25" fmla="*/ 13 h 404"/>
                    <a:gd name="T26" fmla="*/ 185 w 284"/>
                    <a:gd name="T27" fmla="*/ 13 h 404"/>
                    <a:gd name="T28" fmla="*/ 207 w 284"/>
                    <a:gd name="T29" fmla="*/ 3 h 404"/>
                    <a:gd name="T30" fmla="*/ 257 w 284"/>
                    <a:gd name="T31" fmla="*/ 24 h 404"/>
                    <a:gd name="T32" fmla="*/ 263 w 284"/>
                    <a:gd name="T33" fmla="*/ 42 h 404"/>
                    <a:gd name="T34" fmla="*/ 268 w 284"/>
                    <a:gd name="T35" fmla="*/ 55 h 404"/>
                    <a:gd name="T36" fmla="*/ 272 w 284"/>
                    <a:gd name="T37" fmla="*/ 76 h 404"/>
                    <a:gd name="T38" fmla="*/ 265 w 284"/>
                    <a:gd name="T39" fmla="*/ 93 h 404"/>
                    <a:gd name="T40" fmla="*/ 244 w 284"/>
                    <a:gd name="T41" fmla="*/ 92 h 404"/>
                    <a:gd name="T42" fmla="*/ 235 w 284"/>
                    <a:gd name="T43" fmla="*/ 99 h 404"/>
                    <a:gd name="T44" fmla="*/ 230 w 284"/>
                    <a:gd name="T45" fmla="*/ 108 h 404"/>
                    <a:gd name="T46" fmla="*/ 224 w 284"/>
                    <a:gd name="T47" fmla="*/ 123 h 404"/>
                    <a:gd name="T48" fmla="*/ 219 w 284"/>
                    <a:gd name="T49" fmla="*/ 139 h 404"/>
                    <a:gd name="T50" fmla="*/ 201 w 284"/>
                    <a:gd name="T51" fmla="*/ 155 h 404"/>
                    <a:gd name="T52" fmla="*/ 187 w 284"/>
                    <a:gd name="T53" fmla="*/ 161 h 404"/>
                    <a:gd name="T54" fmla="*/ 164 w 284"/>
                    <a:gd name="T55" fmla="*/ 171 h 404"/>
                    <a:gd name="T56" fmla="*/ 156 w 284"/>
                    <a:gd name="T57" fmla="*/ 179 h 404"/>
                    <a:gd name="T58" fmla="*/ 150 w 284"/>
                    <a:gd name="T59" fmla="*/ 174 h 404"/>
                    <a:gd name="T60" fmla="*/ 149 w 284"/>
                    <a:gd name="T61" fmla="*/ 189 h 404"/>
                    <a:gd name="T62" fmla="*/ 143 w 284"/>
                    <a:gd name="T63" fmla="*/ 199 h 404"/>
                    <a:gd name="T64" fmla="*/ 138 w 284"/>
                    <a:gd name="T65" fmla="*/ 212 h 404"/>
                    <a:gd name="T66" fmla="*/ 136 w 284"/>
                    <a:gd name="T67" fmla="*/ 215 h 404"/>
                    <a:gd name="T68" fmla="*/ 136 w 284"/>
                    <a:gd name="T69" fmla="*/ 220 h 404"/>
                    <a:gd name="T70" fmla="*/ 144 w 284"/>
                    <a:gd name="T71" fmla="*/ 243 h 404"/>
                    <a:gd name="T72" fmla="*/ 159 w 284"/>
                    <a:gd name="T73" fmla="*/ 249 h 404"/>
                    <a:gd name="T74" fmla="*/ 176 w 284"/>
                    <a:gd name="T75" fmla="*/ 259 h 404"/>
                    <a:gd name="T76" fmla="*/ 174 w 284"/>
                    <a:gd name="T77" fmla="*/ 276 h 404"/>
                    <a:gd name="T78" fmla="*/ 164 w 284"/>
                    <a:gd name="T79" fmla="*/ 282 h 404"/>
                    <a:gd name="T80" fmla="*/ 174 w 284"/>
                    <a:gd name="T81" fmla="*/ 285 h 404"/>
                    <a:gd name="T82" fmla="*/ 160 w 284"/>
                    <a:gd name="T83" fmla="*/ 294 h 404"/>
                    <a:gd name="T84" fmla="*/ 152 w 284"/>
                    <a:gd name="T85" fmla="*/ 295 h 404"/>
                    <a:gd name="T86" fmla="*/ 137 w 284"/>
                    <a:gd name="T87" fmla="*/ 305 h 404"/>
                    <a:gd name="T88" fmla="*/ 129 w 284"/>
                    <a:gd name="T89" fmla="*/ 311 h 404"/>
                    <a:gd name="T90" fmla="*/ 132 w 284"/>
                    <a:gd name="T91" fmla="*/ 326 h 404"/>
                    <a:gd name="T92" fmla="*/ 129 w 284"/>
                    <a:gd name="T93" fmla="*/ 335 h 404"/>
                    <a:gd name="T94" fmla="*/ 122 w 284"/>
                    <a:gd name="T95" fmla="*/ 369 h 404"/>
                    <a:gd name="T96" fmla="*/ 91 w 284"/>
                    <a:gd name="T97" fmla="*/ 381 h 404"/>
                    <a:gd name="T98" fmla="*/ 74 w 284"/>
                    <a:gd name="T99" fmla="*/ 393 h 404"/>
                    <a:gd name="T100" fmla="*/ 54 w 284"/>
                    <a:gd name="T101" fmla="*/ 404 h 404"/>
                    <a:gd name="T102" fmla="*/ 35 w 284"/>
                    <a:gd name="T103" fmla="*/ 381 h 404"/>
                    <a:gd name="T104" fmla="*/ 42 w 284"/>
                    <a:gd name="T105" fmla="*/ 370 h 404"/>
                    <a:gd name="T106" fmla="*/ 21 w 284"/>
                    <a:gd name="T107" fmla="*/ 341 h 404"/>
                    <a:gd name="T108" fmla="*/ 15 w 284"/>
                    <a:gd name="T109" fmla="*/ 328 h 404"/>
                    <a:gd name="T110" fmla="*/ 9 w 284"/>
                    <a:gd name="T111" fmla="*/ 316 h 404"/>
                    <a:gd name="T112" fmla="*/ 3 w 284"/>
                    <a:gd name="T113" fmla="*/ 308 h 4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84" h="404">
                      <a:moveTo>
                        <a:pt x="2" y="290"/>
                      </a:moveTo>
                      <a:lnTo>
                        <a:pt x="4" y="291"/>
                      </a:lnTo>
                      <a:lnTo>
                        <a:pt x="6" y="294"/>
                      </a:lnTo>
                      <a:lnTo>
                        <a:pt x="8" y="296"/>
                      </a:lnTo>
                      <a:lnTo>
                        <a:pt x="10" y="296"/>
                      </a:lnTo>
                      <a:lnTo>
                        <a:pt x="13" y="294"/>
                      </a:lnTo>
                      <a:lnTo>
                        <a:pt x="14" y="290"/>
                      </a:lnTo>
                      <a:lnTo>
                        <a:pt x="15" y="285"/>
                      </a:lnTo>
                      <a:lnTo>
                        <a:pt x="14" y="281"/>
                      </a:lnTo>
                      <a:lnTo>
                        <a:pt x="14" y="278"/>
                      </a:lnTo>
                      <a:lnTo>
                        <a:pt x="15" y="275"/>
                      </a:lnTo>
                      <a:lnTo>
                        <a:pt x="16" y="271"/>
                      </a:lnTo>
                      <a:lnTo>
                        <a:pt x="16" y="269"/>
                      </a:lnTo>
                      <a:lnTo>
                        <a:pt x="16" y="266"/>
                      </a:lnTo>
                      <a:lnTo>
                        <a:pt x="18" y="265"/>
                      </a:lnTo>
                      <a:lnTo>
                        <a:pt x="22" y="264"/>
                      </a:lnTo>
                      <a:lnTo>
                        <a:pt x="27" y="263"/>
                      </a:lnTo>
                      <a:lnTo>
                        <a:pt x="30" y="258"/>
                      </a:lnTo>
                      <a:lnTo>
                        <a:pt x="32" y="251"/>
                      </a:lnTo>
                      <a:lnTo>
                        <a:pt x="31" y="248"/>
                      </a:lnTo>
                      <a:lnTo>
                        <a:pt x="30" y="244"/>
                      </a:lnTo>
                      <a:lnTo>
                        <a:pt x="27" y="241"/>
                      </a:lnTo>
                      <a:lnTo>
                        <a:pt x="26" y="238"/>
                      </a:lnTo>
                      <a:lnTo>
                        <a:pt x="26" y="235"/>
                      </a:lnTo>
                      <a:lnTo>
                        <a:pt x="29" y="232"/>
                      </a:lnTo>
                      <a:lnTo>
                        <a:pt x="32" y="231"/>
                      </a:lnTo>
                      <a:lnTo>
                        <a:pt x="35" y="230"/>
                      </a:lnTo>
                      <a:lnTo>
                        <a:pt x="36" y="228"/>
                      </a:lnTo>
                      <a:lnTo>
                        <a:pt x="37" y="223"/>
                      </a:lnTo>
                      <a:lnTo>
                        <a:pt x="37" y="221"/>
                      </a:lnTo>
                      <a:lnTo>
                        <a:pt x="36" y="219"/>
                      </a:lnTo>
                      <a:lnTo>
                        <a:pt x="30" y="216"/>
                      </a:lnTo>
                      <a:lnTo>
                        <a:pt x="26" y="214"/>
                      </a:lnTo>
                      <a:lnTo>
                        <a:pt x="24" y="211"/>
                      </a:lnTo>
                      <a:lnTo>
                        <a:pt x="22" y="207"/>
                      </a:lnTo>
                      <a:lnTo>
                        <a:pt x="22" y="203"/>
                      </a:lnTo>
                      <a:lnTo>
                        <a:pt x="24" y="198"/>
                      </a:lnTo>
                      <a:lnTo>
                        <a:pt x="24" y="194"/>
                      </a:lnTo>
                      <a:lnTo>
                        <a:pt x="21" y="185"/>
                      </a:lnTo>
                      <a:lnTo>
                        <a:pt x="20" y="180"/>
                      </a:lnTo>
                      <a:lnTo>
                        <a:pt x="20" y="176"/>
                      </a:lnTo>
                      <a:lnTo>
                        <a:pt x="22" y="174"/>
                      </a:lnTo>
                      <a:lnTo>
                        <a:pt x="22" y="172"/>
                      </a:lnTo>
                      <a:lnTo>
                        <a:pt x="20" y="169"/>
                      </a:lnTo>
                      <a:lnTo>
                        <a:pt x="19" y="166"/>
                      </a:lnTo>
                      <a:lnTo>
                        <a:pt x="19" y="163"/>
                      </a:lnTo>
                      <a:lnTo>
                        <a:pt x="20" y="161"/>
                      </a:lnTo>
                      <a:lnTo>
                        <a:pt x="21" y="158"/>
                      </a:lnTo>
                      <a:lnTo>
                        <a:pt x="21" y="157"/>
                      </a:lnTo>
                      <a:lnTo>
                        <a:pt x="22" y="153"/>
                      </a:lnTo>
                      <a:lnTo>
                        <a:pt x="26" y="150"/>
                      </a:lnTo>
                      <a:lnTo>
                        <a:pt x="30" y="147"/>
                      </a:lnTo>
                      <a:lnTo>
                        <a:pt x="32" y="146"/>
                      </a:lnTo>
                      <a:lnTo>
                        <a:pt x="37" y="142"/>
                      </a:lnTo>
                      <a:lnTo>
                        <a:pt x="42" y="141"/>
                      </a:lnTo>
                      <a:lnTo>
                        <a:pt x="47" y="141"/>
                      </a:lnTo>
                      <a:lnTo>
                        <a:pt x="53" y="142"/>
                      </a:lnTo>
                      <a:lnTo>
                        <a:pt x="57" y="142"/>
                      </a:lnTo>
                      <a:lnTo>
                        <a:pt x="62" y="142"/>
                      </a:lnTo>
                      <a:lnTo>
                        <a:pt x="64" y="140"/>
                      </a:lnTo>
                      <a:lnTo>
                        <a:pt x="65" y="136"/>
                      </a:lnTo>
                      <a:lnTo>
                        <a:pt x="63" y="132"/>
                      </a:lnTo>
                      <a:lnTo>
                        <a:pt x="61" y="130"/>
                      </a:lnTo>
                      <a:lnTo>
                        <a:pt x="57" y="129"/>
                      </a:lnTo>
                      <a:lnTo>
                        <a:pt x="53" y="126"/>
                      </a:lnTo>
                      <a:lnTo>
                        <a:pt x="62" y="118"/>
                      </a:lnTo>
                      <a:lnTo>
                        <a:pt x="64" y="115"/>
                      </a:lnTo>
                      <a:lnTo>
                        <a:pt x="67" y="112"/>
                      </a:lnTo>
                      <a:lnTo>
                        <a:pt x="69" y="108"/>
                      </a:lnTo>
                      <a:lnTo>
                        <a:pt x="72" y="107"/>
                      </a:lnTo>
                      <a:lnTo>
                        <a:pt x="73" y="104"/>
                      </a:lnTo>
                      <a:lnTo>
                        <a:pt x="73" y="102"/>
                      </a:lnTo>
                      <a:lnTo>
                        <a:pt x="74" y="94"/>
                      </a:lnTo>
                      <a:lnTo>
                        <a:pt x="73" y="87"/>
                      </a:lnTo>
                      <a:lnTo>
                        <a:pt x="73" y="83"/>
                      </a:lnTo>
                      <a:lnTo>
                        <a:pt x="72" y="82"/>
                      </a:lnTo>
                      <a:lnTo>
                        <a:pt x="81" y="82"/>
                      </a:lnTo>
                      <a:lnTo>
                        <a:pt x="91" y="78"/>
                      </a:lnTo>
                      <a:lnTo>
                        <a:pt x="93" y="77"/>
                      </a:lnTo>
                      <a:lnTo>
                        <a:pt x="93" y="76"/>
                      </a:lnTo>
                      <a:lnTo>
                        <a:pt x="91" y="72"/>
                      </a:lnTo>
                      <a:lnTo>
                        <a:pt x="91" y="71"/>
                      </a:lnTo>
                      <a:lnTo>
                        <a:pt x="93" y="71"/>
                      </a:lnTo>
                      <a:lnTo>
                        <a:pt x="95" y="69"/>
                      </a:lnTo>
                      <a:lnTo>
                        <a:pt x="102" y="62"/>
                      </a:lnTo>
                      <a:lnTo>
                        <a:pt x="111" y="56"/>
                      </a:lnTo>
                      <a:lnTo>
                        <a:pt x="112" y="53"/>
                      </a:lnTo>
                      <a:lnTo>
                        <a:pt x="110" y="50"/>
                      </a:lnTo>
                      <a:lnTo>
                        <a:pt x="107" y="48"/>
                      </a:lnTo>
                      <a:lnTo>
                        <a:pt x="105" y="45"/>
                      </a:lnTo>
                      <a:lnTo>
                        <a:pt x="111" y="42"/>
                      </a:lnTo>
                      <a:lnTo>
                        <a:pt x="115" y="37"/>
                      </a:lnTo>
                      <a:lnTo>
                        <a:pt x="120" y="33"/>
                      </a:lnTo>
                      <a:lnTo>
                        <a:pt x="125" y="29"/>
                      </a:lnTo>
                      <a:lnTo>
                        <a:pt x="132" y="27"/>
                      </a:lnTo>
                      <a:lnTo>
                        <a:pt x="139" y="28"/>
                      </a:lnTo>
                      <a:lnTo>
                        <a:pt x="142" y="28"/>
                      </a:lnTo>
                      <a:lnTo>
                        <a:pt x="144" y="27"/>
                      </a:lnTo>
                      <a:lnTo>
                        <a:pt x="147" y="26"/>
                      </a:lnTo>
                      <a:lnTo>
                        <a:pt x="148" y="23"/>
                      </a:lnTo>
                      <a:lnTo>
                        <a:pt x="147" y="19"/>
                      </a:lnTo>
                      <a:lnTo>
                        <a:pt x="147" y="14"/>
                      </a:lnTo>
                      <a:lnTo>
                        <a:pt x="149" y="13"/>
                      </a:lnTo>
                      <a:lnTo>
                        <a:pt x="153" y="13"/>
                      </a:lnTo>
                      <a:lnTo>
                        <a:pt x="156" y="14"/>
                      </a:lnTo>
                      <a:lnTo>
                        <a:pt x="160" y="14"/>
                      </a:lnTo>
                      <a:lnTo>
                        <a:pt x="166" y="16"/>
                      </a:lnTo>
                      <a:lnTo>
                        <a:pt x="175" y="17"/>
                      </a:lnTo>
                      <a:lnTo>
                        <a:pt x="184" y="18"/>
                      </a:lnTo>
                      <a:lnTo>
                        <a:pt x="187" y="17"/>
                      </a:lnTo>
                      <a:lnTo>
                        <a:pt x="191" y="16"/>
                      </a:lnTo>
                      <a:lnTo>
                        <a:pt x="185" y="13"/>
                      </a:lnTo>
                      <a:lnTo>
                        <a:pt x="188" y="11"/>
                      </a:lnTo>
                      <a:lnTo>
                        <a:pt x="191" y="7"/>
                      </a:lnTo>
                      <a:lnTo>
                        <a:pt x="192" y="5"/>
                      </a:lnTo>
                      <a:lnTo>
                        <a:pt x="191" y="2"/>
                      </a:lnTo>
                      <a:lnTo>
                        <a:pt x="188" y="1"/>
                      </a:lnTo>
                      <a:lnTo>
                        <a:pt x="193" y="0"/>
                      </a:lnTo>
                      <a:lnTo>
                        <a:pt x="197" y="0"/>
                      </a:lnTo>
                      <a:lnTo>
                        <a:pt x="207" y="3"/>
                      </a:lnTo>
                      <a:lnTo>
                        <a:pt x="217" y="8"/>
                      </a:lnTo>
                      <a:lnTo>
                        <a:pt x="225" y="12"/>
                      </a:lnTo>
                      <a:lnTo>
                        <a:pt x="231" y="14"/>
                      </a:lnTo>
                      <a:lnTo>
                        <a:pt x="238" y="16"/>
                      </a:lnTo>
                      <a:lnTo>
                        <a:pt x="243" y="17"/>
                      </a:lnTo>
                      <a:lnTo>
                        <a:pt x="249" y="19"/>
                      </a:lnTo>
                      <a:lnTo>
                        <a:pt x="252" y="21"/>
                      </a:lnTo>
                      <a:lnTo>
                        <a:pt x="257" y="24"/>
                      </a:lnTo>
                      <a:lnTo>
                        <a:pt x="262" y="28"/>
                      </a:lnTo>
                      <a:lnTo>
                        <a:pt x="265" y="30"/>
                      </a:lnTo>
                      <a:lnTo>
                        <a:pt x="266" y="32"/>
                      </a:lnTo>
                      <a:lnTo>
                        <a:pt x="265" y="33"/>
                      </a:lnTo>
                      <a:lnTo>
                        <a:pt x="262" y="34"/>
                      </a:lnTo>
                      <a:lnTo>
                        <a:pt x="262" y="37"/>
                      </a:lnTo>
                      <a:lnTo>
                        <a:pt x="262" y="38"/>
                      </a:lnTo>
                      <a:lnTo>
                        <a:pt x="263" y="42"/>
                      </a:lnTo>
                      <a:lnTo>
                        <a:pt x="265" y="44"/>
                      </a:lnTo>
                      <a:lnTo>
                        <a:pt x="267" y="44"/>
                      </a:lnTo>
                      <a:lnTo>
                        <a:pt x="270" y="45"/>
                      </a:lnTo>
                      <a:lnTo>
                        <a:pt x="271" y="48"/>
                      </a:lnTo>
                      <a:lnTo>
                        <a:pt x="268" y="49"/>
                      </a:lnTo>
                      <a:lnTo>
                        <a:pt x="267" y="51"/>
                      </a:lnTo>
                      <a:lnTo>
                        <a:pt x="267" y="53"/>
                      </a:lnTo>
                      <a:lnTo>
                        <a:pt x="268" y="55"/>
                      </a:lnTo>
                      <a:lnTo>
                        <a:pt x="271" y="58"/>
                      </a:lnTo>
                      <a:lnTo>
                        <a:pt x="273" y="59"/>
                      </a:lnTo>
                      <a:lnTo>
                        <a:pt x="275" y="61"/>
                      </a:lnTo>
                      <a:lnTo>
                        <a:pt x="276" y="65"/>
                      </a:lnTo>
                      <a:lnTo>
                        <a:pt x="275" y="69"/>
                      </a:lnTo>
                      <a:lnTo>
                        <a:pt x="273" y="71"/>
                      </a:lnTo>
                      <a:lnTo>
                        <a:pt x="272" y="73"/>
                      </a:lnTo>
                      <a:lnTo>
                        <a:pt x="272" y="76"/>
                      </a:lnTo>
                      <a:lnTo>
                        <a:pt x="276" y="81"/>
                      </a:lnTo>
                      <a:lnTo>
                        <a:pt x="281" y="86"/>
                      </a:lnTo>
                      <a:lnTo>
                        <a:pt x="284" y="91"/>
                      </a:lnTo>
                      <a:lnTo>
                        <a:pt x="278" y="92"/>
                      </a:lnTo>
                      <a:lnTo>
                        <a:pt x="272" y="93"/>
                      </a:lnTo>
                      <a:lnTo>
                        <a:pt x="267" y="93"/>
                      </a:lnTo>
                      <a:lnTo>
                        <a:pt x="262" y="91"/>
                      </a:lnTo>
                      <a:lnTo>
                        <a:pt x="265" y="93"/>
                      </a:lnTo>
                      <a:lnTo>
                        <a:pt x="259" y="93"/>
                      </a:lnTo>
                      <a:lnTo>
                        <a:pt x="252" y="89"/>
                      </a:lnTo>
                      <a:lnTo>
                        <a:pt x="252" y="92"/>
                      </a:lnTo>
                      <a:lnTo>
                        <a:pt x="251" y="93"/>
                      </a:lnTo>
                      <a:lnTo>
                        <a:pt x="249" y="92"/>
                      </a:lnTo>
                      <a:lnTo>
                        <a:pt x="245" y="91"/>
                      </a:lnTo>
                      <a:lnTo>
                        <a:pt x="244" y="91"/>
                      </a:lnTo>
                      <a:lnTo>
                        <a:pt x="244" y="92"/>
                      </a:lnTo>
                      <a:lnTo>
                        <a:pt x="244" y="93"/>
                      </a:lnTo>
                      <a:lnTo>
                        <a:pt x="245" y="96"/>
                      </a:lnTo>
                      <a:lnTo>
                        <a:pt x="246" y="99"/>
                      </a:lnTo>
                      <a:lnTo>
                        <a:pt x="243" y="98"/>
                      </a:lnTo>
                      <a:lnTo>
                        <a:pt x="238" y="97"/>
                      </a:lnTo>
                      <a:lnTo>
                        <a:pt x="241" y="99"/>
                      </a:lnTo>
                      <a:lnTo>
                        <a:pt x="238" y="101"/>
                      </a:lnTo>
                      <a:lnTo>
                        <a:pt x="235" y="99"/>
                      </a:lnTo>
                      <a:lnTo>
                        <a:pt x="236" y="101"/>
                      </a:lnTo>
                      <a:lnTo>
                        <a:pt x="238" y="102"/>
                      </a:lnTo>
                      <a:lnTo>
                        <a:pt x="236" y="102"/>
                      </a:lnTo>
                      <a:lnTo>
                        <a:pt x="234" y="103"/>
                      </a:lnTo>
                      <a:lnTo>
                        <a:pt x="230" y="103"/>
                      </a:lnTo>
                      <a:lnTo>
                        <a:pt x="228" y="104"/>
                      </a:lnTo>
                      <a:lnTo>
                        <a:pt x="227" y="104"/>
                      </a:lnTo>
                      <a:lnTo>
                        <a:pt x="230" y="108"/>
                      </a:lnTo>
                      <a:lnTo>
                        <a:pt x="230" y="110"/>
                      </a:lnTo>
                      <a:lnTo>
                        <a:pt x="229" y="113"/>
                      </a:lnTo>
                      <a:lnTo>
                        <a:pt x="227" y="115"/>
                      </a:lnTo>
                      <a:lnTo>
                        <a:pt x="224" y="117"/>
                      </a:lnTo>
                      <a:lnTo>
                        <a:pt x="220" y="119"/>
                      </a:lnTo>
                      <a:lnTo>
                        <a:pt x="218" y="119"/>
                      </a:lnTo>
                      <a:lnTo>
                        <a:pt x="220" y="121"/>
                      </a:lnTo>
                      <a:lnTo>
                        <a:pt x="224" y="123"/>
                      </a:lnTo>
                      <a:lnTo>
                        <a:pt x="222" y="123"/>
                      </a:lnTo>
                      <a:lnTo>
                        <a:pt x="222" y="124"/>
                      </a:lnTo>
                      <a:lnTo>
                        <a:pt x="223" y="125"/>
                      </a:lnTo>
                      <a:lnTo>
                        <a:pt x="224" y="126"/>
                      </a:lnTo>
                      <a:lnTo>
                        <a:pt x="229" y="129"/>
                      </a:lnTo>
                      <a:lnTo>
                        <a:pt x="231" y="131"/>
                      </a:lnTo>
                      <a:lnTo>
                        <a:pt x="223" y="136"/>
                      </a:lnTo>
                      <a:lnTo>
                        <a:pt x="219" y="139"/>
                      </a:lnTo>
                      <a:lnTo>
                        <a:pt x="217" y="142"/>
                      </a:lnTo>
                      <a:lnTo>
                        <a:pt x="214" y="146"/>
                      </a:lnTo>
                      <a:lnTo>
                        <a:pt x="211" y="148"/>
                      </a:lnTo>
                      <a:lnTo>
                        <a:pt x="207" y="151"/>
                      </a:lnTo>
                      <a:lnTo>
                        <a:pt x="206" y="153"/>
                      </a:lnTo>
                      <a:lnTo>
                        <a:pt x="204" y="151"/>
                      </a:lnTo>
                      <a:lnTo>
                        <a:pt x="203" y="153"/>
                      </a:lnTo>
                      <a:lnTo>
                        <a:pt x="201" y="155"/>
                      </a:lnTo>
                      <a:lnTo>
                        <a:pt x="195" y="156"/>
                      </a:lnTo>
                      <a:lnTo>
                        <a:pt x="192" y="157"/>
                      </a:lnTo>
                      <a:lnTo>
                        <a:pt x="191" y="160"/>
                      </a:lnTo>
                      <a:lnTo>
                        <a:pt x="188" y="160"/>
                      </a:lnTo>
                      <a:lnTo>
                        <a:pt x="188" y="160"/>
                      </a:lnTo>
                      <a:lnTo>
                        <a:pt x="187" y="157"/>
                      </a:lnTo>
                      <a:lnTo>
                        <a:pt x="187" y="160"/>
                      </a:lnTo>
                      <a:lnTo>
                        <a:pt x="187" y="161"/>
                      </a:lnTo>
                      <a:lnTo>
                        <a:pt x="184" y="160"/>
                      </a:lnTo>
                      <a:lnTo>
                        <a:pt x="182" y="161"/>
                      </a:lnTo>
                      <a:lnTo>
                        <a:pt x="181" y="162"/>
                      </a:lnTo>
                      <a:lnTo>
                        <a:pt x="180" y="163"/>
                      </a:lnTo>
                      <a:lnTo>
                        <a:pt x="179" y="164"/>
                      </a:lnTo>
                      <a:lnTo>
                        <a:pt x="174" y="167"/>
                      </a:lnTo>
                      <a:lnTo>
                        <a:pt x="169" y="169"/>
                      </a:lnTo>
                      <a:lnTo>
                        <a:pt x="164" y="171"/>
                      </a:lnTo>
                      <a:lnTo>
                        <a:pt x="159" y="173"/>
                      </a:lnTo>
                      <a:lnTo>
                        <a:pt x="165" y="173"/>
                      </a:lnTo>
                      <a:lnTo>
                        <a:pt x="164" y="177"/>
                      </a:lnTo>
                      <a:lnTo>
                        <a:pt x="161" y="178"/>
                      </a:lnTo>
                      <a:lnTo>
                        <a:pt x="160" y="177"/>
                      </a:lnTo>
                      <a:lnTo>
                        <a:pt x="159" y="177"/>
                      </a:lnTo>
                      <a:lnTo>
                        <a:pt x="158" y="178"/>
                      </a:lnTo>
                      <a:lnTo>
                        <a:pt x="156" y="179"/>
                      </a:lnTo>
                      <a:lnTo>
                        <a:pt x="154" y="179"/>
                      </a:lnTo>
                      <a:lnTo>
                        <a:pt x="156" y="179"/>
                      </a:lnTo>
                      <a:lnTo>
                        <a:pt x="158" y="179"/>
                      </a:lnTo>
                      <a:lnTo>
                        <a:pt x="156" y="178"/>
                      </a:lnTo>
                      <a:lnTo>
                        <a:pt x="154" y="178"/>
                      </a:lnTo>
                      <a:lnTo>
                        <a:pt x="152" y="178"/>
                      </a:lnTo>
                      <a:lnTo>
                        <a:pt x="152" y="176"/>
                      </a:lnTo>
                      <a:lnTo>
                        <a:pt x="150" y="174"/>
                      </a:lnTo>
                      <a:lnTo>
                        <a:pt x="149" y="173"/>
                      </a:lnTo>
                      <a:lnTo>
                        <a:pt x="148" y="171"/>
                      </a:lnTo>
                      <a:lnTo>
                        <a:pt x="148" y="174"/>
                      </a:lnTo>
                      <a:lnTo>
                        <a:pt x="150" y="177"/>
                      </a:lnTo>
                      <a:lnTo>
                        <a:pt x="152" y="179"/>
                      </a:lnTo>
                      <a:lnTo>
                        <a:pt x="153" y="182"/>
                      </a:lnTo>
                      <a:lnTo>
                        <a:pt x="152" y="185"/>
                      </a:lnTo>
                      <a:lnTo>
                        <a:pt x="149" y="189"/>
                      </a:lnTo>
                      <a:lnTo>
                        <a:pt x="145" y="189"/>
                      </a:lnTo>
                      <a:lnTo>
                        <a:pt x="142" y="187"/>
                      </a:lnTo>
                      <a:lnTo>
                        <a:pt x="140" y="190"/>
                      </a:lnTo>
                      <a:lnTo>
                        <a:pt x="142" y="193"/>
                      </a:lnTo>
                      <a:lnTo>
                        <a:pt x="144" y="195"/>
                      </a:lnTo>
                      <a:lnTo>
                        <a:pt x="147" y="196"/>
                      </a:lnTo>
                      <a:lnTo>
                        <a:pt x="145" y="198"/>
                      </a:lnTo>
                      <a:lnTo>
                        <a:pt x="143" y="199"/>
                      </a:lnTo>
                      <a:lnTo>
                        <a:pt x="142" y="204"/>
                      </a:lnTo>
                      <a:lnTo>
                        <a:pt x="142" y="207"/>
                      </a:lnTo>
                      <a:lnTo>
                        <a:pt x="143" y="210"/>
                      </a:lnTo>
                      <a:lnTo>
                        <a:pt x="144" y="212"/>
                      </a:lnTo>
                      <a:lnTo>
                        <a:pt x="144" y="215"/>
                      </a:lnTo>
                      <a:lnTo>
                        <a:pt x="140" y="211"/>
                      </a:lnTo>
                      <a:lnTo>
                        <a:pt x="136" y="211"/>
                      </a:lnTo>
                      <a:lnTo>
                        <a:pt x="138" y="212"/>
                      </a:lnTo>
                      <a:lnTo>
                        <a:pt x="139" y="212"/>
                      </a:lnTo>
                      <a:lnTo>
                        <a:pt x="139" y="212"/>
                      </a:lnTo>
                      <a:lnTo>
                        <a:pt x="138" y="214"/>
                      </a:lnTo>
                      <a:lnTo>
                        <a:pt x="136" y="214"/>
                      </a:lnTo>
                      <a:lnTo>
                        <a:pt x="137" y="214"/>
                      </a:lnTo>
                      <a:lnTo>
                        <a:pt x="139" y="215"/>
                      </a:lnTo>
                      <a:lnTo>
                        <a:pt x="136" y="215"/>
                      </a:lnTo>
                      <a:lnTo>
                        <a:pt x="136" y="215"/>
                      </a:lnTo>
                      <a:lnTo>
                        <a:pt x="137" y="216"/>
                      </a:lnTo>
                      <a:lnTo>
                        <a:pt x="138" y="216"/>
                      </a:lnTo>
                      <a:lnTo>
                        <a:pt x="137" y="216"/>
                      </a:lnTo>
                      <a:lnTo>
                        <a:pt x="136" y="216"/>
                      </a:lnTo>
                      <a:lnTo>
                        <a:pt x="137" y="217"/>
                      </a:lnTo>
                      <a:lnTo>
                        <a:pt x="138" y="220"/>
                      </a:lnTo>
                      <a:lnTo>
                        <a:pt x="138" y="220"/>
                      </a:lnTo>
                      <a:lnTo>
                        <a:pt x="136" y="220"/>
                      </a:lnTo>
                      <a:lnTo>
                        <a:pt x="138" y="222"/>
                      </a:lnTo>
                      <a:lnTo>
                        <a:pt x="138" y="225"/>
                      </a:lnTo>
                      <a:lnTo>
                        <a:pt x="138" y="230"/>
                      </a:lnTo>
                      <a:lnTo>
                        <a:pt x="139" y="236"/>
                      </a:lnTo>
                      <a:lnTo>
                        <a:pt x="143" y="239"/>
                      </a:lnTo>
                      <a:lnTo>
                        <a:pt x="139" y="242"/>
                      </a:lnTo>
                      <a:lnTo>
                        <a:pt x="142" y="242"/>
                      </a:lnTo>
                      <a:lnTo>
                        <a:pt x="144" y="243"/>
                      </a:lnTo>
                      <a:lnTo>
                        <a:pt x="147" y="243"/>
                      </a:lnTo>
                      <a:lnTo>
                        <a:pt x="148" y="244"/>
                      </a:lnTo>
                      <a:lnTo>
                        <a:pt x="150" y="247"/>
                      </a:lnTo>
                      <a:lnTo>
                        <a:pt x="153" y="247"/>
                      </a:lnTo>
                      <a:lnTo>
                        <a:pt x="155" y="246"/>
                      </a:lnTo>
                      <a:lnTo>
                        <a:pt x="158" y="244"/>
                      </a:lnTo>
                      <a:lnTo>
                        <a:pt x="158" y="247"/>
                      </a:lnTo>
                      <a:lnTo>
                        <a:pt x="159" y="249"/>
                      </a:lnTo>
                      <a:lnTo>
                        <a:pt x="163" y="251"/>
                      </a:lnTo>
                      <a:lnTo>
                        <a:pt x="168" y="253"/>
                      </a:lnTo>
                      <a:lnTo>
                        <a:pt x="171" y="255"/>
                      </a:lnTo>
                      <a:lnTo>
                        <a:pt x="170" y="255"/>
                      </a:lnTo>
                      <a:lnTo>
                        <a:pt x="169" y="257"/>
                      </a:lnTo>
                      <a:lnTo>
                        <a:pt x="170" y="258"/>
                      </a:lnTo>
                      <a:lnTo>
                        <a:pt x="174" y="259"/>
                      </a:lnTo>
                      <a:lnTo>
                        <a:pt x="176" y="259"/>
                      </a:lnTo>
                      <a:lnTo>
                        <a:pt x="179" y="262"/>
                      </a:lnTo>
                      <a:lnTo>
                        <a:pt x="181" y="265"/>
                      </a:lnTo>
                      <a:lnTo>
                        <a:pt x="182" y="266"/>
                      </a:lnTo>
                      <a:lnTo>
                        <a:pt x="181" y="266"/>
                      </a:lnTo>
                      <a:lnTo>
                        <a:pt x="180" y="265"/>
                      </a:lnTo>
                      <a:lnTo>
                        <a:pt x="185" y="271"/>
                      </a:lnTo>
                      <a:lnTo>
                        <a:pt x="179" y="273"/>
                      </a:lnTo>
                      <a:lnTo>
                        <a:pt x="174" y="276"/>
                      </a:lnTo>
                      <a:lnTo>
                        <a:pt x="171" y="278"/>
                      </a:lnTo>
                      <a:lnTo>
                        <a:pt x="168" y="279"/>
                      </a:lnTo>
                      <a:lnTo>
                        <a:pt x="166" y="280"/>
                      </a:lnTo>
                      <a:lnTo>
                        <a:pt x="166" y="281"/>
                      </a:lnTo>
                      <a:lnTo>
                        <a:pt x="168" y="281"/>
                      </a:lnTo>
                      <a:lnTo>
                        <a:pt x="165" y="281"/>
                      </a:lnTo>
                      <a:lnTo>
                        <a:pt x="163" y="280"/>
                      </a:lnTo>
                      <a:lnTo>
                        <a:pt x="164" y="282"/>
                      </a:lnTo>
                      <a:lnTo>
                        <a:pt x="168" y="284"/>
                      </a:lnTo>
                      <a:lnTo>
                        <a:pt x="170" y="282"/>
                      </a:lnTo>
                      <a:lnTo>
                        <a:pt x="171" y="280"/>
                      </a:lnTo>
                      <a:lnTo>
                        <a:pt x="172" y="282"/>
                      </a:lnTo>
                      <a:lnTo>
                        <a:pt x="174" y="284"/>
                      </a:lnTo>
                      <a:lnTo>
                        <a:pt x="174" y="286"/>
                      </a:lnTo>
                      <a:lnTo>
                        <a:pt x="171" y="285"/>
                      </a:lnTo>
                      <a:lnTo>
                        <a:pt x="174" y="285"/>
                      </a:lnTo>
                      <a:lnTo>
                        <a:pt x="174" y="286"/>
                      </a:lnTo>
                      <a:lnTo>
                        <a:pt x="172" y="286"/>
                      </a:lnTo>
                      <a:lnTo>
                        <a:pt x="169" y="285"/>
                      </a:lnTo>
                      <a:lnTo>
                        <a:pt x="168" y="284"/>
                      </a:lnTo>
                      <a:lnTo>
                        <a:pt x="169" y="287"/>
                      </a:lnTo>
                      <a:lnTo>
                        <a:pt x="171" y="289"/>
                      </a:lnTo>
                      <a:lnTo>
                        <a:pt x="164" y="291"/>
                      </a:lnTo>
                      <a:lnTo>
                        <a:pt x="160" y="294"/>
                      </a:lnTo>
                      <a:lnTo>
                        <a:pt x="158" y="297"/>
                      </a:lnTo>
                      <a:lnTo>
                        <a:pt x="156" y="297"/>
                      </a:lnTo>
                      <a:lnTo>
                        <a:pt x="155" y="295"/>
                      </a:lnTo>
                      <a:lnTo>
                        <a:pt x="154" y="292"/>
                      </a:lnTo>
                      <a:lnTo>
                        <a:pt x="152" y="291"/>
                      </a:lnTo>
                      <a:lnTo>
                        <a:pt x="154" y="294"/>
                      </a:lnTo>
                      <a:lnTo>
                        <a:pt x="154" y="296"/>
                      </a:lnTo>
                      <a:lnTo>
                        <a:pt x="152" y="295"/>
                      </a:lnTo>
                      <a:lnTo>
                        <a:pt x="152" y="297"/>
                      </a:lnTo>
                      <a:lnTo>
                        <a:pt x="150" y="298"/>
                      </a:lnTo>
                      <a:lnTo>
                        <a:pt x="148" y="297"/>
                      </a:lnTo>
                      <a:lnTo>
                        <a:pt x="149" y="300"/>
                      </a:lnTo>
                      <a:lnTo>
                        <a:pt x="144" y="302"/>
                      </a:lnTo>
                      <a:lnTo>
                        <a:pt x="138" y="301"/>
                      </a:lnTo>
                      <a:lnTo>
                        <a:pt x="142" y="303"/>
                      </a:lnTo>
                      <a:lnTo>
                        <a:pt x="137" y="305"/>
                      </a:lnTo>
                      <a:lnTo>
                        <a:pt x="132" y="305"/>
                      </a:lnTo>
                      <a:lnTo>
                        <a:pt x="126" y="303"/>
                      </a:lnTo>
                      <a:lnTo>
                        <a:pt x="122" y="306"/>
                      </a:lnTo>
                      <a:lnTo>
                        <a:pt x="129" y="306"/>
                      </a:lnTo>
                      <a:lnTo>
                        <a:pt x="133" y="307"/>
                      </a:lnTo>
                      <a:lnTo>
                        <a:pt x="136" y="310"/>
                      </a:lnTo>
                      <a:lnTo>
                        <a:pt x="133" y="311"/>
                      </a:lnTo>
                      <a:lnTo>
                        <a:pt x="129" y="311"/>
                      </a:lnTo>
                      <a:lnTo>
                        <a:pt x="125" y="310"/>
                      </a:lnTo>
                      <a:lnTo>
                        <a:pt x="129" y="312"/>
                      </a:lnTo>
                      <a:lnTo>
                        <a:pt x="133" y="317"/>
                      </a:lnTo>
                      <a:lnTo>
                        <a:pt x="134" y="318"/>
                      </a:lnTo>
                      <a:lnTo>
                        <a:pt x="134" y="321"/>
                      </a:lnTo>
                      <a:lnTo>
                        <a:pt x="133" y="323"/>
                      </a:lnTo>
                      <a:lnTo>
                        <a:pt x="129" y="324"/>
                      </a:lnTo>
                      <a:lnTo>
                        <a:pt x="132" y="326"/>
                      </a:lnTo>
                      <a:lnTo>
                        <a:pt x="133" y="328"/>
                      </a:lnTo>
                      <a:lnTo>
                        <a:pt x="129" y="327"/>
                      </a:lnTo>
                      <a:lnTo>
                        <a:pt x="127" y="327"/>
                      </a:lnTo>
                      <a:lnTo>
                        <a:pt x="128" y="328"/>
                      </a:lnTo>
                      <a:lnTo>
                        <a:pt x="131" y="330"/>
                      </a:lnTo>
                      <a:lnTo>
                        <a:pt x="132" y="333"/>
                      </a:lnTo>
                      <a:lnTo>
                        <a:pt x="131" y="334"/>
                      </a:lnTo>
                      <a:lnTo>
                        <a:pt x="129" y="335"/>
                      </a:lnTo>
                      <a:lnTo>
                        <a:pt x="131" y="338"/>
                      </a:lnTo>
                      <a:lnTo>
                        <a:pt x="132" y="339"/>
                      </a:lnTo>
                      <a:lnTo>
                        <a:pt x="132" y="341"/>
                      </a:lnTo>
                      <a:lnTo>
                        <a:pt x="129" y="346"/>
                      </a:lnTo>
                      <a:lnTo>
                        <a:pt x="128" y="353"/>
                      </a:lnTo>
                      <a:lnTo>
                        <a:pt x="128" y="359"/>
                      </a:lnTo>
                      <a:lnTo>
                        <a:pt x="125" y="364"/>
                      </a:lnTo>
                      <a:lnTo>
                        <a:pt x="122" y="369"/>
                      </a:lnTo>
                      <a:lnTo>
                        <a:pt x="120" y="375"/>
                      </a:lnTo>
                      <a:lnTo>
                        <a:pt x="116" y="380"/>
                      </a:lnTo>
                      <a:lnTo>
                        <a:pt x="113" y="381"/>
                      </a:lnTo>
                      <a:lnTo>
                        <a:pt x="110" y="380"/>
                      </a:lnTo>
                      <a:lnTo>
                        <a:pt x="106" y="380"/>
                      </a:lnTo>
                      <a:lnTo>
                        <a:pt x="102" y="380"/>
                      </a:lnTo>
                      <a:lnTo>
                        <a:pt x="94" y="381"/>
                      </a:lnTo>
                      <a:lnTo>
                        <a:pt x="91" y="381"/>
                      </a:lnTo>
                      <a:lnTo>
                        <a:pt x="89" y="381"/>
                      </a:lnTo>
                      <a:lnTo>
                        <a:pt x="86" y="382"/>
                      </a:lnTo>
                      <a:lnTo>
                        <a:pt x="88" y="385"/>
                      </a:lnTo>
                      <a:lnTo>
                        <a:pt x="84" y="386"/>
                      </a:lnTo>
                      <a:lnTo>
                        <a:pt x="80" y="386"/>
                      </a:lnTo>
                      <a:lnTo>
                        <a:pt x="78" y="387"/>
                      </a:lnTo>
                      <a:lnTo>
                        <a:pt x="75" y="391"/>
                      </a:lnTo>
                      <a:lnTo>
                        <a:pt x="74" y="393"/>
                      </a:lnTo>
                      <a:lnTo>
                        <a:pt x="75" y="396"/>
                      </a:lnTo>
                      <a:lnTo>
                        <a:pt x="77" y="398"/>
                      </a:lnTo>
                      <a:lnTo>
                        <a:pt x="78" y="400"/>
                      </a:lnTo>
                      <a:lnTo>
                        <a:pt x="77" y="404"/>
                      </a:lnTo>
                      <a:lnTo>
                        <a:pt x="73" y="404"/>
                      </a:lnTo>
                      <a:lnTo>
                        <a:pt x="69" y="404"/>
                      </a:lnTo>
                      <a:lnTo>
                        <a:pt x="67" y="403"/>
                      </a:lnTo>
                      <a:lnTo>
                        <a:pt x="54" y="404"/>
                      </a:lnTo>
                      <a:lnTo>
                        <a:pt x="42" y="404"/>
                      </a:lnTo>
                      <a:lnTo>
                        <a:pt x="43" y="403"/>
                      </a:lnTo>
                      <a:lnTo>
                        <a:pt x="45" y="399"/>
                      </a:lnTo>
                      <a:lnTo>
                        <a:pt x="45" y="396"/>
                      </a:lnTo>
                      <a:lnTo>
                        <a:pt x="43" y="392"/>
                      </a:lnTo>
                      <a:lnTo>
                        <a:pt x="41" y="389"/>
                      </a:lnTo>
                      <a:lnTo>
                        <a:pt x="37" y="385"/>
                      </a:lnTo>
                      <a:lnTo>
                        <a:pt x="35" y="381"/>
                      </a:lnTo>
                      <a:lnTo>
                        <a:pt x="34" y="376"/>
                      </a:lnTo>
                      <a:lnTo>
                        <a:pt x="37" y="377"/>
                      </a:lnTo>
                      <a:lnTo>
                        <a:pt x="38" y="378"/>
                      </a:lnTo>
                      <a:lnTo>
                        <a:pt x="40" y="377"/>
                      </a:lnTo>
                      <a:lnTo>
                        <a:pt x="38" y="375"/>
                      </a:lnTo>
                      <a:lnTo>
                        <a:pt x="37" y="371"/>
                      </a:lnTo>
                      <a:lnTo>
                        <a:pt x="41" y="370"/>
                      </a:lnTo>
                      <a:lnTo>
                        <a:pt x="42" y="370"/>
                      </a:lnTo>
                      <a:lnTo>
                        <a:pt x="42" y="369"/>
                      </a:lnTo>
                      <a:lnTo>
                        <a:pt x="42" y="367"/>
                      </a:lnTo>
                      <a:lnTo>
                        <a:pt x="38" y="364"/>
                      </a:lnTo>
                      <a:lnTo>
                        <a:pt x="35" y="360"/>
                      </a:lnTo>
                      <a:lnTo>
                        <a:pt x="30" y="355"/>
                      </a:lnTo>
                      <a:lnTo>
                        <a:pt x="25" y="348"/>
                      </a:lnTo>
                      <a:lnTo>
                        <a:pt x="22" y="344"/>
                      </a:lnTo>
                      <a:lnTo>
                        <a:pt x="21" y="341"/>
                      </a:lnTo>
                      <a:lnTo>
                        <a:pt x="19" y="343"/>
                      </a:lnTo>
                      <a:lnTo>
                        <a:pt x="19" y="335"/>
                      </a:lnTo>
                      <a:lnTo>
                        <a:pt x="18" y="334"/>
                      </a:lnTo>
                      <a:lnTo>
                        <a:pt x="15" y="332"/>
                      </a:lnTo>
                      <a:lnTo>
                        <a:pt x="15" y="332"/>
                      </a:lnTo>
                      <a:lnTo>
                        <a:pt x="16" y="329"/>
                      </a:lnTo>
                      <a:lnTo>
                        <a:pt x="15" y="329"/>
                      </a:lnTo>
                      <a:lnTo>
                        <a:pt x="15" y="328"/>
                      </a:lnTo>
                      <a:lnTo>
                        <a:pt x="15" y="323"/>
                      </a:lnTo>
                      <a:lnTo>
                        <a:pt x="16" y="317"/>
                      </a:lnTo>
                      <a:lnTo>
                        <a:pt x="16" y="314"/>
                      </a:lnTo>
                      <a:lnTo>
                        <a:pt x="18" y="313"/>
                      </a:lnTo>
                      <a:lnTo>
                        <a:pt x="15" y="313"/>
                      </a:lnTo>
                      <a:lnTo>
                        <a:pt x="13" y="314"/>
                      </a:lnTo>
                      <a:lnTo>
                        <a:pt x="11" y="316"/>
                      </a:lnTo>
                      <a:lnTo>
                        <a:pt x="9" y="316"/>
                      </a:lnTo>
                      <a:lnTo>
                        <a:pt x="13" y="311"/>
                      </a:lnTo>
                      <a:lnTo>
                        <a:pt x="10" y="311"/>
                      </a:lnTo>
                      <a:lnTo>
                        <a:pt x="10" y="312"/>
                      </a:lnTo>
                      <a:lnTo>
                        <a:pt x="9" y="313"/>
                      </a:lnTo>
                      <a:lnTo>
                        <a:pt x="6" y="314"/>
                      </a:lnTo>
                      <a:lnTo>
                        <a:pt x="5" y="312"/>
                      </a:lnTo>
                      <a:lnTo>
                        <a:pt x="3" y="313"/>
                      </a:lnTo>
                      <a:lnTo>
                        <a:pt x="3" y="308"/>
                      </a:lnTo>
                      <a:lnTo>
                        <a:pt x="2" y="301"/>
                      </a:lnTo>
                      <a:lnTo>
                        <a:pt x="0" y="295"/>
                      </a:lnTo>
                      <a:lnTo>
                        <a:pt x="2" y="290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1" name="Freeform 318">
                  <a:extLst>
                    <a:ext uri="{FF2B5EF4-FFF2-40B4-BE49-F238E27FC236}">
                      <a16:creationId xmlns:a16="http://schemas.microsoft.com/office/drawing/2014/main" id="{ED66F1D5-9D03-466E-A55A-69657148E0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53656" y="5338991"/>
                  <a:ext cx="2240" cy="2653"/>
                </a:xfrm>
                <a:custGeom>
                  <a:avLst/>
                  <a:gdLst>
                    <a:gd name="T0" fmla="*/ 0 w 2"/>
                    <a:gd name="T1" fmla="*/ 0 h 3"/>
                    <a:gd name="T2" fmla="*/ 2 w 2"/>
                    <a:gd name="T3" fmla="*/ 1 h 3"/>
                    <a:gd name="T4" fmla="*/ 2 w 2"/>
                    <a:gd name="T5" fmla="*/ 3 h 3"/>
                    <a:gd name="T6" fmla="*/ 0 w 2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3">
                      <a:moveTo>
                        <a:pt x="0" y="0"/>
                      </a:moveTo>
                      <a:lnTo>
                        <a:pt x="2" y="1"/>
                      </a:lnTo>
                      <a:lnTo>
                        <a:pt x="2" y="3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2" name="Freeform 319">
                  <a:extLst>
                    <a:ext uri="{FF2B5EF4-FFF2-40B4-BE49-F238E27FC236}">
                      <a16:creationId xmlns:a16="http://schemas.microsoft.com/office/drawing/2014/main" id="{5C98A882-2B3D-4DF7-B91C-22EA062BBD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6903" y="6187654"/>
                  <a:ext cx="89541" cy="87519"/>
                </a:xfrm>
                <a:custGeom>
                  <a:avLst/>
                  <a:gdLst>
                    <a:gd name="T0" fmla="*/ 5 w 80"/>
                    <a:gd name="T1" fmla="*/ 40 h 66"/>
                    <a:gd name="T2" fmla="*/ 9 w 80"/>
                    <a:gd name="T3" fmla="*/ 33 h 66"/>
                    <a:gd name="T4" fmla="*/ 9 w 80"/>
                    <a:gd name="T5" fmla="*/ 27 h 66"/>
                    <a:gd name="T6" fmla="*/ 14 w 80"/>
                    <a:gd name="T7" fmla="*/ 23 h 66"/>
                    <a:gd name="T8" fmla="*/ 15 w 80"/>
                    <a:gd name="T9" fmla="*/ 20 h 66"/>
                    <a:gd name="T10" fmla="*/ 12 w 80"/>
                    <a:gd name="T11" fmla="*/ 16 h 66"/>
                    <a:gd name="T12" fmla="*/ 8 w 80"/>
                    <a:gd name="T13" fmla="*/ 13 h 66"/>
                    <a:gd name="T14" fmla="*/ 8 w 80"/>
                    <a:gd name="T15" fmla="*/ 9 h 66"/>
                    <a:gd name="T16" fmla="*/ 11 w 80"/>
                    <a:gd name="T17" fmla="*/ 6 h 66"/>
                    <a:gd name="T18" fmla="*/ 16 w 80"/>
                    <a:gd name="T19" fmla="*/ 3 h 66"/>
                    <a:gd name="T20" fmla="*/ 22 w 80"/>
                    <a:gd name="T21" fmla="*/ 2 h 66"/>
                    <a:gd name="T22" fmla="*/ 31 w 80"/>
                    <a:gd name="T23" fmla="*/ 0 h 66"/>
                    <a:gd name="T24" fmla="*/ 37 w 80"/>
                    <a:gd name="T25" fmla="*/ 4 h 66"/>
                    <a:gd name="T26" fmla="*/ 43 w 80"/>
                    <a:gd name="T27" fmla="*/ 3 h 66"/>
                    <a:gd name="T28" fmla="*/ 49 w 80"/>
                    <a:gd name="T29" fmla="*/ 4 h 66"/>
                    <a:gd name="T30" fmla="*/ 51 w 80"/>
                    <a:gd name="T31" fmla="*/ 7 h 66"/>
                    <a:gd name="T32" fmla="*/ 51 w 80"/>
                    <a:gd name="T33" fmla="*/ 11 h 66"/>
                    <a:gd name="T34" fmla="*/ 63 w 80"/>
                    <a:gd name="T35" fmla="*/ 22 h 66"/>
                    <a:gd name="T36" fmla="*/ 78 w 80"/>
                    <a:gd name="T37" fmla="*/ 28 h 66"/>
                    <a:gd name="T38" fmla="*/ 80 w 80"/>
                    <a:gd name="T39" fmla="*/ 32 h 66"/>
                    <a:gd name="T40" fmla="*/ 76 w 80"/>
                    <a:gd name="T41" fmla="*/ 36 h 66"/>
                    <a:gd name="T42" fmla="*/ 67 w 80"/>
                    <a:gd name="T43" fmla="*/ 35 h 66"/>
                    <a:gd name="T44" fmla="*/ 58 w 80"/>
                    <a:gd name="T45" fmla="*/ 33 h 66"/>
                    <a:gd name="T46" fmla="*/ 51 w 80"/>
                    <a:gd name="T47" fmla="*/ 35 h 66"/>
                    <a:gd name="T48" fmla="*/ 47 w 80"/>
                    <a:gd name="T49" fmla="*/ 36 h 66"/>
                    <a:gd name="T50" fmla="*/ 40 w 80"/>
                    <a:gd name="T51" fmla="*/ 36 h 66"/>
                    <a:gd name="T52" fmla="*/ 35 w 80"/>
                    <a:gd name="T53" fmla="*/ 44 h 66"/>
                    <a:gd name="T54" fmla="*/ 27 w 80"/>
                    <a:gd name="T55" fmla="*/ 49 h 66"/>
                    <a:gd name="T56" fmla="*/ 16 w 80"/>
                    <a:gd name="T57" fmla="*/ 56 h 66"/>
                    <a:gd name="T58" fmla="*/ 10 w 80"/>
                    <a:gd name="T59" fmla="*/ 63 h 66"/>
                    <a:gd name="T60" fmla="*/ 6 w 80"/>
                    <a:gd name="T61" fmla="*/ 62 h 66"/>
                    <a:gd name="T62" fmla="*/ 10 w 80"/>
                    <a:gd name="T63" fmla="*/ 56 h 66"/>
                    <a:gd name="T64" fmla="*/ 15 w 80"/>
                    <a:gd name="T65" fmla="*/ 52 h 66"/>
                    <a:gd name="T66" fmla="*/ 21 w 80"/>
                    <a:gd name="T67" fmla="*/ 50 h 66"/>
                    <a:gd name="T68" fmla="*/ 21 w 80"/>
                    <a:gd name="T69" fmla="*/ 47 h 66"/>
                    <a:gd name="T70" fmla="*/ 15 w 80"/>
                    <a:gd name="T71" fmla="*/ 46 h 66"/>
                    <a:gd name="T72" fmla="*/ 4 w 80"/>
                    <a:gd name="T73" fmla="*/ 49 h 66"/>
                    <a:gd name="T74" fmla="*/ 0 w 80"/>
                    <a:gd name="T75" fmla="*/ 44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80" h="66">
                      <a:moveTo>
                        <a:pt x="0" y="44"/>
                      </a:moveTo>
                      <a:lnTo>
                        <a:pt x="5" y="40"/>
                      </a:lnTo>
                      <a:lnTo>
                        <a:pt x="8" y="35"/>
                      </a:lnTo>
                      <a:lnTo>
                        <a:pt x="9" y="33"/>
                      </a:lnTo>
                      <a:lnTo>
                        <a:pt x="8" y="29"/>
                      </a:lnTo>
                      <a:lnTo>
                        <a:pt x="9" y="27"/>
                      </a:lnTo>
                      <a:lnTo>
                        <a:pt x="12" y="24"/>
                      </a:lnTo>
                      <a:lnTo>
                        <a:pt x="14" y="23"/>
                      </a:lnTo>
                      <a:lnTo>
                        <a:pt x="15" y="22"/>
                      </a:lnTo>
                      <a:lnTo>
                        <a:pt x="15" y="20"/>
                      </a:lnTo>
                      <a:lnTo>
                        <a:pt x="14" y="19"/>
                      </a:lnTo>
                      <a:lnTo>
                        <a:pt x="12" y="16"/>
                      </a:lnTo>
                      <a:lnTo>
                        <a:pt x="10" y="13"/>
                      </a:lnTo>
                      <a:lnTo>
                        <a:pt x="8" y="13"/>
                      </a:lnTo>
                      <a:lnTo>
                        <a:pt x="6" y="12"/>
                      </a:lnTo>
                      <a:lnTo>
                        <a:pt x="8" y="9"/>
                      </a:lnTo>
                      <a:lnTo>
                        <a:pt x="10" y="8"/>
                      </a:lnTo>
                      <a:lnTo>
                        <a:pt x="11" y="6"/>
                      </a:lnTo>
                      <a:lnTo>
                        <a:pt x="12" y="4"/>
                      </a:lnTo>
                      <a:lnTo>
                        <a:pt x="16" y="3"/>
                      </a:lnTo>
                      <a:lnTo>
                        <a:pt x="20" y="2"/>
                      </a:lnTo>
                      <a:lnTo>
                        <a:pt x="22" y="2"/>
                      </a:lnTo>
                      <a:lnTo>
                        <a:pt x="28" y="0"/>
                      </a:lnTo>
                      <a:lnTo>
                        <a:pt x="31" y="0"/>
                      </a:lnTo>
                      <a:lnTo>
                        <a:pt x="35" y="2"/>
                      </a:lnTo>
                      <a:lnTo>
                        <a:pt x="37" y="4"/>
                      </a:lnTo>
                      <a:lnTo>
                        <a:pt x="38" y="4"/>
                      </a:lnTo>
                      <a:lnTo>
                        <a:pt x="43" y="3"/>
                      </a:lnTo>
                      <a:lnTo>
                        <a:pt x="47" y="3"/>
                      </a:lnTo>
                      <a:lnTo>
                        <a:pt x="49" y="4"/>
                      </a:lnTo>
                      <a:lnTo>
                        <a:pt x="51" y="6"/>
                      </a:lnTo>
                      <a:lnTo>
                        <a:pt x="51" y="7"/>
                      </a:lnTo>
                      <a:lnTo>
                        <a:pt x="49" y="8"/>
                      </a:lnTo>
                      <a:lnTo>
                        <a:pt x="51" y="11"/>
                      </a:lnTo>
                      <a:lnTo>
                        <a:pt x="57" y="17"/>
                      </a:lnTo>
                      <a:lnTo>
                        <a:pt x="63" y="22"/>
                      </a:lnTo>
                      <a:lnTo>
                        <a:pt x="70" y="24"/>
                      </a:lnTo>
                      <a:lnTo>
                        <a:pt x="78" y="28"/>
                      </a:lnTo>
                      <a:lnTo>
                        <a:pt x="80" y="29"/>
                      </a:lnTo>
                      <a:lnTo>
                        <a:pt x="80" y="32"/>
                      </a:lnTo>
                      <a:lnTo>
                        <a:pt x="78" y="35"/>
                      </a:lnTo>
                      <a:lnTo>
                        <a:pt x="76" y="36"/>
                      </a:lnTo>
                      <a:lnTo>
                        <a:pt x="72" y="36"/>
                      </a:lnTo>
                      <a:lnTo>
                        <a:pt x="67" y="35"/>
                      </a:lnTo>
                      <a:lnTo>
                        <a:pt x="62" y="34"/>
                      </a:lnTo>
                      <a:lnTo>
                        <a:pt x="58" y="33"/>
                      </a:lnTo>
                      <a:lnTo>
                        <a:pt x="54" y="34"/>
                      </a:lnTo>
                      <a:lnTo>
                        <a:pt x="51" y="35"/>
                      </a:lnTo>
                      <a:lnTo>
                        <a:pt x="48" y="36"/>
                      </a:lnTo>
                      <a:lnTo>
                        <a:pt x="47" y="36"/>
                      </a:lnTo>
                      <a:lnTo>
                        <a:pt x="42" y="35"/>
                      </a:lnTo>
                      <a:lnTo>
                        <a:pt x="40" y="36"/>
                      </a:lnTo>
                      <a:lnTo>
                        <a:pt x="38" y="39"/>
                      </a:lnTo>
                      <a:lnTo>
                        <a:pt x="35" y="44"/>
                      </a:lnTo>
                      <a:lnTo>
                        <a:pt x="31" y="46"/>
                      </a:lnTo>
                      <a:lnTo>
                        <a:pt x="27" y="49"/>
                      </a:lnTo>
                      <a:lnTo>
                        <a:pt x="20" y="54"/>
                      </a:lnTo>
                      <a:lnTo>
                        <a:pt x="16" y="56"/>
                      </a:lnTo>
                      <a:lnTo>
                        <a:pt x="14" y="60"/>
                      </a:lnTo>
                      <a:lnTo>
                        <a:pt x="10" y="63"/>
                      </a:lnTo>
                      <a:lnTo>
                        <a:pt x="6" y="66"/>
                      </a:lnTo>
                      <a:lnTo>
                        <a:pt x="6" y="62"/>
                      </a:lnTo>
                      <a:lnTo>
                        <a:pt x="8" y="59"/>
                      </a:lnTo>
                      <a:lnTo>
                        <a:pt x="10" y="56"/>
                      </a:lnTo>
                      <a:lnTo>
                        <a:pt x="12" y="54"/>
                      </a:lnTo>
                      <a:lnTo>
                        <a:pt x="15" y="52"/>
                      </a:lnTo>
                      <a:lnTo>
                        <a:pt x="19" y="51"/>
                      </a:lnTo>
                      <a:lnTo>
                        <a:pt x="21" y="50"/>
                      </a:lnTo>
                      <a:lnTo>
                        <a:pt x="21" y="49"/>
                      </a:lnTo>
                      <a:lnTo>
                        <a:pt x="21" y="47"/>
                      </a:lnTo>
                      <a:lnTo>
                        <a:pt x="19" y="46"/>
                      </a:lnTo>
                      <a:lnTo>
                        <a:pt x="15" y="46"/>
                      </a:lnTo>
                      <a:lnTo>
                        <a:pt x="10" y="49"/>
                      </a:lnTo>
                      <a:lnTo>
                        <a:pt x="4" y="49"/>
                      </a:lnTo>
                      <a:lnTo>
                        <a:pt x="1" y="47"/>
                      </a:lnTo>
                      <a:lnTo>
                        <a:pt x="0" y="4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3" name="Freeform 320">
                  <a:extLst>
                    <a:ext uri="{FF2B5EF4-FFF2-40B4-BE49-F238E27FC236}">
                      <a16:creationId xmlns:a16="http://schemas.microsoft.com/office/drawing/2014/main" id="{4CE59432-D1FD-4A69-95E0-B34300DC24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9141" y="6187654"/>
                  <a:ext cx="575298" cy="270512"/>
                </a:xfrm>
                <a:custGeom>
                  <a:avLst/>
                  <a:gdLst>
                    <a:gd name="T0" fmla="*/ 6 w 514"/>
                    <a:gd name="T1" fmla="*/ 65 h 204"/>
                    <a:gd name="T2" fmla="*/ 24 w 514"/>
                    <a:gd name="T3" fmla="*/ 54 h 204"/>
                    <a:gd name="T4" fmla="*/ 44 w 514"/>
                    <a:gd name="T5" fmla="*/ 54 h 204"/>
                    <a:gd name="T6" fmla="*/ 54 w 514"/>
                    <a:gd name="T7" fmla="*/ 55 h 204"/>
                    <a:gd name="T8" fmla="*/ 79 w 514"/>
                    <a:gd name="T9" fmla="*/ 51 h 204"/>
                    <a:gd name="T10" fmla="*/ 98 w 514"/>
                    <a:gd name="T11" fmla="*/ 43 h 204"/>
                    <a:gd name="T12" fmla="*/ 80 w 514"/>
                    <a:gd name="T13" fmla="*/ 28 h 204"/>
                    <a:gd name="T14" fmla="*/ 124 w 514"/>
                    <a:gd name="T15" fmla="*/ 32 h 204"/>
                    <a:gd name="T16" fmla="*/ 146 w 514"/>
                    <a:gd name="T17" fmla="*/ 19 h 204"/>
                    <a:gd name="T18" fmla="*/ 210 w 514"/>
                    <a:gd name="T19" fmla="*/ 3 h 204"/>
                    <a:gd name="T20" fmla="*/ 235 w 514"/>
                    <a:gd name="T21" fmla="*/ 3 h 204"/>
                    <a:gd name="T22" fmla="*/ 257 w 514"/>
                    <a:gd name="T23" fmla="*/ 11 h 204"/>
                    <a:gd name="T24" fmla="*/ 266 w 514"/>
                    <a:gd name="T25" fmla="*/ 19 h 204"/>
                    <a:gd name="T26" fmla="*/ 286 w 514"/>
                    <a:gd name="T27" fmla="*/ 26 h 204"/>
                    <a:gd name="T28" fmla="*/ 311 w 514"/>
                    <a:gd name="T29" fmla="*/ 33 h 204"/>
                    <a:gd name="T30" fmla="*/ 345 w 514"/>
                    <a:gd name="T31" fmla="*/ 33 h 204"/>
                    <a:gd name="T32" fmla="*/ 406 w 514"/>
                    <a:gd name="T33" fmla="*/ 18 h 204"/>
                    <a:gd name="T34" fmla="*/ 419 w 514"/>
                    <a:gd name="T35" fmla="*/ 18 h 204"/>
                    <a:gd name="T36" fmla="*/ 439 w 514"/>
                    <a:gd name="T37" fmla="*/ 15 h 204"/>
                    <a:gd name="T38" fmla="*/ 452 w 514"/>
                    <a:gd name="T39" fmla="*/ 27 h 204"/>
                    <a:gd name="T40" fmla="*/ 467 w 514"/>
                    <a:gd name="T41" fmla="*/ 40 h 204"/>
                    <a:gd name="T42" fmla="*/ 470 w 514"/>
                    <a:gd name="T43" fmla="*/ 62 h 204"/>
                    <a:gd name="T44" fmla="*/ 502 w 514"/>
                    <a:gd name="T45" fmla="*/ 75 h 204"/>
                    <a:gd name="T46" fmla="*/ 494 w 514"/>
                    <a:gd name="T47" fmla="*/ 86 h 204"/>
                    <a:gd name="T48" fmla="*/ 492 w 514"/>
                    <a:gd name="T49" fmla="*/ 102 h 204"/>
                    <a:gd name="T50" fmla="*/ 497 w 514"/>
                    <a:gd name="T51" fmla="*/ 131 h 204"/>
                    <a:gd name="T52" fmla="*/ 508 w 514"/>
                    <a:gd name="T53" fmla="*/ 151 h 204"/>
                    <a:gd name="T54" fmla="*/ 507 w 514"/>
                    <a:gd name="T55" fmla="*/ 162 h 204"/>
                    <a:gd name="T56" fmla="*/ 494 w 514"/>
                    <a:gd name="T57" fmla="*/ 156 h 204"/>
                    <a:gd name="T58" fmla="*/ 460 w 514"/>
                    <a:gd name="T59" fmla="*/ 153 h 204"/>
                    <a:gd name="T60" fmla="*/ 445 w 514"/>
                    <a:gd name="T61" fmla="*/ 156 h 204"/>
                    <a:gd name="T62" fmla="*/ 401 w 514"/>
                    <a:gd name="T63" fmla="*/ 163 h 204"/>
                    <a:gd name="T64" fmla="*/ 353 w 514"/>
                    <a:gd name="T65" fmla="*/ 176 h 204"/>
                    <a:gd name="T66" fmla="*/ 318 w 514"/>
                    <a:gd name="T67" fmla="*/ 177 h 204"/>
                    <a:gd name="T68" fmla="*/ 293 w 514"/>
                    <a:gd name="T69" fmla="*/ 176 h 204"/>
                    <a:gd name="T70" fmla="*/ 286 w 514"/>
                    <a:gd name="T71" fmla="*/ 201 h 204"/>
                    <a:gd name="T72" fmla="*/ 273 w 514"/>
                    <a:gd name="T73" fmla="*/ 189 h 204"/>
                    <a:gd name="T74" fmla="*/ 280 w 514"/>
                    <a:gd name="T75" fmla="*/ 171 h 204"/>
                    <a:gd name="T76" fmla="*/ 264 w 514"/>
                    <a:gd name="T77" fmla="*/ 176 h 204"/>
                    <a:gd name="T78" fmla="*/ 241 w 514"/>
                    <a:gd name="T79" fmla="*/ 172 h 204"/>
                    <a:gd name="T80" fmla="*/ 218 w 514"/>
                    <a:gd name="T81" fmla="*/ 192 h 204"/>
                    <a:gd name="T82" fmla="*/ 192 w 514"/>
                    <a:gd name="T83" fmla="*/ 198 h 204"/>
                    <a:gd name="T84" fmla="*/ 143 w 514"/>
                    <a:gd name="T85" fmla="*/ 171 h 204"/>
                    <a:gd name="T86" fmla="*/ 128 w 514"/>
                    <a:gd name="T87" fmla="*/ 187 h 204"/>
                    <a:gd name="T88" fmla="*/ 112 w 514"/>
                    <a:gd name="T89" fmla="*/ 193 h 204"/>
                    <a:gd name="T90" fmla="*/ 88 w 514"/>
                    <a:gd name="T91" fmla="*/ 182 h 204"/>
                    <a:gd name="T92" fmla="*/ 75 w 514"/>
                    <a:gd name="T93" fmla="*/ 174 h 204"/>
                    <a:gd name="T94" fmla="*/ 60 w 514"/>
                    <a:gd name="T95" fmla="*/ 178 h 204"/>
                    <a:gd name="T96" fmla="*/ 42 w 514"/>
                    <a:gd name="T97" fmla="*/ 176 h 204"/>
                    <a:gd name="T98" fmla="*/ 61 w 514"/>
                    <a:gd name="T99" fmla="*/ 168 h 204"/>
                    <a:gd name="T100" fmla="*/ 37 w 514"/>
                    <a:gd name="T101" fmla="*/ 163 h 204"/>
                    <a:gd name="T102" fmla="*/ 42 w 514"/>
                    <a:gd name="T103" fmla="*/ 155 h 204"/>
                    <a:gd name="T104" fmla="*/ 33 w 514"/>
                    <a:gd name="T105" fmla="*/ 146 h 204"/>
                    <a:gd name="T106" fmla="*/ 32 w 514"/>
                    <a:gd name="T107" fmla="*/ 133 h 204"/>
                    <a:gd name="T108" fmla="*/ 17 w 514"/>
                    <a:gd name="T109" fmla="*/ 128 h 204"/>
                    <a:gd name="T110" fmla="*/ 12 w 514"/>
                    <a:gd name="T111" fmla="*/ 119 h 204"/>
                    <a:gd name="T112" fmla="*/ 17 w 514"/>
                    <a:gd name="T113" fmla="*/ 118 h 204"/>
                    <a:gd name="T114" fmla="*/ 29 w 514"/>
                    <a:gd name="T115" fmla="*/ 120 h 204"/>
                    <a:gd name="T116" fmla="*/ 26 w 514"/>
                    <a:gd name="T117" fmla="*/ 103 h 204"/>
                    <a:gd name="T118" fmla="*/ 23 w 514"/>
                    <a:gd name="T119" fmla="*/ 83 h 2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514" h="204">
                      <a:moveTo>
                        <a:pt x="0" y="85"/>
                      </a:moveTo>
                      <a:lnTo>
                        <a:pt x="0" y="81"/>
                      </a:lnTo>
                      <a:lnTo>
                        <a:pt x="1" y="75"/>
                      </a:lnTo>
                      <a:lnTo>
                        <a:pt x="1" y="70"/>
                      </a:lnTo>
                      <a:lnTo>
                        <a:pt x="2" y="67"/>
                      </a:lnTo>
                      <a:lnTo>
                        <a:pt x="2" y="66"/>
                      </a:lnTo>
                      <a:lnTo>
                        <a:pt x="6" y="65"/>
                      </a:lnTo>
                      <a:lnTo>
                        <a:pt x="8" y="61"/>
                      </a:lnTo>
                      <a:lnTo>
                        <a:pt x="12" y="58"/>
                      </a:lnTo>
                      <a:lnTo>
                        <a:pt x="15" y="55"/>
                      </a:lnTo>
                      <a:lnTo>
                        <a:pt x="17" y="54"/>
                      </a:lnTo>
                      <a:lnTo>
                        <a:pt x="20" y="54"/>
                      </a:lnTo>
                      <a:lnTo>
                        <a:pt x="22" y="54"/>
                      </a:lnTo>
                      <a:lnTo>
                        <a:pt x="24" y="54"/>
                      </a:lnTo>
                      <a:lnTo>
                        <a:pt x="27" y="53"/>
                      </a:lnTo>
                      <a:lnTo>
                        <a:pt x="28" y="53"/>
                      </a:lnTo>
                      <a:lnTo>
                        <a:pt x="32" y="55"/>
                      </a:lnTo>
                      <a:lnTo>
                        <a:pt x="37" y="56"/>
                      </a:lnTo>
                      <a:lnTo>
                        <a:pt x="42" y="56"/>
                      </a:lnTo>
                      <a:lnTo>
                        <a:pt x="43" y="55"/>
                      </a:lnTo>
                      <a:lnTo>
                        <a:pt x="44" y="54"/>
                      </a:lnTo>
                      <a:lnTo>
                        <a:pt x="43" y="53"/>
                      </a:lnTo>
                      <a:lnTo>
                        <a:pt x="42" y="51"/>
                      </a:lnTo>
                      <a:lnTo>
                        <a:pt x="45" y="50"/>
                      </a:lnTo>
                      <a:lnTo>
                        <a:pt x="49" y="51"/>
                      </a:lnTo>
                      <a:lnTo>
                        <a:pt x="48" y="54"/>
                      </a:lnTo>
                      <a:lnTo>
                        <a:pt x="50" y="55"/>
                      </a:lnTo>
                      <a:lnTo>
                        <a:pt x="54" y="55"/>
                      </a:lnTo>
                      <a:lnTo>
                        <a:pt x="56" y="55"/>
                      </a:lnTo>
                      <a:lnTo>
                        <a:pt x="59" y="54"/>
                      </a:lnTo>
                      <a:lnTo>
                        <a:pt x="65" y="55"/>
                      </a:lnTo>
                      <a:lnTo>
                        <a:pt x="70" y="55"/>
                      </a:lnTo>
                      <a:lnTo>
                        <a:pt x="76" y="55"/>
                      </a:lnTo>
                      <a:lnTo>
                        <a:pt x="81" y="53"/>
                      </a:lnTo>
                      <a:lnTo>
                        <a:pt x="79" y="51"/>
                      </a:lnTo>
                      <a:lnTo>
                        <a:pt x="76" y="51"/>
                      </a:lnTo>
                      <a:lnTo>
                        <a:pt x="74" y="51"/>
                      </a:lnTo>
                      <a:lnTo>
                        <a:pt x="72" y="50"/>
                      </a:lnTo>
                      <a:lnTo>
                        <a:pt x="76" y="45"/>
                      </a:lnTo>
                      <a:lnTo>
                        <a:pt x="84" y="44"/>
                      </a:lnTo>
                      <a:lnTo>
                        <a:pt x="92" y="44"/>
                      </a:lnTo>
                      <a:lnTo>
                        <a:pt x="98" y="43"/>
                      </a:lnTo>
                      <a:lnTo>
                        <a:pt x="93" y="42"/>
                      </a:lnTo>
                      <a:lnTo>
                        <a:pt x="88" y="42"/>
                      </a:lnTo>
                      <a:lnTo>
                        <a:pt x="82" y="40"/>
                      </a:lnTo>
                      <a:lnTo>
                        <a:pt x="79" y="38"/>
                      </a:lnTo>
                      <a:lnTo>
                        <a:pt x="76" y="33"/>
                      </a:lnTo>
                      <a:lnTo>
                        <a:pt x="77" y="31"/>
                      </a:lnTo>
                      <a:lnTo>
                        <a:pt x="80" y="28"/>
                      </a:lnTo>
                      <a:lnTo>
                        <a:pt x="85" y="27"/>
                      </a:lnTo>
                      <a:lnTo>
                        <a:pt x="95" y="29"/>
                      </a:lnTo>
                      <a:lnTo>
                        <a:pt x="100" y="29"/>
                      </a:lnTo>
                      <a:lnTo>
                        <a:pt x="104" y="29"/>
                      </a:lnTo>
                      <a:lnTo>
                        <a:pt x="112" y="29"/>
                      </a:lnTo>
                      <a:lnTo>
                        <a:pt x="118" y="31"/>
                      </a:lnTo>
                      <a:lnTo>
                        <a:pt x="124" y="32"/>
                      </a:lnTo>
                      <a:lnTo>
                        <a:pt x="131" y="32"/>
                      </a:lnTo>
                      <a:lnTo>
                        <a:pt x="134" y="31"/>
                      </a:lnTo>
                      <a:lnTo>
                        <a:pt x="135" y="29"/>
                      </a:lnTo>
                      <a:lnTo>
                        <a:pt x="138" y="26"/>
                      </a:lnTo>
                      <a:lnTo>
                        <a:pt x="140" y="23"/>
                      </a:lnTo>
                      <a:lnTo>
                        <a:pt x="144" y="21"/>
                      </a:lnTo>
                      <a:lnTo>
                        <a:pt x="146" y="19"/>
                      </a:lnTo>
                      <a:lnTo>
                        <a:pt x="150" y="18"/>
                      </a:lnTo>
                      <a:lnTo>
                        <a:pt x="163" y="11"/>
                      </a:lnTo>
                      <a:lnTo>
                        <a:pt x="171" y="7"/>
                      </a:lnTo>
                      <a:lnTo>
                        <a:pt x="178" y="5"/>
                      </a:lnTo>
                      <a:lnTo>
                        <a:pt x="187" y="3"/>
                      </a:lnTo>
                      <a:lnTo>
                        <a:pt x="194" y="2"/>
                      </a:lnTo>
                      <a:lnTo>
                        <a:pt x="210" y="3"/>
                      </a:lnTo>
                      <a:lnTo>
                        <a:pt x="218" y="3"/>
                      </a:lnTo>
                      <a:lnTo>
                        <a:pt x="225" y="3"/>
                      </a:lnTo>
                      <a:lnTo>
                        <a:pt x="227" y="1"/>
                      </a:lnTo>
                      <a:lnTo>
                        <a:pt x="230" y="0"/>
                      </a:lnTo>
                      <a:lnTo>
                        <a:pt x="232" y="0"/>
                      </a:lnTo>
                      <a:lnTo>
                        <a:pt x="236" y="1"/>
                      </a:lnTo>
                      <a:lnTo>
                        <a:pt x="235" y="3"/>
                      </a:lnTo>
                      <a:lnTo>
                        <a:pt x="236" y="7"/>
                      </a:lnTo>
                      <a:lnTo>
                        <a:pt x="238" y="10"/>
                      </a:lnTo>
                      <a:lnTo>
                        <a:pt x="242" y="12"/>
                      </a:lnTo>
                      <a:lnTo>
                        <a:pt x="247" y="13"/>
                      </a:lnTo>
                      <a:lnTo>
                        <a:pt x="251" y="13"/>
                      </a:lnTo>
                      <a:lnTo>
                        <a:pt x="256" y="11"/>
                      </a:lnTo>
                      <a:lnTo>
                        <a:pt x="257" y="11"/>
                      </a:lnTo>
                      <a:lnTo>
                        <a:pt x="257" y="13"/>
                      </a:lnTo>
                      <a:lnTo>
                        <a:pt x="258" y="12"/>
                      </a:lnTo>
                      <a:lnTo>
                        <a:pt x="258" y="11"/>
                      </a:lnTo>
                      <a:lnTo>
                        <a:pt x="261" y="12"/>
                      </a:lnTo>
                      <a:lnTo>
                        <a:pt x="262" y="15"/>
                      </a:lnTo>
                      <a:lnTo>
                        <a:pt x="263" y="17"/>
                      </a:lnTo>
                      <a:lnTo>
                        <a:pt x="266" y="19"/>
                      </a:lnTo>
                      <a:lnTo>
                        <a:pt x="268" y="23"/>
                      </a:lnTo>
                      <a:lnTo>
                        <a:pt x="272" y="26"/>
                      </a:lnTo>
                      <a:lnTo>
                        <a:pt x="274" y="26"/>
                      </a:lnTo>
                      <a:lnTo>
                        <a:pt x="277" y="23"/>
                      </a:lnTo>
                      <a:lnTo>
                        <a:pt x="280" y="23"/>
                      </a:lnTo>
                      <a:lnTo>
                        <a:pt x="283" y="24"/>
                      </a:lnTo>
                      <a:lnTo>
                        <a:pt x="286" y="26"/>
                      </a:lnTo>
                      <a:lnTo>
                        <a:pt x="290" y="28"/>
                      </a:lnTo>
                      <a:lnTo>
                        <a:pt x="294" y="31"/>
                      </a:lnTo>
                      <a:lnTo>
                        <a:pt x="302" y="33"/>
                      </a:lnTo>
                      <a:lnTo>
                        <a:pt x="305" y="33"/>
                      </a:lnTo>
                      <a:lnTo>
                        <a:pt x="306" y="32"/>
                      </a:lnTo>
                      <a:lnTo>
                        <a:pt x="309" y="32"/>
                      </a:lnTo>
                      <a:lnTo>
                        <a:pt x="311" y="33"/>
                      </a:lnTo>
                      <a:lnTo>
                        <a:pt x="313" y="35"/>
                      </a:lnTo>
                      <a:lnTo>
                        <a:pt x="318" y="37"/>
                      </a:lnTo>
                      <a:lnTo>
                        <a:pt x="326" y="37"/>
                      </a:lnTo>
                      <a:lnTo>
                        <a:pt x="331" y="37"/>
                      </a:lnTo>
                      <a:lnTo>
                        <a:pt x="336" y="35"/>
                      </a:lnTo>
                      <a:lnTo>
                        <a:pt x="341" y="34"/>
                      </a:lnTo>
                      <a:lnTo>
                        <a:pt x="345" y="33"/>
                      </a:lnTo>
                      <a:lnTo>
                        <a:pt x="353" y="32"/>
                      </a:lnTo>
                      <a:lnTo>
                        <a:pt x="359" y="33"/>
                      </a:lnTo>
                      <a:lnTo>
                        <a:pt x="370" y="37"/>
                      </a:lnTo>
                      <a:lnTo>
                        <a:pt x="375" y="35"/>
                      </a:lnTo>
                      <a:lnTo>
                        <a:pt x="380" y="34"/>
                      </a:lnTo>
                      <a:lnTo>
                        <a:pt x="393" y="27"/>
                      </a:lnTo>
                      <a:lnTo>
                        <a:pt x="406" y="18"/>
                      </a:lnTo>
                      <a:lnTo>
                        <a:pt x="408" y="18"/>
                      </a:lnTo>
                      <a:lnTo>
                        <a:pt x="411" y="18"/>
                      </a:lnTo>
                      <a:lnTo>
                        <a:pt x="413" y="19"/>
                      </a:lnTo>
                      <a:lnTo>
                        <a:pt x="416" y="21"/>
                      </a:lnTo>
                      <a:lnTo>
                        <a:pt x="418" y="19"/>
                      </a:lnTo>
                      <a:lnTo>
                        <a:pt x="418" y="18"/>
                      </a:lnTo>
                      <a:lnTo>
                        <a:pt x="419" y="18"/>
                      </a:lnTo>
                      <a:lnTo>
                        <a:pt x="424" y="19"/>
                      </a:lnTo>
                      <a:lnTo>
                        <a:pt x="427" y="19"/>
                      </a:lnTo>
                      <a:lnTo>
                        <a:pt x="429" y="21"/>
                      </a:lnTo>
                      <a:lnTo>
                        <a:pt x="433" y="21"/>
                      </a:lnTo>
                      <a:lnTo>
                        <a:pt x="434" y="19"/>
                      </a:lnTo>
                      <a:lnTo>
                        <a:pt x="436" y="17"/>
                      </a:lnTo>
                      <a:lnTo>
                        <a:pt x="439" y="15"/>
                      </a:lnTo>
                      <a:lnTo>
                        <a:pt x="441" y="15"/>
                      </a:lnTo>
                      <a:lnTo>
                        <a:pt x="441" y="18"/>
                      </a:lnTo>
                      <a:lnTo>
                        <a:pt x="444" y="18"/>
                      </a:lnTo>
                      <a:lnTo>
                        <a:pt x="448" y="21"/>
                      </a:lnTo>
                      <a:lnTo>
                        <a:pt x="451" y="23"/>
                      </a:lnTo>
                      <a:lnTo>
                        <a:pt x="454" y="24"/>
                      </a:lnTo>
                      <a:lnTo>
                        <a:pt x="452" y="27"/>
                      </a:lnTo>
                      <a:lnTo>
                        <a:pt x="454" y="28"/>
                      </a:lnTo>
                      <a:lnTo>
                        <a:pt x="456" y="28"/>
                      </a:lnTo>
                      <a:lnTo>
                        <a:pt x="459" y="28"/>
                      </a:lnTo>
                      <a:lnTo>
                        <a:pt x="460" y="29"/>
                      </a:lnTo>
                      <a:lnTo>
                        <a:pt x="461" y="33"/>
                      </a:lnTo>
                      <a:lnTo>
                        <a:pt x="464" y="37"/>
                      </a:lnTo>
                      <a:lnTo>
                        <a:pt x="467" y="40"/>
                      </a:lnTo>
                      <a:lnTo>
                        <a:pt x="470" y="43"/>
                      </a:lnTo>
                      <a:lnTo>
                        <a:pt x="471" y="46"/>
                      </a:lnTo>
                      <a:lnTo>
                        <a:pt x="470" y="50"/>
                      </a:lnTo>
                      <a:lnTo>
                        <a:pt x="468" y="53"/>
                      </a:lnTo>
                      <a:lnTo>
                        <a:pt x="471" y="58"/>
                      </a:lnTo>
                      <a:lnTo>
                        <a:pt x="471" y="60"/>
                      </a:lnTo>
                      <a:lnTo>
                        <a:pt x="470" y="62"/>
                      </a:lnTo>
                      <a:lnTo>
                        <a:pt x="475" y="65"/>
                      </a:lnTo>
                      <a:lnTo>
                        <a:pt x="478" y="66"/>
                      </a:lnTo>
                      <a:lnTo>
                        <a:pt x="483" y="66"/>
                      </a:lnTo>
                      <a:lnTo>
                        <a:pt x="487" y="66"/>
                      </a:lnTo>
                      <a:lnTo>
                        <a:pt x="492" y="67"/>
                      </a:lnTo>
                      <a:lnTo>
                        <a:pt x="497" y="71"/>
                      </a:lnTo>
                      <a:lnTo>
                        <a:pt x="502" y="75"/>
                      </a:lnTo>
                      <a:lnTo>
                        <a:pt x="504" y="80"/>
                      </a:lnTo>
                      <a:lnTo>
                        <a:pt x="502" y="77"/>
                      </a:lnTo>
                      <a:lnTo>
                        <a:pt x="498" y="76"/>
                      </a:lnTo>
                      <a:lnTo>
                        <a:pt x="495" y="76"/>
                      </a:lnTo>
                      <a:lnTo>
                        <a:pt x="494" y="80"/>
                      </a:lnTo>
                      <a:lnTo>
                        <a:pt x="494" y="82"/>
                      </a:lnTo>
                      <a:lnTo>
                        <a:pt x="494" y="86"/>
                      </a:lnTo>
                      <a:lnTo>
                        <a:pt x="492" y="87"/>
                      </a:lnTo>
                      <a:lnTo>
                        <a:pt x="489" y="87"/>
                      </a:lnTo>
                      <a:lnTo>
                        <a:pt x="487" y="87"/>
                      </a:lnTo>
                      <a:lnTo>
                        <a:pt x="484" y="87"/>
                      </a:lnTo>
                      <a:lnTo>
                        <a:pt x="487" y="92"/>
                      </a:lnTo>
                      <a:lnTo>
                        <a:pt x="489" y="97"/>
                      </a:lnTo>
                      <a:lnTo>
                        <a:pt x="492" y="102"/>
                      </a:lnTo>
                      <a:lnTo>
                        <a:pt x="493" y="107"/>
                      </a:lnTo>
                      <a:lnTo>
                        <a:pt x="494" y="110"/>
                      </a:lnTo>
                      <a:lnTo>
                        <a:pt x="495" y="115"/>
                      </a:lnTo>
                      <a:lnTo>
                        <a:pt x="497" y="119"/>
                      </a:lnTo>
                      <a:lnTo>
                        <a:pt x="500" y="121"/>
                      </a:lnTo>
                      <a:lnTo>
                        <a:pt x="498" y="126"/>
                      </a:lnTo>
                      <a:lnTo>
                        <a:pt x="497" y="131"/>
                      </a:lnTo>
                      <a:lnTo>
                        <a:pt x="497" y="135"/>
                      </a:lnTo>
                      <a:lnTo>
                        <a:pt x="499" y="137"/>
                      </a:lnTo>
                      <a:lnTo>
                        <a:pt x="502" y="139"/>
                      </a:lnTo>
                      <a:lnTo>
                        <a:pt x="504" y="140"/>
                      </a:lnTo>
                      <a:lnTo>
                        <a:pt x="507" y="142"/>
                      </a:lnTo>
                      <a:lnTo>
                        <a:pt x="507" y="145"/>
                      </a:lnTo>
                      <a:lnTo>
                        <a:pt x="508" y="151"/>
                      </a:lnTo>
                      <a:lnTo>
                        <a:pt x="510" y="153"/>
                      </a:lnTo>
                      <a:lnTo>
                        <a:pt x="513" y="155"/>
                      </a:lnTo>
                      <a:lnTo>
                        <a:pt x="514" y="157"/>
                      </a:lnTo>
                      <a:lnTo>
                        <a:pt x="514" y="161"/>
                      </a:lnTo>
                      <a:lnTo>
                        <a:pt x="511" y="160"/>
                      </a:lnTo>
                      <a:lnTo>
                        <a:pt x="510" y="160"/>
                      </a:lnTo>
                      <a:lnTo>
                        <a:pt x="507" y="162"/>
                      </a:lnTo>
                      <a:lnTo>
                        <a:pt x="504" y="166"/>
                      </a:lnTo>
                      <a:lnTo>
                        <a:pt x="502" y="166"/>
                      </a:lnTo>
                      <a:lnTo>
                        <a:pt x="499" y="165"/>
                      </a:lnTo>
                      <a:lnTo>
                        <a:pt x="499" y="162"/>
                      </a:lnTo>
                      <a:lnTo>
                        <a:pt x="499" y="158"/>
                      </a:lnTo>
                      <a:lnTo>
                        <a:pt x="497" y="156"/>
                      </a:lnTo>
                      <a:lnTo>
                        <a:pt x="494" y="156"/>
                      </a:lnTo>
                      <a:lnTo>
                        <a:pt x="491" y="156"/>
                      </a:lnTo>
                      <a:lnTo>
                        <a:pt x="488" y="158"/>
                      </a:lnTo>
                      <a:lnTo>
                        <a:pt x="486" y="158"/>
                      </a:lnTo>
                      <a:lnTo>
                        <a:pt x="481" y="157"/>
                      </a:lnTo>
                      <a:lnTo>
                        <a:pt x="473" y="155"/>
                      </a:lnTo>
                      <a:lnTo>
                        <a:pt x="465" y="153"/>
                      </a:lnTo>
                      <a:lnTo>
                        <a:pt x="460" y="153"/>
                      </a:lnTo>
                      <a:lnTo>
                        <a:pt x="459" y="155"/>
                      </a:lnTo>
                      <a:lnTo>
                        <a:pt x="456" y="156"/>
                      </a:lnTo>
                      <a:lnTo>
                        <a:pt x="454" y="160"/>
                      </a:lnTo>
                      <a:lnTo>
                        <a:pt x="451" y="161"/>
                      </a:lnTo>
                      <a:lnTo>
                        <a:pt x="449" y="161"/>
                      </a:lnTo>
                      <a:lnTo>
                        <a:pt x="446" y="158"/>
                      </a:lnTo>
                      <a:lnTo>
                        <a:pt x="445" y="156"/>
                      </a:lnTo>
                      <a:lnTo>
                        <a:pt x="441" y="157"/>
                      </a:lnTo>
                      <a:lnTo>
                        <a:pt x="438" y="158"/>
                      </a:lnTo>
                      <a:lnTo>
                        <a:pt x="435" y="161"/>
                      </a:lnTo>
                      <a:lnTo>
                        <a:pt x="423" y="162"/>
                      </a:lnTo>
                      <a:lnTo>
                        <a:pt x="412" y="162"/>
                      </a:lnTo>
                      <a:lnTo>
                        <a:pt x="407" y="162"/>
                      </a:lnTo>
                      <a:lnTo>
                        <a:pt x="401" y="163"/>
                      </a:lnTo>
                      <a:lnTo>
                        <a:pt x="391" y="168"/>
                      </a:lnTo>
                      <a:lnTo>
                        <a:pt x="381" y="173"/>
                      </a:lnTo>
                      <a:lnTo>
                        <a:pt x="375" y="174"/>
                      </a:lnTo>
                      <a:lnTo>
                        <a:pt x="370" y="176"/>
                      </a:lnTo>
                      <a:lnTo>
                        <a:pt x="365" y="176"/>
                      </a:lnTo>
                      <a:lnTo>
                        <a:pt x="359" y="177"/>
                      </a:lnTo>
                      <a:lnTo>
                        <a:pt x="353" y="176"/>
                      </a:lnTo>
                      <a:lnTo>
                        <a:pt x="348" y="174"/>
                      </a:lnTo>
                      <a:lnTo>
                        <a:pt x="344" y="171"/>
                      </a:lnTo>
                      <a:lnTo>
                        <a:pt x="341" y="169"/>
                      </a:lnTo>
                      <a:lnTo>
                        <a:pt x="337" y="169"/>
                      </a:lnTo>
                      <a:lnTo>
                        <a:pt x="333" y="171"/>
                      </a:lnTo>
                      <a:lnTo>
                        <a:pt x="326" y="174"/>
                      </a:lnTo>
                      <a:lnTo>
                        <a:pt x="318" y="177"/>
                      </a:lnTo>
                      <a:lnTo>
                        <a:pt x="310" y="178"/>
                      </a:lnTo>
                      <a:lnTo>
                        <a:pt x="306" y="177"/>
                      </a:lnTo>
                      <a:lnTo>
                        <a:pt x="304" y="174"/>
                      </a:lnTo>
                      <a:lnTo>
                        <a:pt x="301" y="172"/>
                      </a:lnTo>
                      <a:lnTo>
                        <a:pt x="297" y="172"/>
                      </a:lnTo>
                      <a:lnTo>
                        <a:pt x="295" y="172"/>
                      </a:lnTo>
                      <a:lnTo>
                        <a:pt x="293" y="176"/>
                      </a:lnTo>
                      <a:lnTo>
                        <a:pt x="294" y="183"/>
                      </a:lnTo>
                      <a:lnTo>
                        <a:pt x="296" y="190"/>
                      </a:lnTo>
                      <a:lnTo>
                        <a:pt x="293" y="192"/>
                      </a:lnTo>
                      <a:lnTo>
                        <a:pt x="289" y="190"/>
                      </a:lnTo>
                      <a:lnTo>
                        <a:pt x="289" y="194"/>
                      </a:lnTo>
                      <a:lnTo>
                        <a:pt x="289" y="198"/>
                      </a:lnTo>
                      <a:lnTo>
                        <a:pt x="286" y="201"/>
                      </a:lnTo>
                      <a:lnTo>
                        <a:pt x="283" y="204"/>
                      </a:lnTo>
                      <a:lnTo>
                        <a:pt x="280" y="203"/>
                      </a:lnTo>
                      <a:lnTo>
                        <a:pt x="277" y="201"/>
                      </a:lnTo>
                      <a:lnTo>
                        <a:pt x="278" y="199"/>
                      </a:lnTo>
                      <a:lnTo>
                        <a:pt x="277" y="196"/>
                      </a:lnTo>
                      <a:lnTo>
                        <a:pt x="274" y="192"/>
                      </a:lnTo>
                      <a:lnTo>
                        <a:pt x="273" y="189"/>
                      </a:lnTo>
                      <a:lnTo>
                        <a:pt x="273" y="187"/>
                      </a:lnTo>
                      <a:lnTo>
                        <a:pt x="275" y="184"/>
                      </a:lnTo>
                      <a:lnTo>
                        <a:pt x="278" y="182"/>
                      </a:lnTo>
                      <a:lnTo>
                        <a:pt x="280" y="179"/>
                      </a:lnTo>
                      <a:lnTo>
                        <a:pt x="282" y="177"/>
                      </a:lnTo>
                      <a:lnTo>
                        <a:pt x="282" y="174"/>
                      </a:lnTo>
                      <a:lnTo>
                        <a:pt x="280" y="171"/>
                      </a:lnTo>
                      <a:lnTo>
                        <a:pt x="278" y="168"/>
                      </a:lnTo>
                      <a:lnTo>
                        <a:pt x="275" y="168"/>
                      </a:lnTo>
                      <a:lnTo>
                        <a:pt x="274" y="169"/>
                      </a:lnTo>
                      <a:lnTo>
                        <a:pt x="272" y="172"/>
                      </a:lnTo>
                      <a:lnTo>
                        <a:pt x="269" y="173"/>
                      </a:lnTo>
                      <a:lnTo>
                        <a:pt x="267" y="174"/>
                      </a:lnTo>
                      <a:lnTo>
                        <a:pt x="264" y="176"/>
                      </a:lnTo>
                      <a:lnTo>
                        <a:pt x="267" y="176"/>
                      </a:lnTo>
                      <a:lnTo>
                        <a:pt x="267" y="178"/>
                      </a:lnTo>
                      <a:lnTo>
                        <a:pt x="263" y="179"/>
                      </a:lnTo>
                      <a:lnTo>
                        <a:pt x="261" y="179"/>
                      </a:lnTo>
                      <a:lnTo>
                        <a:pt x="252" y="177"/>
                      </a:lnTo>
                      <a:lnTo>
                        <a:pt x="245" y="173"/>
                      </a:lnTo>
                      <a:lnTo>
                        <a:pt x="241" y="172"/>
                      </a:lnTo>
                      <a:lnTo>
                        <a:pt x="237" y="173"/>
                      </a:lnTo>
                      <a:lnTo>
                        <a:pt x="235" y="174"/>
                      </a:lnTo>
                      <a:lnTo>
                        <a:pt x="231" y="178"/>
                      </a:lnTo>
                      <a:lnTo>
                        <a:pt x="226" y="184"/>
                      </a:lnTo>
                      <a:lnTo>
                        <a:pt x="222" y="192"/>
                      </a:lnTo>
                      <a:lnTo>
                        <a:pt x="220" y="188"/>
                      </a:lnTo>
                      <a:lnTo>
                        <a:pt x="218" y="192"/>
                      </a:lnTo>
                      <a:lnTo>
                        <a:pt x="215" y="193"/>
                      </a:lnTo>
                      <a:lnTo>
                        <a:pt x="213" y="193"/>
                      </a:lnTo>
                      <a:lnTo>
                        <a:pt x="210" y="193"/>
                      </a:lnTo>
                      <a:lnTo>
                        <a:pt x="206" y="194"/>
                      </a:lnTo>
                      <a:lnTo>
                        <a:pt x="203" y="194"/>
                      </a:lnTo>
                      <a:lnTo>
                        <a:pt x="199" y="195"/>
                      </a:lnTo>
                      <a:lnTo>
                        <a:pt x="192" y="198"/>
                      </a:lnTo>
                      <a:lnTo>
                        <a:pt x="183" y="195"/>
                      </a:lnTo>
                      <a:lnTo>
                        <a:pt x="178" y="193"/>
                      </a:lnTo>
                      <a:lnTo>
                        <a:pt x="175" y="188"/>
                      </a:lnTo>
                      <a:lnTo>
                        <a:pt x="171" y="184"/>
                      </a:lnTo>
                      <a:lnTo>
                        <a:pt x="166" y="180"/>
                      </a:lnTo>
                      <a:lnTo>
                        <a:pt x="155" y="174"/>
                      </a:lnTo>
                      <a:lnTo>
                        <a:pt x="143" y="171"/>
                      </a:lnTo>
                      <a:lnTo>
                        <a:pt x="138" y="171"/>
                      </a:lnTo>
                      <a:lnTo>
                        <a:pt x="134" y="171"/>
                      </a:lnTo>
                      <a:lnTo>
                        <a:pt x="130" y="172"/>
                      </a:lnTo>
                      <a:lnTo>
                        <a:pt x="128" y="176"/>
                      </a:lnTo>
                      <a:lnTo>
                        <a:pt x="128" y="179"/>
                      </a:lnTo>
                      <a:lnTo>
                        <a:pt x="128" y="183"/>
                      </a:lnTo>
                      <a:lnTo>
                        <a:pt x="128" y="187"/>
                      </a:lnTo>
                      <a:lnTo>
                        <a:pt x="125" y="190"/>
                      </a:lnTo>
                      <a:lnTo>
                        <a:pt x="124" y="190"/>
                      </a:lnTo>
                      <a:lnTo>
                        <a:pt x="123" y="190"/>
                      </a:lnTo>
                      <a:lnTo>
                        <a:pt x="120" y="188"/>
                      </a:lnTo>
                      <a:lnTo>
                        <a:pt x="118" y="189"/>
                      </a:lnTo>
                      <a:lnTo>
                        <a:pt x="114" y="190"/>
                      </a:lnTo>
                      <a:lnTo>
                        <a:pt x="112" y="193"/>
                      </a:lnTo>
                      <a:lnTo>
                        <a:pt x="108" y="193"/>
                      </a:lnTo>
                      <a:lnTo>
                        <a:pt x="104" y="193"/>
                      </a:lnTo>
                      <a:lnTo>
                        <a:pt x="101" y="193"/>
                      </a:lnTo>
                      <a:lnTo>
                        <a:pt x="93" y="189"/>
                      </a:lnTo>
                      <a:lnTo>
                        <a:pt x="92" y="187"/>
                      </a:lnTo>
                      <a:lnTo>
                        <a:pt x="91" y="184"/>
                      </a:lnTo>
                      <a:lnTo>
                        <a:pt x="88" y="182"/>
                      </a:lnTo>
                      <a:lnTo>
                        <a:pt x="86" y="180"/>
                      </a:lnTo>
                      <a:lnTo>
                        <a:pt x="87" y="178"/>
                      </a:lnTo>
                      <a:lnTo>
                        <a:pt x="86" y="176"/>
                      </a:lnTo>
                      <a:lnTo>
                        <a:pt x="84" y="176"/>
                      </a:lnTo>
                      <a:lnTo>
                        <a:pt x="81" y="178"/>
                      </a:lnTo>
                      <a:lnTo>
                        <a:pt x="79" y="176"/>
                      </a:lnTo>
                      <a:lnTo>
                        <a:pt x="75" y="174"/>
                      </a:lnTo>
                      <a:lnTo>
                        <a:pt x="72" y="172"/>
                      </a:lnTo>
                      <a:lnTo>
                        <a:pt x="70" y="169"/>
                      </a:lnTo>
                      <a:lnTo>
                        <a:pt x="69" y="172"/>
                      </a:lnTo>
                      <a:lnTo>
                        <a:pt x="65" y="176"/>
                      </a:lnTo>
                      <a:lnTo>
                        <a:pt x="63" y="178"/>
                      </a:lnTo>
                      <a:lnTo>
                        <a:pt x="59" y="180"/>
                      </a:lnTo>
                      <a:lnTo>
                        <a:pt x="60" y="178"/>
                      </a:lnTo>
                      <a:lnTo>
                        <a:pt x="58" y="177"/>
                      </a:lnTo>
                      <a:lnTo>
                        <a:pt x="60" y="174"/>
                      </a:lnTo>
                      <a:lnTo>
                        <a:pt x="61" y="172"/>
                      </a:lnTo>
                      <a:lnTo>
                        <a:pt x="58" y="174"/>
                      </a:lnTo>
                      <a:lnTo>
                        <a:pt x="52" y="176"/>
                      </a:lnTo>
                      <a:lnTo>
                        <a:pt x="45" y="177"/>
                      </a:lnTo>
                      <a:lnTo>
                        <a:pt x="42" y="176"/>
                      </a:lnTo>
                      <a:lnTo>
                        <a:pt x="47" y="173"/>
                      </a:lnTo>
                      <a:lnTo>
                        <a:pt x="54" y="172"/>
                      </a:lnTo>
                      <a:lnTo>
                        <a:pt x="56" y="173"/>
                      </a:lnTo>
                      <a:lnTo>
                        <a:pt x="58" y="173"/>
                      </a:lnTo>
                      <a:lnTo>
                        <a:pt x="58" y="172"/>
                      </a:lnTo>
                      <a:lnTo>
                        <a:pt x="59" y="171"/>
                      </a:lnTo>
                      <a:lnTo>
                        <a:pt x="61" y="168"/>
                      </a:lnTo>
                      <a:lnTo>
                        <a:pt x="65" y="166"/>
                      </a:lnTo>
                      <a:lnTo>
                        <a:pt x="59" y="165"/>
                      </a:lnTo>
                      <a:lnTo>
                        <a:pt x="52" y="163"/>
                      </a:lnTo>
                      <a:lnTo>
                        <a:pt x="43" y="165"/>
                      </a:lnTo>
                      <a:lnTo>
                        <a:pt x="38" y="167"/>
                      </a:lnTo>
                      <a:lnTo>
                        <a:pt x="37" y="165"/>
                      </a:lnTo>
                      <a:lnTo>
                        <a:pt x="37" y="163"/>
                      </a:lnTo>
                      <a:lnTo>
                        <a:pt x="38" y="162"/>
                      </a:lnTo>
                      <a:lnTo>
                        <a:pt x="42" y="162"/>
                      </a:lnTo>
                      <a:lnTo>
                        <a:pt x="44" y="162"/>
                      </a:lnTo>
                      <a:lnTo>
                        <a:pt x="45" y="160"/>
                      </a:lnTo>
                      <a:lnTo>
                        <a:pt x="44" y="156"/>
                      </a:lnTo>
                      <a:lnTo>
                        <a:pt x="43" y="155"/>
                      </a:lnTo>
                      <a:lnTo>
                        <a:pt x="42" y="155"/>
                      </a:lnTo>
                      <a:lnTo>
                        <a:pt x="40" y="155"/>
                      </a:lnTo>
                      <a:lnTo>
                        <a:pt x="40" y="152"/>
                      </a:lnTo>
                      <a:lnTo>
                        <a:pt x="39" y="155"/>
                      </a:lnTo>
                      <a:lnTo>
                        <a:pt x="38" y="155"/>
                      </a:lnTo>
                      <a:lnTo>
                        <a:pt x="37" y="153"/>
                      </a:lnTo>
                      <a:lnTo>
                        <a:pt x="36" y="151"/>
                      </a:lnTo>
                      <a:lnTo>
                        <a:pt x="33" y="146"/>
                      </a:lnTo>
                      <a:lnTo>
                        <a:pt x="32" y="145"/>
                      </a:lnTo>
                      <a:lnTo>
                        <a:pt x="29" y="145"/>
                      </a:lnTo>
                      <a:lnTo>
                        <a:pt x="33" y="142"/>
                      </a:lnTo>
                      <a:lnTo>
                        <a:pt x="36" y="141"/>
                      </a:lnTo>
                      <a:lnTo>
                        <a:pt x="36" y="139"/>
                      </a:lnTo>
                      <a:lnTo>
                        <a:pt x="34" y="135"/>
                      </a:lnTo>
                      <a:lnTo>
                        <a:pt x="32" y="133"/>
                      </a:lnTo>
                      <a:lnTo>
                        <a:pt x="29" y="133"/>
                      </a:lnTo>
                      <a:lnTo>
                        <a:pt x="26" y="131"/>
                      </a:lnTo>
                      <a:lnTo>
                        <a:pt x="23" y="130"/>
                      </a:lnTo>
                      <a:lnTo>
                        <a:pt x="22" y="128"/>
                      </a:lnTo>
                      <a:lnTo>
                        <a:pt x="21" y="126"/>
                      </a:lnTo>
                      <a:lnTo>
                        <a:pt x="20" y="126"/>
                      </a:lnTo>
                      <a:lnTo>
                        <a:pt x="17" y="128"/>
                      </a:lnTo>
                      <a:lnTo>
                        <a:pt x="16" y="129"/>
                      </a:lnTo>
                      <a:lnTo>
                        <a:pt x="12" y="126"/>
                      </a:lnTo>
                      <a:lnTo>
                        <a:pt x="10" y="124"/>
                      </a:lnTo>
                      <a:lnTo>
                        <a:pt x="8" y="123"/>
                      </a:lnTo>
                      <a:lnTo>
                        <a:pt x="11" y="123"/>
                      </a:lnTo>
                      <a:lnTo>
                        <a:pt x="12" y="121"/>
                      </a:lnTo>
                      <a:lnTo>
                        <a:pt x="12" y="119"/>
                      </a:lnTo>
                      <a:lnTo>
                        <a:pt x="11" y="115"/>
                      </a:lnTo>
                      <a:lnTo>
                        <a:pt x="10" y="112"/>
                      </a:lnTo>
                      <a:lnTo>
                        <a:pt x="11" y="110"/>
                      </a:lnTo>
                      <a:lnTo>
                        <a:pt x="12" y="110"/>
                      </a:lnTo>
                      <a:lnTo>
                        <a:pt x="13" y="112"/>
                      </a:lnTo>
                      <a:lnTo>
                        <a:pt x="15" y="113"/>
                      </a:lnTo>
                      <a:lnTo>
                        <a:pt x="17" y="118"/>
                      </a:lnTo>
                      <a:lnTo>
                        <a:pt x="17" y="120"/>
                      </a:lnTo>
                      <a:lnTo>
                        <a:pt x="20" y="123"/>
                      </a:lnTo>
                      <a:lnTo>
                        <a:pt x="20" y="121"/>
                      </a:lnTo>
                      <a:lnTo>
                        <a:pt x="21" y="120"/>
                      </a:lnTo>
                      <a:lnTo>
                        <a:pt x="23" y="120"/>
                      </a:lnTo>
                      <a:lnTo>
                        <a:pt x="27" y="120"/>
                      </a:lnTo>
                      <a:lnTo>
                        <a:pt x="29" y="120"/>
                      </a:lnTo>
                      <a:lnTo>
                        <a:pt x="31" y="118"/>
                      </a:lnTo>
                      <a:lnTo>
                        <a:pt x="27" y="117"/>
                      </a:lnTo>
                      <a:lnTo>
                        <a:pt x="24" y="115"/>
                      </a:lnTo>
                      <a:lnTo>
                        <a:pt x="20" y="110"/>
                      </a:lnTo>
                      <a:lnTo>
                        <a:pt x="23" y="108"/>
                      </a:lnTo>
                      <a:lnTo>
                        <a:pt x="27" y="104"/>
                      </a:lnTo>
                      <a:lnTo>
                        <a:pt x="26" y="103"/>
                      </a:lnTo>
                      <a:lnTo>
                        <a:pt x="23" y="103"/>
                      </a:lnTo>
                      <a:lnTo>
                        <a:pt x="22" y="102"/>
                      </a:lnTo>
                      <a:lnTo>
                        <a:pt x="22" y="99"/>
                      </a:lnTo>
                      <a:lnTo>
                        <a:pt x="21" y="97"/>
                      </a:lnTo>
                      <a:lnTo>
                        <a:pt x="21" y="94"/>
                      </a:lnTo>
                      <a:lnTo>
                        <a:pt x="16" y="91"/>
                      </a:lnTo>
                      <a:lnTo>
                        <a:pt x="23" y="83"/>
                      </a:lnTo>
                      <a:lnTo>
                        <a:pt x="17" y="82"/>
                      </a:lnTo>
                      <a:lnTo>
                        <a:pt x="11" y="83"/>
                      </a:lnTo>
                      <a:lnTo>
                        <a:pt x="6" y="85"/>
                      </a:lnTo>
                      <a:lnTo>
                        <a:pt x="0" y="8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4" name="Freeform 393">
                  <a:extLst>
                    <a:ext uri="{FF2B5EF4-FFF2-40B4-BE49-F238E27FC236}">
                      <a16:creationId xmlns:a16="http://schemas.microsoft.com/office/drawing/2014/main" id="{53354891-32A1-49AB-93DA-E6AC59E530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6894" y="6185001"/>
                  <a:ext cx="105211" cy="222774"/>
                </a:xfrm>
                <a:custGeom>
                  <a:avLst/>
                  <a:gdLst>
                    <a:gd name="T0" fmla="*/ 7 w 94"/>
                    <a:gd name="T1" fmla="*/ 91 h 170"/>
                    <a:gd name="T2" fmla="*/ 17 w 94"/>
                    <a:gd name="T3" fmla="*/ 76 h 170"/>
                    <a:gd name="T4" fmla="*/ 23 w 94"/>
                    <a:gd name="T5" fmla="*/ 52 h 170"/>
                    <a:gd name="T6" fmla="*/ 27 w 94"/>
                    <a:gd name="T7" fmla="*/ 47 h 170"/>
                    <a:gd name="T8" fmla="*/ 26 w 94"/>
                    <a:gd name="T9" fmla="*/ 48 h 170"/>
                    <a:gd name="T10" fmla="*/ 27 w 94"/>
                    <a:gd name="T11" fmla="*/ 30 h 170"/>
                    <a:gd name="T12" fmla="*/ 26 w 94"/>
                    <a:gd name="T13" fmla="*/ 17 h 170"/>
                    <a:gd name="T14" fmla="*/ 24 w 94"/>
                    <a:gd name="T15" fmla="*/ 12 h 170"/>
                    <a:gd name="T16" fmla="*/ 37 w 94"/>
                    <a:gd name="T17" fmla="*/ 4 h 170"/>
                    <a:gd name="T18" fmla="*/ 46 w 94"/>
                    <a:gd name="T19" fmla="*/ 4 h 170"/>
                    <a:gd name="T20" fmla="*/ 41 w 94"/>
                    <a:gd name="T21" fmla="*/ 11 h 170"/>
                    <a:gd name="T22" fmla="*/ 54 w 94"/>
                    <a:gd name="T23" fmla="*/ 9 h 170"/>
                    <a:gd name="T24" fmla="*/ 62 w 94"/>
                    <a:gd name="T25" fmla="*/ 11 h 170"/>
                    <a:gd name="T26" fmla="*/ 71 w 94"/>
                    <a:gd name="T27" fmla="*/ 6 h 170"/>
                    <a:gd name="T28" fmla="*/ 83 w 94"/>
                    <a:gd name="T29" fmla="*/ 7 h 170"/>
                    <a:gd name="T30" fmla="*/ 86 w 94"/>
                    <a:gd name="T31" fmla="*/ 11 h 170"/>
                    <a:gd name="T32" fmla="*/ 89 w 94"/>
                    <a:gd name="T33" fmla="*/ 16 h 170"/>
                    <a:gd name="T34" fmla="*/ 94 w 94"/>
                    <a:gd name="T35" fmla="*/ 20 h 170"/>
                    <a:gd name="T36" fmla="*/ 80 w 94"/>
                    <a:gd name="T37" fmla="*/ 35 h 170"/>
                    <a:gd name="T38" fmla="*/ 75 w 94"/>
                    <a:gd name="T39" fmla="*/ 38 h 170"/>
                    <a:gd name="T40" fmla="*/ 76 w 94"/>
                    <a:gd name="T41" fmla="*/ 49 h 170"/>
                    <a:gd name="T42" fmla="*/ 76 w 94"/>
                    <a:gd name="T43" fmla="*/ 57 h 170"/>
                    <a:gd name="T44" fmla="*/ 72 w 94"/>
                    <a:gd name="T45" fmla="*/ 63 h 170"/>
                    <a:gd name="T46" fmla="*/ 71 w 94"/>
                    <a:gd name="T47" fmla="*/ 68 h 170"/>
                    <a:gd name="T48" fmla="*/ 70 w 94"/>
                    <a:gd name="T49" fmla="*/ 76 h 170"/>
                    <a:gd name="T50" fmla="*/ 67 w 94"/>
                    <a:gd name="T51" fmla="*/ 81 h 170"/>
                    <a:gd name="T52" fmla="*/ 57 w 94"/>
                    <a:gd name="T53" fmla="*/ 82 h 170"/>
                    <a:gd name="T54" fmla="*/ 59 w 94"/>
                    <a:gd name="T55" fmla="*/ 87 h 170"/>
                    <a:gd name="T56" fmla="*/ 60 w 94"/>
                    <a:gd name="T57" fmla="*/ 92 h 170"/>
                    <a:gd name="T58" fmla="*/ 65 w 94"/>
                    <a:gd name="T59" fmla="*/ 98 h 170"/>
                    <a:gd name="T60" fmla="*/ 65 w 94"/>
                    <a:gd name="T61" fmla="*/ 107 h 170"/>
                    <a:gd name="T62" fmla="*/ 57 w 94"/>
                    <a:gd name="T63" fmla="*/ 118 h 170"/>
                    <a:gd name="T64" fmla="*/ 64 w 94"/>
                    <a:gd name="T65" fmla="*/ 129 h 170"/>
                    <a:gd name="T66" fmla="*/ 62 w 94"/>
                    <a:gd name="T67" fmla="*/ 135 h 170"/>
                    <a:gd name="T68" fmla="*/ 54 w 94"/>
                    <a:gd name="T69" fmla="*/ 145 h 170"/>
                    <a:gd name="T70" fmla="*/ 51 w 94"/>
                    <a:gd name="T71" fmla="*/ 156 h 170"/>
                    <a:gd name="T72" fmla="*/ 48 w 94"/>
                    <a:gd name="T73" fmla="*/ 166 h 170"/>
                    <a:gd name="T74" fmla="*/ 33 w 94"/>
                    <a:gd name="T75" fmla="*/ 167 h 170"/>
                    <a:gd name="T76" fmla="*/ 16 w 94"/>
                    <a:gd name="T77" fmla="*/ 166 h 170"/>
                    <a:gd name="T78" fmla="*/ 12 w 94"/>
                    <a:gd name="T79" fmla="*/ 160 h 170"/>
                    <a:gd name="T80" fmla="*/ 17 w 94"/>
                    <a:gd name="T81" fmla="*/ 145 h 170"/>
                    <a:gd name="T82" fmla="*/ 17 w 94"/>
                    <a:gd name="T83" fmla="*/ 129 h 170"/>
                    <a:gd name="T84" fmla="*/ 17 w 94"/>
                    <a:gd name="T85" fmla="*/ 123 h 170"/>
                    <a:gd name="T86" fmla="*/ 19 w 94"/>
                    <a:gd name="T87" fmla="*/ 121 h 170"/>
                    <a:gd name="T88" fmla="*/ 13 w 94"/>
                    <a:gd name="T89" fmla="*/ 121 h 170"/>
                    <a:gd name="T90" fmla="*/ 7 w 94"/>
                    <a:gd name="T91" fmla="*/ 119 h 170"/>
                    <a:gd name="T92" fmla="*/ 12 w 94"/>
                    <a:gd name="T93" fmla="*/ 113 h 170"/>
                    <a:gd name="T94" fmla="*/ 14 w 94"/>
                    <a:gd name="T95" fmla="*/ 110 h 170"/>
                    <a:gd name="T96" fmla="*/ 8 w 94"/>
                    <a:gd name="T97" fmla="*/ 112 h 170"/>
                    <a:gd name="T98" fmla="*/ 0 w 94"/>
                    <a:gd name="T99" fmla="*/ 112 h 170"/>
                    <a:gd name="T100" fmla="*/ 3 w 94"/>
                    <a:gd name="T101" fmla="*/ 98 h 1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94" h="170">
                      <a:moveTo>
                        <a:pt x="5" y="94"/>
                      </a:moveTo>
                      <a:lnTo>
                        <a:pt x="5" y="91"/>
                      </a:lnTo>
                      <a:lnTo>
                        <a:pt x="7" y="91"/>
                      </a:lnTo>
                      <a:lnTo>
                        <a:pt x="10" y="89"/>
                      </a:lnTo>
                      <a:lnTo>
                        <a:pt x="13" y="82"/>
                      </a:lnTo>
                      <a:lnTo>
                        <a:pt x="17" y="76"/>
                      </a:lnTo>
                      <a:lnTo>
                        <a:pt x="18" y="70"/>
                      </a:lnTo>
                      <a:lnTo>
                        <a:pt x="22" y="60"/>
                      </a:lnTo>
                      <a:lnTo>
                        <a:pt x="23" y="52"/>
                      </a:lnTo>
                      <a:lnTo>
                        <a:pt x="26" y="50"/>
                      </a:lnTo>
                      <a:lnTo>
                        <a:pt x="27" y="49"/>
                      </a:lnTo>
                      <a:lnTo>
                        <a:pt x="27" y="47"/>
                      </a:lnTo>
                      <a:lnTo>
                        <a:pt x="27" y="46"/>
                      </a:lnTo>
                      <a:lnTo>
                        <a:pt x="27" y="46"/>
                      </a:lnTo>
                      <a:lnTo>
                        <a:pt x="26" y="48"/>
                      </a:lnTo>
                      <a:lnTo>
                        <a:pt x="27" y="39"/>
                      </a:lnTo>
                      <a:lnTo>
                        <a:pt x="27" y="35"/>
                      </a:lnTo>
                      <a:lnTo>
                        <a:pt x="27" y="30"/>
                      </a:lnTo>
                      <a:lnTo>
                        <a:pt x="26" y="27"/>
                      </a:lnTo>
                      <a:lnTo>
                        <a:pt x="26" y="22"/>
                      </a:lnTo>
                      <a:lnTo>
                        <a:pt x="26" y="17"/>
                      </a:lnTo>
                      <a:lnTo>
                        <a:pt x="27" y="15"/>
                      </a:lnTo>
                      <a:lnTo>
                        <a:pt x="24" y="15"/>
                      </a:lnTo>
                      <a:lnTo>
                        <a:pt x="24" y="12"/>
                      </a:lnTo>
                      <a:lnTo>
                        <a:pt x="27" y="9"/>
                      </a:lnTo>
                      <a:lnTo>
                        <a:pt x="29" y="6"/>
                      </a:lnTo>
                      <a:lnTo>
                        <a:pt x="37" y="4"/>
                      </a:lnTo>
                      <a:lnTo>
                        <a:pt x="43" y="0"/>
                      </a:lnTo>
                      <a:lnTo>
                        <a:pt x="43" y="4"/>
                      </a:lnTo>
                      <a:lnTo>
                        <a:pt x="46" y="4"/>
                      </a:lnTo>
                      <a:lnTo>
                        <a:pt x="44" y="5"/>
                      </a:lnTo>
                      <a:lnTo>
                        <a:pt x="43" y="9"/>
                      </a:lnTo>
                      <a:lnTo>
                        <a:pt x="41" y="11"/>
                      </a:lnTo>
                      <a:lnTo>
                        <a:pt x="44" y="11"/>
                      </a:lnTo>
                      <a:lnTo>
                        <a:pt x="50" y="10"/>
                      </a:lnTo>
                      <a:lnTo>
                        <a:pt x="54" y="9"/>
                      </a:lnTo>
                      <a:lnTo>
                        <a:pt x="56" y="9"/>
                      </a:lnTo>
                      <a:lnTo>
                        <a:pt x="60" y="10"/>
                      </a:lnTo>
                      <a:lnTo>
                        <a:pt x="62" y="11"/>
                      </a:lnTo>
                      <a:lnTo>
                        <a:pt x="65" y="11"/>
                      </a:lnTo>
                      <a:lnTo>
                        <a:pt x="69" y="9"/>
                      </a:lnTo>
                      <a:lnTo>
                        <a:pt x="71" y="6"/>
                      </a:lnTo>
                      <a:lnTo>
                        <a:pt x="75" y="6"/>
                      </a:lnTo>
                      <a:lnTo>
                        <a:pt x="78" y="7"/>
                      </a:lnTo>
                      <a:lnTo>
                        <a:pt x="83" y="7"/>
                      </a:lnTo>
                      <a:lnTo>
                        <a:pt x="86" y="7"/>
                      </a:lnTo>
                      <a:lnTo>
                        <a:pt x="86" y="10"/>
                      </a:lnTo>
                      <a:lnTo>
                        <a:pt x="86" y="11"/>
                      </a:lnTo>
                      <a:lnTo>
                        <a:pt x="86" y="14"/>
                      </a:lnTo>
                      <a:lnTo>
                        <a:pt x="87" y="15"/>
                      </a:lnTo>
                      <a:lnTo>
                        <a:pt x="89" y="16"/>
                      </a:lnTo>
                      <a:lnTo>
                        <a:pt x="92" y="17"/>
                      </a:lnTo>
                      <a:lnTo>
                        <a:pt x="94" y="19"/>
                      </a:lnTo>
                      <a:lnTo>
                        <a:pt x="94" y="20"/>
                      </a:lnTo>
                      <a:lnTo>
                        <a:pt x="92" y="22"/>
                      </a:lnTo>
                      <a:lnTo>
                        <a:pt x="86" y="28"/>
                      </a:lnTo>
                      <a:lnTo>
                        <a:pt x="80" y="35"/>
                      </a:lnTo>
                      <a:lnTo>
                        <a:pt x="76" y="37"/>
                      </a:lnTo>
                      <a:lnTo>
                        <a:pt x="75" y="37"/>
                      </a:lnTo>
                      <a:lnTo>
                        <a:pt x="75" y="38"/>
                      </a:lnTo>
                      <a:lnTo>
                        <a:pt x="76" y="39"/>
                      </a:lnTo>
                      <a:lnTo>
                        <a:pt x="76" y="44"/>
                      </a:lnTo>
                      <a:lnTo>
                        <a:pt x="76" y="49"/>
                      </a:lnTo>
                      <a:lnTo>
                        <a:pt x="76" y="52"/>
                      </a:lnTo>
                      <a:lnTo>
                        <a:pt x="76" y="53"/>
                      </a:lnTo>
                      <a:lnTo>
                        <a:pt x="76" y="57"/>
                      </a:lnTo>
                      <a:lnTo>
                        <a:pt x="76" y="60"/>
                      </a:lnTo>
                      <a:lnTo>
                        <a:pt x="75" y="62"/>
                      </a:lnTo>
                      <a:lnTo>
                        <a:pt x="72" y="63"/>
                      </a:lnTo>
                      <a:lnTo>
                        <a:pt x="71" y="63"/>
                      </a:lnTo>
                      <a:lnTo>
                        <a:pt x="70" y="65"/>
                      </a:lnTo>
                      <a:lnTo>
                        <a:pt x="71" y="68"/>
                      </a:lnTo>
                      <a:lnTo>
                        <a:pt x="72" y="71"/>
                      </a:lnTo>
                      <a:lnTo>
                        <a:pt x="72" y="74"/>
                      </a:lnTo>
                      <a:lnTo>
                        <a:pt x="70" y="76"/>
                      </a:lnTo>
                      <a:lnTo>
                        <a:pt x="69" y="78"/>
                      </a:lnTo>
                      <a:lnTo>
                        <a:pt x="69" y="79"/>
                      </a:lnTo>
                      <a:lnTo>
                        <a:pt x="67" y="81"/>
                      </a:lnTo>
                      <a:lnTo>
                        <a:pt x="65" y="82"/>
                      </a:lnTo>
                      <a:lnTo>
                        <a:pt x="61" y="82"/>
                      </a:lnTo>
                      <a:lnTo>
                        <a:pt x="57" y="82"/>
                      </a:lnTo>
                      <a:lnTo>
                        <a:pt x="54" y="81"/>
                      </a:lnTo>
                      <a:lnTo>
                        <a:pt x="56" y="85"/>
                      </a:lnTo>
                      <a:lnTo>
                        <a:pt x="59" y="87"/>
                      </a:lnTo>
                      <a:lnTo>
                        <a:pt x="60" y="89"/>
                      </a:lnTo>
                      <a:lnTo>
                        <a:pt x="60" y="90"/>
                      </a:lnTo>
                      <a:lnTo>
                        <a:pt x="60" y="92"/>
                      </a:lnTo>
                      <a:lnTo>
                        <a:pt x="61" y="94"/>
                      </a:lnTo>
                      <a:lnTo>
                        <a:pt x="62" y="96"/>
                      </a:lnTo>
                      <a:lnTo>
                        <a:pt x="65" y="98"/>
                      </a:lnTo>
                      <a:lnTo>
                        <a:pt x="67" y="101"/>
                      </a:lnTo>
                      <a:lnTo>
                        <a:pt x="67" y="103"/>
                      </a:lnTo>
                      <a:lnTo>
                        <a:pt x="65" y="107"/>
                      </a:lnTo>
                      <a:lnTo>
                        <a:pt x="62" y="111"/>
                      </a:lnTo>
                      <a:lnTo>
                        <a:pt x="60" y="114"/>
                      </a:lnTo>
                      <a:lnTo>
                        <a:pt x="57" y="118"/>
                      </a:lnTo>
                      <a:lnTo>
                        <a:pt x="57" y="122"/>
                      </a:lnTo>
                      <a:lnTo>
                        <a:pt x="60" y="127"/>
                      </a:lnTo>
                      <a:lnTo>
                        <a:pt x="64" y="129"/>
                      </a:lnTo>
                      <a:lnTo>
                        <a:pt x="67" y="129"/>
                      </a:lnTo>
                      <a:lnTo>
                        <a:pt x="65" y="133"/>
                      </a:lnTo>
                      <a:lnTo>
                        <a:pt x="62" y="135"/>
                      </a:lnTo>
                      <a:lnTo>
                        <a:pt x="60" y="138"/>
                      </a:lnTo>
                      <a:lnTo>
                        <a:pt x="57" y="140"/>
                      </a:lnTo>
                      <a:lnTo>
                        <a:pt x="54" y="145"/>
                      </a:lnTo>
                      <a:lnTo>
                        <a:pt x="51" y="149"/>
                      </a:lnTo>
                      <a:lnTo>
                        <a:pt x="50" y="153"/>
                      </a:lnTo>
                      <a:lnTo>
                        <a:pt x="51" y="156"/>
                      </a:lnTo>
                      <a:lnTo>
                        <a:pt x="53" y="159"/>
                      </a:lnTo>
                      <a:lnTo>
                        <a:pt x="51" y="162"/>
                      </a:lnTo>
                      <a:lnTo>
                        <a:pt x="48" y="166"/>
                      </a:lnTo>
                      <a:lnTo>
                        <a:pt x="43" y="169"/>
                      </a:lnTo>
                      <a:lnTo>
                        <a:pt x="38" y="169"/>
                      </a:lnTo>
                      <a:lnTo>
                        <a:pt x="33" y="167"/>
                      </a:lnTo>
                      <a:lnTo>
                        <a:pt x="27" y="166"/>
                      </a:lnTo>
                      <a:lnTo>
                        <a:pt x="21" y="165"/>
                      </a:lnTo>
                      <a:lnTo>
                        <a:pt x="16" y="166"/>
                      </a:lnTo>
                      <a:lnTo>
                        <a:pt x="11" y="170"/>
                      </a:lnTo>
                      <a:lnTo>
                        <a:pt x="11" y="165"/>
                      </a:lnTo>
                      <a:lnTo>
                        <a:pt x="12" y="160"/>
                      </a:lnTo>
                      <a:lnTo>
                        <a:pt x="14" y="154"/>
                      </a:lnTo>
                      <a:lnTo>
                        <a:pt x="16" y="148"/>
                      </a:lnTo>
                      <a:lnTo>
                        <a:pt x="17" y="145"/>
                      </a:lnTo>
                      <a:lnTo>
                        <a:pt x="17" y="143"/>
                      </a:lnTo>
                      <a:lnTo>
                        <a:pt x="16" y="137"/>
                      </a:lnTo>
                      <a:lnTo>
                        <a:pt x="17" y="129"/>
                      </a:lnTo>
                      <a:lnTo>
                        <a:pt x="17" y="125"/>
                      </a:lnTo>
                      <a:lnTo>
                        <a:pt x="16" y="121"/>
                      </a:lnTo>
                      <a:lnTo>
                        <a:pt x="17" y="123"/>
                      </a:lnTo>
                      <a:lnTo>
                        <a:pt x="17" y="123"/>
                      </a:lnTo>
                      <a:lnTo>
                        <a:pt x="18" y="123"/>
                      </a:lnTo>
                      <a:lnTo>
                        <a:pt x="19" y="121"/>
                      </a:lnTo>
                      <a:lnTo>
                        <a:pt x="19" y="118"/>
                      </a:lnTo>
                      <a:lnTo>
                        <a:pt x="17" y="119"/>
                      </a:lnTo>
                      <a:lnTo>
                        <a:pt x="13" y="121"/>
                      </a:lnTo>
                      <a:lnTo>
                        <a:pt x="10" y="122"/>
                      </a:lnTo>
                      <a:lnTo>
                        <a:pt x="6" y="123"/>
                      </a:lnTo>
                      <a:lnTo>
                        <a:pt x="7" y="119"/>
                      </a:lnTo>
                      <a:lnTo>
                        <a:pt x="7" y="114"/>
                      </a:lnTo>
                      <a:lnTo>
                        <a:pt x="11" y="116"/>
                      </a:lnTo>
                      <a:lnTo>
                        <a:pt x="12" y="113"/>
                      </a:lnTo>
                      <a:lnTo>
                        <a:pt x="14" y="112"/>
                      </a:lnTo>
                      <a:lnTo>
                        <a:pt x="14" y="111"/>
                      </a:lnTo>
                      <a:lnTo>
                        <a:pt x="14" y="110"/>
                      </a:lnTo>
                      <a:lnTo>
                        <a:pt x="13" y="106"/>
                      </a:lnTo>
                      <a:lnTo>
                        <a:pt x="12" y="108"/>
                      </a:lnTo>
                      <a:lnTo>
                        <a:pt x="8" y="112"/>
                      </a:lnTo>
                      <a:lnTo>
                        <a:pt x="5" y="114"/>
                      </a:lnTo>
                      <a:lnTo>
                        <a:pt x="1" y="114"/>
                      </a:lnTo>
                      <a:lnTo>
                        <a:pt x="0" y="112"/>
                      </a:lnTo>
                      <a:lnTo>
                        <a:pt x="0" y="110"/>
                      </a:lnTo>
                      <a:lnTo>
                        <a:pt x="1" y="105"/>
                      </a:lnTo>
                      <a:lnTo>
                        <a:pt x="3" y="98"/>
                      </a:lnTo>
                      <a:lnTo>
                        <a:pt x="5" y="94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5" name="Freeform 407">
                  <a:extLst>
                    <a:ext uri="{FF2B5EF4-FFF2-40B4-BE49-F238E27FC236}">
                      <a16:creationId xmlns:a16="http://schemas.microsoft.com/office/drawing/2014/main" id="{31D5A2A5-B74F-48FF-AA6E-D7C4DDCCC9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3091" y="5649282"/>
                  <a:ext cx="4477" cy="2653"/>
                </a:xfrm>
                <a:custGeom>
                  <a:avLst/>
                  <a:gdLst>
                    <a:gd name="T0" fmla="*/ 4 w 4"/>
                    <a:gd name="T1" fmla="*/ 2 h 2"/>
                    <a:gd name="T2" fmla="*/ 2 w 4"/>
                    <a:gd name="T3" fmla="*/ 0 h 2"/>
                    <a:gd name="T4" fmla="*/ 0 w 4"/>
                    <a:gd name="T5" fmla="*/ 2 h 2"/>
                    <a:gd name="T6" fmla="*/ 4 w 4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4" y="2"/>
                      </a:move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4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6" name="Freeform 408">
                  <a:extLst>
                    <a:ext uri="{FF2B5EF4-FFF2-40B4-BE49-F238E27FC236}">
                      <a16:creationId xmlns:a16="http://schemas.microsoft.com/office/drawing/2014/main" id="{B89830A7-CA60-4270-9DBD-4223B4C0E5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4723" y="5659891"/>
                  <a:ext cx="6716" cy="2653"/>
                </a:xfrm>
                <a:custGeom>
                  <a:avLst/>
                  <a:gdLst>
                    <a:gd name="T0" fmla="*/ 1 w 6"/>
                    <a:gd name="T1" fmla="*/ 4 h 4"/>
                    <a:gd name="T2" fmla="*/ 6 w 6"/>
                    <a:gd name="T3" fmla="*/ 4 h 4"/>
                    <a:gd name="T4" fmla="*/ 4 w 6"/>
                    <a:gd name="T5" fmla="*/ 0 h 4"/>
                    <a:gd name="T6" fmla="*/ 0 w 6"/>
                    <a:gd name="T7" fmla="*/ 1 h 4"/>
                    <a:gd name="T8" fmla="*/ 1 w 6"/>
                    <a:gd name="T9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4">
                      <a:moveTo>
                        <a:pt x="1" y="4"/>
                      </a:moveTo>
                      <a:lnTo>
                        <a:pt x="6" y="4"/>
                      </a:ln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1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7" name="Freeform 409">
                  <a:extLst>
                    <a:ext uri="{FF2B5EF4-FFF2-40B4-BE49-F238E27FC236}">
                      <a16:creationId xmlns:a16="http://schemas.microsoft.com/office/drawing/2014/main" id="{B06F8140-DA86-4EE2-8027-A6E1871B4C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0851" y="5638673"/>
                  <a:ext cx="2240" cy="10609"/>
                </a:xfrm>
                <a:custGeom>
                  <a:avLst/>
                  <a:gdLst>
                    <a:gd name="T0" fmla="*/ 2 w 3"/>
                    <a:gd name="T1" fmla="*/ 0 h 8"/>
                    <a:gd name="T2" fmla="*/ 0 w 3"/>
                    <a:gd name="T3" fmla="*/ 4 h 8"/>
                    <a:gd name="T4" fmla="*/ 0 w 3"/>
                    <a:gd name="T5" fmla="*/ 8 h 8"/>
                    <a:gd name="T6" fmla="*/ 0 w 3"/>
                    <a:gd name="T7" fmla="*/ 5 h 8"/>
                    <a:gd name="T8" fmla="*/ 3 w 3"/>
                    <a:gd name="T9" fmla="*/ 4 h 8"/>
                    <a:gd name="T10" fmla="*/ 2 w 3"/>
                    <a:gd name="T11" fmla="*/ 3 h 8"/>
                    <a:gd name="T12" fmla="*/ 2 w 3"/>
                    <a:gd name="T13" fmla="*/ 0 h 8"/>
                    <a:gd name="T14" fmla="*/ 2 w 3"/>
                    <a:gd name="T15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8">
                      <a:moveTo>
                        <a:pt x="2" y="0"/>
                      </a:moveTo>
                      <a:lnTo>
                        <a:pt x="0" y="4"/>
                      </a:lnTo>
                      <a:lnTo>
                        <a:pt x="0" y="8"/>
                      </a:lnTo>
                      <a:lnTo>
                        <a:pt x="0" y="5"/>
                      </a:lnTo>
                      <a:lnTo>
                        <a:pt x="3" y="4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8" name="Freeform 410">
                  <a:extLst>
                    <a:ext uri="{FF2B5EF4-FFF2-40B4-BE49-F238E27FC236}">
                      <a16:creationId xmlns:a16="http://schemas.microsoft.com/office/drawing/2014/main" id="{97F2B97A-44BA-46C2-9A5C-0018367339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3091" y="5641326"/>
                  <a:ext cx="4477" cy="2653"/>
                </a:xfrm>
                <a:custGeom>
                  <a:avLst/>
                  <a:gdLst>
                    <a:gd name="T0" fmla="*/ 2 w 5"/>
                    <a:gd name="T1" fmla="*/ 0 h 1"/>
                    <a:gd name="T2" fmla="*/ 0 w 5"/>
                    <a:gd name="T3" fmla="*/ 1 h 1"/>
                    <a:gd name="T4" fmla="*/ 5 w 5"/>
                    <a:gd name="T5" fmla="*/ 1 h 1"/>
                    <a:gd name="T6" fmla="*/ 2 w 5"/>
                    <a:gd name="T7" fmla="*/ 0 h 1"/>
                    <a:gd name="T8" fmla="*/ 2 w 5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1">
                      <a:moveTo>
                        <a:pt x="2" y="0"/>
                      </a:moveTo>
                      <a:lnTo>
                        <a:pt x="0" y="1"/>
                      </a:lnTo>
                      <a:lnTo>
                        <a:pt x="5" y="1"/>
                      </a:lnTo>
                      <a:lnTo>
                        <a:pt x="2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9" name="Freeform 411">
                  <a:extLst>
                    <a:ext uri="{FF2B5EF4-FFF2-40B4-BE49-F238E27FC236}">
                      <a16:creationId xmlns:a16="http://schemas.microsoft.com/office/drawing/2014/main" id="{D590FC3D-7E54-4EF2-B861-0AFC57F58C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53696" y="5641326"/>
                  <a:ext cx="252953" cy="323554"/>
                </a:xfrm>
                <a:custGeom>
                  <a:avLst/>
                  <a:gdLst>
                    <a:gd name="T0" fmla="*/ 69 w 228"/>
                    <a:gd name="T1" fmla="*/ 2 h 242"/>
                    <a:gd name="T2" fmla="*/ 76 w 228"/>
                    <a:gd name="T3" fmla="*/ 13 h 242"/>
                    <a:gd name="T4" fmla="*/ 75 w 228"/>
                    <a:gd name="T5" fmla="*/ 18 h 242"/>
                    <a:gd name="T6" fmla="*/ 75 w 228"/>
                    <a:gd name="T7" fmla="*/ 31 h 242"/>
                    <a:gd name="T8" fmla="*/ 97 w 228"/>
                    <a:gd name="T9" fmla="*/ 43 h 242"/>
                    <a:gd name="T10" fmla="*/ 79 w 228"/>
                    <a:gd name="T11" fmla="*/ 33 h 242"/>
                    <a:gd name="T12" fmla="*/ 65 w 228"/>
                    <a:gd name="T13" fmla="*/ 44 h 242"/>
                    <a:gd name="T14" fmla="*/ 58 w 228"/>
                    <a:gd name="T15" fmla="*/ 43 h 242"/>
                    <a:gd name="T16" fmla="*/ 56 w 228"/>
                    <a:gd name="T17" fmla="*/ 42 h 242"/>
                    <a:gd name="T18" fmla="*/ 33 w 228"/>
                    <a:gd name="T19" fmla="*/ 39 h 242"/>
                    <a:gd name="T20" fmla="*/ 36 w 228"/>
                    <a:gd name="T21" fmla="*/ 52 h 242"/>
                    <a:gd name="T22" fmla="*/ 28 w 228"/>
                    <a:gd name="T23" fmla="*/ 69 h 242"/>
                    <a:gd name="T24" fmla="*/ 19 w 228"/>
                    <a:gd name="T25" fmla="*/ 75 h 242"/>
                    <a:gd name="T26" fmla="*/ 24 w 228"/>
                    <a:gd name="T27" fmla="*/ 86 h 242"/>
                    <a:gd name="T28" fmla="*/ 15 w 228"/>
                    <a:gd name="T29" fmla="*/ 96 h 242"/>
                    <a:gd name="T30" fmla="*/ 3 w 228"/>
                    <a:gd name="T31" fmla="*/ 96 h 242"/>
                    <a:gd name="T32" fmla="*/ 6 w 228"/>
                    <a:gd name="T33" fmla="*/ 109 h 242"/>
                    <a:gd name="T34" fmla="*/ 1 w 228"/>
                    <a:gd name="T35" fmla="*/ 129 h 242"/>
                    <a:gd name="T36" fmla="*/ 8 w 228"/>
                    <a:gd name="T37" fmla="*/ 139 h 242"/>
                    <a:gd name="T38" fmla="*/ 8 w 228"/>
                    <a:gd name="T39" fmla="*/ 159 h 242"/>
                    <a:gd name="T40" fmla="*/ 12 w 228"/>
                    <a:gd name="T41" fmla="*/ 175 h 242"/>
                    <a:gd name="T42" fmla="*/ 22 w 228"/>
                    <a:gd name="T43" fmla="*/ 181 h 242"/>
                    <a:gd name="T44" fmla="*/ 32 w 228"/>
                    <a:gd name="T45" fmla="*/ 183 h 242"/>
                    <a:gd name="T46" fmla="*/ 56 w 228"/>
                    <a:gd name="T47" fmla="*/ 188 h 242"/>
                    <a:gd name="T48" fmla="*/ 37 w 228"/>
                    <a:gd name="T49" fmla="*/ 226 h 242"/>
                    <a:gd name="T50" fmla="*/ 42 w 228"/>
                    <a:gd name="T51" fmla="*/ 234 h 242"/>
                    <a:gd name="T52" fmla="*/ 65 w 228"/>
                    <a:gd name="T53" fmla="*/ 230 h 242"/>
                    <a:gd name="T54" fmla="*/ 79 w 228"/>
                    <a:gd name="T55" fmla="*/ 231 h 242"/>
                    <a:gd name="T56" fmla="*/ 106 w 228"/>
                    <a:gd name="T57" fmla="*/ 238 h 242"/>
                    <a:gd name="T58" fmla="*/ 119 w 228"/>
                    <a:gd name="T59" fmla="*/ 235 h 242"/>
                    <a:gd name="T60" fmla="*/ 135 w 228"/>
                    <a:gd name="T61" fmla="*/ 237 h 242"/>
                    <a:gd name="T62" fmla="*/ 158 w 228"/>
                    <a:gd name="T63" fmla="*/ 229 h 242"/>
                    <a:gd name="T64" fmla="*/ 177 w 228"/>
                    <a:gd name="T65" fmla="*/ 236 h 242"/>
                    <a:gd name="T66" fmla="*/ 177 w 228"/>
                    <a:gd name="T67" fmla="*/ 227 h 242"/>
                    <a:gd name="T68" fmla="*/ 172 w 228"/>
                    <a:gd name="T69" fmla="*/ 218 h 242"/>
                    <a:gd name="T70" fmla="*/ 190 w 228"/>
                    <a:gd name="T71" fmla="*/ 205 h 242"/>
                    <a:gd name="T72" fmla="*/ 199 w 228"/>
                    <a:gd name="T73" fmla="*/ 199 h 242"/>
                    <a:gd name="T74" fmla="*/ 176 w 228"/>
                    <a:gd name="T75" fmla="*/ 178 h 242"/>
                    <a:gd name="T76" fmla="*/ 165 w 228"/>
                    <a:gd name="T77" fmla="*/ 159 h 242"/>
                    <a:gd name="T78" fmla="*/ 160 w 228"/>
                    <a:gd name="T79" fmla="*/ 150 h 242"/>
                    <a:gd name="T80" fmla="*/ 186 w 228"/>
                    <a:gd name="T81" fmla="*/ 135 h 242"/>
                    <a:gd name="T82" fmla="*/ 214 w 228"/>
                    <a:gd name="T83" fmla="*/ 123 h 242"/>
                    <a:gd name="T84" fmla="*/ 228 w 228"/>
                    <a:gd name="T85" fmla="*/ 118 h 242"/>
                    <a:gd name="T86" fmla="*/ 220 w 228"/>
                    <a:gd name="T87" fmla="*/ 106 h 242"/>
                    <a:gd name="T88" fmla="*/ 220 w 228"/>
                    <a:gd name="T89" fmla="*/ 90 h 242"/>
                    <a:gd name="T90" fmla="*/ 217 w 228"/>
                    <a:gd name="T91" fmla="*/ 74 h 242"/>
                    <a:gd name="T92" fmla="*/ 212 w 228"/>
                    <a:gd name="T93" fmla="*/ 50 h 242"/>
                    <a:gd name="T94" fmla="*/ 196 w 228"/>
                    <a:gd name="T95" fmla="*/ 34 h 242"/>
                    <a:gd name="T96" fmla="*/ 188 w 228"/>
                    <a:gd name="T97" fmla="*/ 25 h 242"/>
                    <a:gd name="T98" fmla="*/ 175 w 228"/>
                    <a:gd name="T99" fmla="*/ 16 h 242"/>
                    <a:gd name="T100" fmla="*/ 167 w 228"/>
                    <a:gd name="T101" fmla="*/ 16 h 242"/>
                    <a:gd name="T102" fmla="*/ 155 w 228"/>
                    <a:gd name="T103" fmla="*/ 22 h 242"/>
                    <a:gd name="T104" fmla="*/ 138 w 228"/>
                    <a:gd name="T105" fmla="*/ 27 h 242"/>
                    <a:gd name="T106" fmla="*/ 128 w 228"/>
                    <a:gd name="T107" fmla="*/ 29 h 242"/>
                    <a:gd name="T108" fmla="*/ 126 w 228"/>
                    <a:gd name="T109" fmla="*/ 23 h 242"/>
                    <a:gd name="T110" fmla="*/ 107 w 228"/>
                    <a:gd name="T111" fmla="*/ 16 h 242"/>
                    <a:gd name="T112" fmla="*/ 100 w 228"/>
                    <a:gd name="T113" fmla="*/ 13 h 242"/>
                    <a:gd name="T114" fmla="*/ 97 w 228"/>
                    <a:gd name="T115" fmla="*/ 5 h 242"/>
                    <a:gd name="T116" fmla="*/ 73 w 228"/>
                    <a:gd name="T117" fmla="*/ 0 h 2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28" h="242">
                      <a:moveTo>
                        <a:pt x="73" y="0"/>
                      </a:moveTo>
                      <a:lnTo>
                        <a:pt x="72" y="0"/>
                      </a:lnTo>
                      <a:lnTo>
                        <a:pt x="70" y="0"/>
                      </a:lnTo>
                      <a:lnTo>
                        <a:pt x="69" y="1"/>
                      </a:lnTo>
                      <a:lnTo>
                        <a:pt x="68" y="1"/>
                      </a:lnTo>
                      <a:lnTo>
                        <a:pt x="69" y="2"/>
                      </a:lnTo>
                      <a:lnTo>
                        <a:pt x="70" y="5"/>
                      </a:lnTo>
                      <a:lnTo>
                        <a:pt x="72" y="6"/>
                      </a:lnTo>
                      <a:lnTo>
                        <a:pt x="73" y="9"/>
                      </a:lnTo>
                      <a:lnTo>
                        <a:pt x="75" y="11"/>
                      </a:lnTo>
                      <a:lnTo>
                        <a:pt x="76" y="12"/>
                      </a:lnTo>
                      <a:lnTo>
                        <a:pt x="76" y="13"/>
                      </a:lnTo>
                      <a:lnTo>
                        <a:pt x="74" y="16"/>
                      </a:lnTo>
                      <a:lnTo>
                        <a:pt x="72" y="16"/>
                      </a:lnTo>
                      <a:lnTo>
                        <a:pt x="69" y="17"/>
                      </a:lnTo>
                      <a:lnTo>
                        <a:pt x="67" y="18"/>
                      </a:lnTo>
                      <a:lnTo>
                        <a:pt x="72" y="20"/>
                      </a:lnTo>
                      <a:lnTo>
                        <a:pt x="75" y="18"/>
                      </a:lnTo>
                      <a:lnTo>
                        <a:pt x="73" y="21"/>
                      </a:lnTo>
                      <a:lnTo>
                        <a:pt x="74" y="23"/>
                      </a:lnTo>
                      <a:lnTo>
                        <a:pt x="75" y="25"/>
                      </a:lnTo>
                      <a:lnTo>
                        <a:pt x="76" y="27"/>
                      </a:lnTo>
                      <a:lnTo>
                        <a:pt x="74" y="28"/>
                      </a:lnTo>
                      <a:lnTo>
                        <a:pt x="75" y="31"/>
                      </a:lnTo>
                      <a:lnTo>
                        <a:pt x="79" y="32"/>
                      </a:lnTo>
                      <a:lnTo>
                        <a:pt x="84" y="33"/>
                      </a:lnTo>
                      <a:lnTo>
                        <a:pt x="86" y="36"/>
                      </a:lnTo>
                      <a:lnTo>
                        <a:pt x="90" y="38"/>
                      </a:lnTo>
                      <a:lnTo>
                        <a:pt x="94" y="41"/>
                      </a:lnTo>
                      <a:lnTo>
                        <a:pt x="97" y="43"/>
                      </a:lnTo>
                      <a:lnTo>
                        <a:pt x="92" y="42"/>
                      </a:lnTo>
                      <a:lnTo>
                        <a:pt x="90" y="39"/>
                      </a:lnTo>
                      <a:lnTo>
                        <a:pt x="87" y="37"/>
                      </a:lnTo>
                      <a:lnTo>
                        <a:pt x="84" y="34"/>
                      </a:lnTo>
                      <a:lnTo>
                        <a:pt x="81" y="33"/>
                      </a:lnTo>
                      <a:lnTo>
                        <a:pt x="79" y="33"/>
                      </a:lnTo>
                      <a:lnTo>
                        <a:pt x="73" y="34"/>
                      </a:lnTo>
                      <a:lnTo>
                        <a:pt x="68" y="34"/>
                      </a:lnTo>
                      <a:lnTo>
                        <a:pt x="65" y="34"/>
                      </a:lnTo>
                      <a:lnTo>
                        <a:pt x="64" y="38"/>
                      </a:lnTo>
                      <a:lnTo>
                        <a:pt x="65" y="41"/>
                      </a:lnTo>
                      <a:lnTo>
                        <a:pt x="65" y="44"/>
                      </a:lnTo>
                      <a:lnTo>
                        <a:pt x="64" y="49"/>
                      </a:lnTo>
                      <a:lnTo>
                        <a:pt x="64" y="45"/>
                      </a:lnTo>
                      <a:lnTo>
                        <a:pt x="64" y="43"/>
                      </a:lnTo>
                      <a:lnTo>
                        <a:pt x="62" y="42"/>
                      </a:lnTo>
                      <a:lnTo>
                        <a:pt x="59" y="42"/>
                      </a:lnTo>
                      <a:lnTo>
                        <a:pt x="58" y="43"/>
                      </a:lnTo>
                      <a:lnTo>
                        <a:pt x="58" y="44"/>
                      </a:lnTo>
                      <a:lnTo>
                        <a:pt x="59" y="47"/>
                      </a:lnTo>
                      <a:lnTo>
                        <a:pt x="57" y="47"/>
                      </a:lnTo>
                      <a:lnTo>
                        <a:pt x="54" y="45"/>
                      </a:lnTo>
                      <a:lnTo>
                        <a:pt x="56" y="43"/>
                      </a:lnTo>
                      <a:lnTo>
                        <a:pt x="56" y="42"/>
                      </a:lnTo>
                      <a:lnTo>
                        <a:pt x="53" y="41"/>
                      </a:lnTo>
                      <a:lnTo>
                        <a:pt x="49" y="39"/>
                      </a:lnTo>
                      <a:lnTo>
                        <a:pt x="41" y="38"/>
                      </a:lnTo>
                      <a:lnTo>
                        <a:pt x="37" y="38"/>
                      </a:lnTo>
                      <a:lnTo>
                        <a:pt x="36" y="38"/>
                      </a:lnTo>
                      <a:lnTo>
                        <a:pt x="33" y="39"/>
                      </a:lnTo>
                      <a:lnTo>
                        <a:pt x="31" y="42"/>
                      </a:lnTo>
                      <a:lnTo>
                        <a:pt x="28" y="44"/>
                      </a:lnTo>
                      <a:lnTo>
                        <a:pt x="27" y="48"/>
                      </a:lnTo>
                      <a:lnTo>
                        <a:pt x="30" y="49"/>
                      </a:lnTo>
                      <a:lnTo>
                        <a:pt x="32" y="50"/>
                      </a:lnTo>
                      <a:lnTo>
                        <a:pt x="36" y="52"/>
                      </a:lnTo>
                      <a:lnTo>
                        <a:pt x="36" y="50"/>
                      </a:lnTo>
                      <a:lnTo>
                        <a:pt x="35" y="50"/>
                      </a:lnTo>
                      <a:lnTo>
                        <a:pt x="33" y="53"/>
                      </a:lnTo>
                      <a:lnTo>
                        <a:pt x="31" y="58"/>
                      </a:lnTo>
                      <a:lnTo>
                        <a:pt x="30" y="64"/>
                      </a:lnTo>
                      <a:lnTo>
                        <a:pt x="28" y="69"/>
                      </a:lnTo>
                      <a:lnTo>
                        <a:pt x="27" y="71"/>
                      </a:lnTo>
                      <a:lnTo>
                        <a:pt x="25" y="71"/>
                      </a:lnTo>
                      <a:lnTo>
                        <a:pt x="22" y="71"/>
                      </a:lnTo>
                      <a:lnTo>
                        <a:pt x="20" y="72"/>
                      </a:lnTo>
                      <a:lnTo>
                        <a:pt x="19" y="74"/>
                      </a:lnTo>
                      <a:lnTo>
                        <a:pt x="19" y="75"/>
                      </a:lnTo>
                      <a:lnTo>
                        <a:pt x="20" y="76"/>
                      </a:lnTo>
                      <a:lnTo>
                        <a:pt x="24" y="77"/>
                      </a:lnTo>
                      <a:lnTo>
                        <a:pt x="26" y="80"/>
                      </a:lnTo>
                      <a:lnTo>
                        <a:pt x="26" y="81"/>
                      </a:lnTo>
                      <a:lnTo>
                        <a:pt x="26" y="84"/>
                      </a:lnTo>
                      <a:lnTo>
                        <a:pt x="24" y="86"/>
                      </a:lnTo>
                      <a:lnTo>
                        <a:pt x="20" y="88"/>
                      </a:lnTo>
                      <a:lnTo>
                        <a:pt x="20" y="91"/>
                      </a:lnTo>
                      <a:lnTo>
                        <a:pt x="21" y="92"/>
                      </a:lnTo>
                      <a:lnTo>
                        <a:pt x="21" y="93"/>
                      </a:lnTo>
                      <a:lnTo>
                        <a:pt x="20" y="95"/>
                      </a:lnTo>
                      <a:lnTo>
                        <a:pt x="15" y="96"/>
                      </a:lnTo>
                      <a:lnTo>
                        <a:pt x="9" y="96"/>
                      </a:lnTo>
                      <a:lnTo>
                        <a:pt x="6" y="95"/>
                      </a:lnTo>
                      <a:lnTo>
                        <a:pt x="4" y="95"/>
                      </a:lnTo>
                      <a:lnTo>
                        <a:pt x="5" y="96"/>
                      </a:lnTo>
                      <a:lnTo>
                        <a:pt x="4" y="97"/>
                      </a:lnTo>
                      <a:lnTo>
                        <a:pt x="3" y="96"/>
                      </a:lnTo>
                      <a:lnTo>
                        <a:pt x="0" y="97"/>
                      </a:lnTo>
                      <a:lnTo>
                        <a:pt x="0" y="98"/>
                      </a:lnTo>
                      <a:lnTo>
                        <a:pt x="0" y="100"/>
                      </a:lnTo>
                      <a:lnTo>
                        <a:pt x="3" y="102"/>
                      </a:lnTo>
                      <a:lnTo>
                        <a:pt x="5" y="106"/>
                      </a:lnTo>
                      <a:lnTo>
                        <a:pt x="6" y="109"/>
                      </a:lnTo>
                      <a:lnTo>
                        <a:pt x="6" y="113"/>
                      </a:lnTo>
                      <a:lnTo>
                        <a:pt x="4" y="115"/>
                      </a:lnTo>
                      <a:lnTo>
                        <a:pt x="1" y="119"/>
                      </a:lnTo>
                      <a:lnTo>
                        <a:pt x="0" y="122"/>
                      </a:lnTo>
                      <a:lnTo>
                        <a:pt x="0" y="125"/>
                      </a:lnTo>
                      <a:lnTo>
                        <a:pt x="1" y="129"/>
                      </a:lnTo>
                      <a:lnTo>
                        <a:pt x="1" y="133"/>
                      </a:lnTo>
                      <a:lnTo>
                        <a:pt x="3" y="134"/>
                      </a:lnTo>
                      <a:lnTo>
                        <a:pt x="5" y="135"/>
                      </a:lnTo>
                      <a:lnTo>
                        <a:pt x="6" y="136"/>
                      </a:lnTo>
                      <a:lnTo>
                        <a:pt x="5" y="139"/>
                      </a:lnTo>
                      <a:lnTo>
                        <a:pt x="8" y="139"/>
                      </a:lnTo>
                      <a:lnTo>
                        <a:pt x="9" y="141"/>
                      </a:lnTo>
                      <a:lnTo>
                        <a:pt x="10" y="145"/>
                      </a:lnTo>
                      <a:lnTo>
                        <a:pt x="4" y="146"/>
                      </a:lnTo>
                      <a:lnTo>
                        <a:pt x="0" y="150"/>
                      </a:lnTo>
                      <a:lnTo>
                        <a:pt x="1" y="155"/>
                      </a:lnTo>
                      <a:lnTo>
                        <a:pt x="8" y="159"/>
                      </a:lnTo>
                      <a:lnTo>
                        <a:pt x="10" y="161"/>
                      </a:lnTo>
                      <a:lnTo>
                        <a:pt x="11" y="162"/>
                      </a:lnTo>
                      <a:lnTo>
                        <a:pt x="11" y="166"/>
                      </a:lnTo>
                      <a:lnTo>
                        <a:pt x="10" y="170"/>
                      </a:lnTo>
                      <a:lnTo>
                        <a:pt x="10" y="173"/>
                      </a:lnTo>
                      <a:lnTo>
                        <a:pt x="12" y="175"/>
                      </a:lnTo>
                      <a:lnTo>
                        <a:pt x="15" y="178"/>
                      </a:lnTo>
                      <a:lnTo>
                        <a:pt x="19" y="181"/>
                      </a:lnTo>
                      <a:lnTo>
                        <a:pt x="20" y="182"/>
                      </a:lnTo>
                      <a:lnTo>
                        <a:pt x="21" y="182"/>
                      </a:lnTo>
                      <a:lnTo>
                        <a:pt x="22" y="182"/>
                      </a:lnTo>
                      <a:lnTo>
                        <a:pt x="22" y="181"/>
                      </a:lnTo>
                      <a:lnTo>
                        <a:pt x="25" y="181"/>
                      </a:lnTo>
                      <a:lnTo>
                        <a:pt x="26" y="182"/>
                      </a:lnTo>
                      <a:lnTo>
                        <a:pt x="26" y="183"/>
                      </a:lnTo>
                      <a:lnTo>
                        <a:pt x="26" y="183"/>
                      </a:lnTo>
                      <a:lnTo>
                        <a:pt x="28" y="183"/>
                      </a:lnTo>
                      <a:lnTo>
                        <a:pt x="32" y="183"/>
                      </a:lnTo>
                      <a:lnTo>
                        <a:pt x="36" y="183"/>
                      </a:lnTo>
                      <a:lnTo>
                        <a:pt x="38" y="183"/>
                      </a:lnTo>
                      <a:lnTo>
                        <a:pt x="40" y="184"/>
                      </a:lnTo>
                      <a:lnTo>
                        <a:pt x="42" y="186"/>
                      </a:lnTo>
                      <a:lnTo>
                        <a:pt x="49" y="187"/>
                      </a:lnTo>
                      <a:lnTo>
                        <a:pt x="56" y="188"/>
                      </a:lnTo>
                      <a:lnTo>
                        <a:pt x="47" y="198"/>
                      </a:lnTo>
                      <a:lnTo>
                        <a:pt x="43" y="205"/>
                      </a:lnTo>
                      <a:lnTo>
                        <a:pt x="40" y="213"/>
                      </a:lnTo>
                      <a:lnTo>
                        <a:pt x="40" y="215"/>
                      </a:lnTo>
                      <a:lnTo>
                        <a:pt x="38" y="219"/>
                      </a:lnTo>
                      <a:lnTo>
                        <a:pt x="37" y="226"/>
                      </a:lnTo>
                      <a:lnTo>
                        <a:pt x="37" y="230"/>
                      </a:lnTo>
                      <a:lnTo>
                        <a:pt x="37" y="232"/>
                      </a:lnTo>
                      <a:lnTo>
                        <a:pt x="38" y="234"/>
                      </a:lnTo>
                      <a:lnTo>
                        <a:pt x="41" y="232"/>
                      </a:lnTo>
                      <a:lnTo>
                        <a:pt x="41" y="232"/>
                      </a:lnTo>
                      <a:lnTo>
                        <a:pt x="42" y="234"/>
                      </a:lnTo>
                      <a:lnTo>
                        <a:pt x="46" y="234"/>
                      </a:lnTo>
                      <a:lnTo>
                        <a:pt x="52" y="234"/>
                      </a:lnTo>
                      <a:lnTo>
                        <a:pt x="54" y="234"/>
                      </a:lnTo>
                      <a:lnTo>
                        <a:pt x="62" y="232"/>
                      </a:lnTo>
                      <a:lnTo>
                        <a:pt x="64" y="232"/>
                      </a:lnTo>
                      <a:lnTo>
                        <a:pt x="65" y="230"/>
                      </a:lnTo>
                      <a:lnTo>
                        <a:pt x="62" y="230"/>
                      </a:lnTo>
                      <a:lnTo>
                        <a:pt x="62" y="229"/>
                      </a:lnTo>
                      <a:lnTo>
                        <a:pt x="64" y="227"/>
                      </a:lnTo>
                      <a:lnTo>
                        <a:pt x="68" y="227"/>
                      </a:lnTo>
                      <a:lnTo>
                        <a:pt x="73" y="230"/>
                      </a:lnTo>
                      <a:lnTo>
                        <a:pt x="79" y="231"/>
                      </a:lnTo>
                      <a:lnTo>
                        <a:pt x="85" y="232"/>
                      </a:lnTo>
                      <a:lnTo>
                        <a:pt x="90" y="235"/>
                      </a:lnTo>
                      <a:lnTo>
                        <a:pt x="92" y="235"/>
                      </a:lnTo>
                      <a:lnTo>
                        <a:pt x="95" y="236"/>
                      </a:lnTo>
                      <a:lnTo>
                        <a:pt x="101" y="236"/>
                      </a:lnTo>
                      <a:lnTo>
                        <a:pt x="106" y="238"/>
                      </a:lnTo>
                      <a:lnTo>
                        <a:pt x="106" y="240"/>
                      </a:lnTo>
                      <a:lnTo>
                        <a:pt x="106" y="242"/>
                      </a:lnTo>
                      <a:lnTo>
                        <a:pt x="110" y="242"/>
                      </a:lnTo>
                      <a:lnTo>
                        <a:pt x="111" y="240"/>
                      </a:lnTo>
                      <a:lnTo>
                        <a:pt x="113" y="232"/>
                      </a:lnTo>
                      <a:lnTo>
                        <a:pt x="119" y="235"/>
                      </a:lnTo>
                      <a:lnTo>
                        <a:pt x="124" y="235"/>
                      </a:lnTo>
                      <a:lnTo>
                        <a:pt x="124" y="236"/>
                      </a:lnTo>
                      <a:lnTo>
                        <a:pt x="126" y="237"/>
                      </a:lnTo>
                      <a:lnTo>
                        <a:pt x="129" y="237"/>
                      </a:lnTo>
                      <a:lnTo>
                        <a:pt x="131" y="238"/>
                      </a:lnTo>
                      <a:lnTo>
                        <a:pt x="135" y="237"/>
                      </a:lnTo>
                      <a:lnTo>
                        <a:pt x="139" y="235"/>
                      </a:lnTo>
                      <a:lnTo>
                        <a:pt x="144" y="234"/>
                      </a:lnTo>
                      <a:lnTo>
                        <a:pt x="148" y="232"/>
                      </a:lnTo>
                      <a:lnTo>
                        <a:pt x="153" y="231"/>
                      </a:lnTo>
                      <a:lnTo>
                        <a:pt x="158" y="232"/>
                      </a:lnTo>
                      <a:lnTo>
                        <a:pt x="158" y="229"/>
                      </a:lnTo>
                      <a:lnTo>
                        <a:pt x="161" y="230"/>
                      </a:lnTo>
                      <a:lnTo>
                        <a:pt x="166" y="231"/>
                      </a:lnTo>
                      <a:lnTo>
                        <a:pt x="171" y="230"/>
                      </a:lnTo>
                      <a:lnTo>
                        <a:pt x="174" y="231"/>
                      </a:lnTo>
                      <a:lnTo>
                        <a:pt x="175" y="234"/>
                      </a:lnTo>
                      <a:lnTo>
                        <a:pt x="177" y="236"/>
                      </a:lnTo>
                      <a:lnTo>
                        <a:pt x="178" y="236"/>
                      </a:lnTo>
                      <a:lnTo>
                        <a:pt x="180" y="235"/>
                      </a:lnTo>
                      <a:lnTo>
                        <a:pt x="180" y="232"/>
                      </a:lnTo>
                      <a:lnTo>
                        <a:pt x="180" y="230"/>
                      </a:lnTo>
                      <a:lnTo>
                        <a:pt x="178" y="229"/>
                      </a:lnTo>
                      <a:lnTo>
                        <a:pt x="177" y="227"/>
                      </a:lnTo>
                      <a:lnTo>
                        <a:pt x="177" y="226"/>
                      </a:lnTo>
                      <a:lnTo>
                        <a:pt x="177" y="224"/>
                      </a:lnTo>
                      <a:lnTo>
                        <a:pt x="177" y="222"/>
                      </a:lnTo>
                      <a:lnTo>
                        <a:pt x="176" y="221"/>
                      </a:lnTo>
                      <a:lnTo>
                        <a:pt x="174" y="219"/>
                      </a:lnTo>
                      <a:lnTo>
                        <a:pt x="172" y="218"/>
                      </a:lnTo>
                      <a:lnTo>
                        <a:pt x="174" y="215"/>
                      </a:lnTo>
                      <a:lnTo>
                        <a:pt x="176" y="213"/>
                      </a:lnTo>
                      <a:lnTo>
                        <a:pt x="180" y="211"/>
                      </a:lnTo>
                      <a:lnTo>
                        <a:pt x="183" y="210"/>
                      </a:lnTo>
                      <a:lnTo>
                        <a:pt x="187" y="209"/>
                      </a:lnTo>
                      <a:lnTo>
                        <a:pt x="190" y="205"/>
                      </a:lnTo>
                      <a:lnTo>
                        <a:pt x="190" y="203"/>
                      </a:lnTo>
                      <a:lnTo>
                        <a:pt x="190" y="202"/>
                      </a:lnTo>
                      <a:lnTo>
                        <a:pt x="192" y="202"/>
                      </a:lnTo>
                      <a:lnTo>
                        <a:pt x="194" y="202"/>
                      </a:lnTo>
                      <a:lnTo>
                        <a:pt x="197" y="200"/>
                      </a:lnTo>
                      <a:lnTo>
                        <a:pt x="199" y="199"/>
                      </a:lnTo>
                      <a:lnTo>
                        <a:pt x="199" y="197"/>
                      </a:lnTo>
                      <a:lnTo>
                        <a:pt x="197" y="193"/>
                      </a:lnTo>
                      <a:lnTo>
                        <a:pt x="193" y="189"/>
                      </a:lnTo>
                      <a:lnTo>
                        <a:pt x="190" y="187"/>
                      </a:lnTo>
                      <a:lnTo>
                        <a:pt x="182" y="183"/>
                      </a:lnTo>
                      <a:lnTo>
                        <a:pt x="176" y="178"/>
                      </a:lnTo>
                      <a:lnTo>
                        <a:pt x="172" y="175"/>
                      </a:lnTo>
                      <a:lnTo>
                        <a:pt x="169" y="171"/>
                      </a:lnTo>
                      <a:lnTo>
                        <a:pt x="166" y="166"/>
                      </a:lnTo>
                      <a:lnTo>
                        <a:pt x="163" y="163"/>
                      </a:lnTo>
                      <a:lnTo>
                        <a:pt x="164" y="161"/>
                      </a:lnTo>
                      <a:lnTo>
                        <a:pt x="165" y="159"/>
                      </a:lnTo>
                      <a:lnTo>
                        <a:pt x="163" y="156"/>
                      </a:lnTo>
                      <a:lnTo>
                        <a:pt x="160" y="154"/>
                      </a:lnTo>
                      <a:lnTo>
                        <a:pt x="156" y="150"/>
                      </a:lnTo>
                      <a:lnTo>
                        <a:pt x="154" y="146"/>
                      </a:lnTo>
                      <a:lnTo>
                        <a:pt x="158" y="146"/>
                      </a:lnTo>
                      <a:lnTo>
                        <a:pt x="160" y="150"/>
                      </a:lnTo>
                      <a:lnTo>
                        <a:pt x="161" y="147"/>
                      </a:lnTo>
                      <a:lnTo>
                        <a:pt x="163" y="145"/>
                      </a:lnTo>
                      <a:lnTo>
                        <a:pt x="167" y="143"/>
                      </a:lnTo>
                      <a:lnTo>
                        <a:pt x="174" y="141"/>
                      </a:lnTo>
                      <a:lnTo>
                        <a:pt x="178" y="140"/>
                      </a:lnTo>
                      <a:lnTo>
                        <a:pt x="186" y="135"/>
                      </a:lnTo>
                      <a:lnTo>
                        <a:pt x="194" y="131"/>
                      </a:lnTo>
                      <a:lnTo>
                        <a:pt x="203" y="128"/>
                      </a:lnTo>
                      <a:lnTo>
                        <a:pt x="212" y="125"/>
                      </a:lnTo>
                      <a:lnTo>
                        <a:pt x="208" y="123"/>
                      </a:lnTo>
                      <a:lnTo>
                        <a:pt x="213" y="123"/>
                      </a:lnTo>
                      <a:lnTo>
                        <a:pt x="214" y="123"/>
                      </a:lnTo>
                      <a:lnTo>
                        <a:pt x="217" y="125"/>
                      </a:lnTo>
                      <a:lnTo>
                        <a:pt x="219" y="128"/>
                      </a:lnTo>
                      <a:lnTo>
                        <a:pt x="222" y="129"/>
                      </a:lnTo>
                      <a:lnTo>
                        <a:pt x="224" y="127"/>
                      </a:lnTo>
                      <a:lnTo>
                        <a:pt x="225" y="124"/>
                      </a:lnTo>
                      <a:lnTo>
                        <a:pt x="228" y="118"/>
                      </a:lnTo>
                      <a:lnTo>
                        <a:pt x="226" y="114"/>
                      </a:lnTo>
                      <a:lnTo>
                        <a:pt x="225" y="112"/>
                      </a:lnTo>
                      <a:lnTo>
                        <a:pt x="225" y="109"/>
                      </a:lnTo>
                      <a:lnTo>
                        <a:pt x="223" y="108"/>
                      </a:lnTo>
                      <a:lnTo>
                        <a:pt x="222" y="107"/>
                      </a:lnTo>
                      <a:lnTo>
                        <a:pt x="220" y="106"/>
                      </a:lnTo>
                      <a:lnTo>
                        <a:pt x="219" y="102"/>
                      </a:lnTo>
                      <a:lnTo>
                        <a:pt x="218" y="98"/>
                      </a:lnTo>
                      <a:lnTo>
                        <a:pt x="217" y="97"/>
                      </a:lnTo>
                      <a:lnTo>
                        <a:pt x="218" y="96"/>
                      </a:lnTo>
                      <a:lnTo>
                        <a:pt x="219" y="93"/>
                      </a:lnTo>
                      <a:lnTo>
                        <a:pt x="220" y="90"/>
                      </a:lnTo>
                      <a:lnTo>
                        <a:pt x="220" y="87"/>
                      </a:lnTo>
                      <a:lnTo>
                        <a:pt x="218" y="82"/>
                      </a:lnTo>
                      <a:lnTo>
                        <a:pt x="215" y="80"/>
                      </a:lnTo>
                      <a:lnTo>
                        <a:pt x="215" y="77"/>
                      </a:lnTo>
                      <a:lnTo>
                        <a:pt x="217" y="75"/>
                      </a:lnTo>
                      <a:lnTo>
                        <a:pt x="217" y="74"/>
                      </a:lnTo>
                      <a:lnTo>
                        <a:pt x="213" y="70"/>
                      </a:lnTo>
                      <a:lnTo>
                        <a:pt x="208" y="68"/>
                      </a:lnTo>
                      <a:lnTo>
                        <a:pt x="204" y="64"/>
                      </a:lnTo>
                      <a:lnTo>
                        <a:pt x="207" y="60"/>
                      </a:lnTo>
                      <a:lnTo>
                        <a:pt x="210" y="55"/>
                      </a:lnTo>
                      <a:lnTo>
                        <a:pt x="212" y="50"/>
                      </a:lnTo>
                      <a:lnTo>
                        <a:pt x="212" y="48"/>
                      </a:lnTo>
                      <a:lnTo>
                        <a:pt x="209" y="48"/>
                      </a:lnTo>
                      <a:lnTo>
                        <a:pt x="208" y="42"/>
                      </a:lnTo>
                      <a:lnTo>
                        <a:pt x="203" y="37"/>
                      </a:lnTo>
                      <a:lnTo>
                        <a:pt x="198" y="36"/>
                      </a:lnTo>
                      <a:lnTo>
                        <a:pt x="196" y="34"/>
                      </a:lnTo>
                      <a:lnTo>
                        <a:pt x="196" y="32"/>
                      </a:lnTo>
                      <a:lnTo>
                        <a:pt x="194" y="29"/>
                      </a:lnTo>
                      <a:lnTo>
                        <a:pt x="194" y="27"/>
                      </a:lnTo>
                      <a:lnTo>
                        <a:pt x="193" y="25"/>
                      </a:lnTo>
                      <a:lnTo>
                        <a:pt x="191" y="25"/>
                      </a:lnTo>
                      <a:lnTo>
                        <a:pt x="188" y="25"/>
                      </a:lnTo>
                      <a:lnTo>
                        <a:pt x="187" y="25"/>
                      </a:lnTo>
                      <a:lnTo>
                        <a:pt x="187" y="26"/>
                      </a:lnTo>
                      <a:lnTo>
                        <a:pt x="185" y="23"/>
                      </a:lnTo>
                      <a:lnTo>
                        <a:pt x="181" y="21"/>
                      </a:lnTo>
                      <a:lnTo>
                        <a:pt x="177" y="17"/>
                      </a:lnTo>
                      <a:lnTo>
                        <a:pt x="175" y="16"/>
                      </a:lnTo>
                      <a:lnTo>
                        <a:pt x="166" y="16"/>
                      </a:lnTo>
                      <a:lnTo>
                        <a:pt x="163" y="17"/>
                      </a:lnTo>
                      <a:lnTo>
                        <a:pt x="159" y="21"/>
                      </a:lnTo>
                      <a:lnTo>
                        <a:pt x="160" y="17"/>
                      </a:lnTo>
                      <a:lnTo>
                        <a:pt x="164" y="16"/>
                      </a:lnTo>
                      <a:lnTo>
                        <a:pt x="167" y="16"/>
                      </a:lnTo>
                      <a:lnTo>
                        <a:pt x="171" y="16"/>
                      </a:lnTo>
                      <a:lnTo>
                        <a:pt x="166" y="15"/>
                      </a:lnTo>
                      <a:lnTo>
                        <a:pt x="164" y="15"/>
                      </a:lnTo>
                      <a:lnTo>
                        <a:pt x="161" y="16"/>
                      </a:lnTo>
                      <a:lnTo>
                        <a:pt x="159" y="18"/>
                      </a:lnTo>
                      <a:lnTo>
                        <a:pt x="155" y="22"/>
                      </a:lnTo>
                      <a:lnTo>
                        <a:pt x="153" y="23"/>
                      </a:lnTo>
                      <a:lnTo>
                        <a:pt x="153" y="26"/>
                      </a:lnTo>
                      <a:lnTo>
                        <a:pt x="151" y="23"/>
                      </a:lnTo>
                      <a:lnTo>
                        <a:pt x="147" y="23"/>
                      </a:lnTo>
                      <a:lnTo>
                        <a:pt x="142" y="26"/>
                      </a:lnTo>
                      <a:lnTo>
                        <a:pt x="138" y="27"/>
                      </a:lnTo>
                      <a:lnTo>
                        <a:pt x="140" y="26"/>
                      </a:lnTo>
                      <a:lnTo>
                        <a:pt x="140" y="27"/>
                      </a:lnTo>
                      <a:lnTo>
                        <a:pt x="138" y="29"/>
                      </a:lnTo>
                      <a:lnTo>
                        <a:pt x="137" y="32"/>
                      </a:lnTo>
                      <a:lnTo>
                        <a:pt x="133" y="31"/>
                      </a:lnTo>
                      <a:lnTo>
                        <a:pt x="128" y="29"/>
                      </a:lnTo>
                      <a:lnTo>
                        <a:pt x="124" y="29"/>
                      </a:lnTo>
                      <a:lnTo>
                        <a:pt x="123" y="31"/>
                      </a:lnTo>
                      <a:lnTo>
                        <a:pt x="124" y="32"/>
                      </a:lnTo>
                      <a:lnTo>
                        <a:pt x="123" y="29"/>
                      </a:lnTo>
                      <a:lnTo>
                        <a:pt x="121" y="28"/>
                      </a:lnTo>
                      <a:lnTo>
                        <a:pt x="126" y="23"/>
                      </a:lnTo>
                      <a:lnTo>
                        <a:pt x="128" y="16"/>
                      </a:lnTo>
                      <a:lnTo>
                        <a:pt x="122" y="18"/>
                      </a:lnTo>
                      <a:lnTo>
                        <a:pt x="118" y="18"/>
                      </a:lnTo>
                      <a:lnTo>
                        <a:pt x="116" y="17"/>
                      </a:lnTo>
                      <a:lnTo>
                        <a:pt x="110" y="16"/>
                      </a:lnTo>
                      <a:lnTo>
                        <a:pt x="107" y="16"/>
                      </a:lnTo>
                      <a:lnTo>
                        <a:pt x="106" y="18"/>
                      </a:lnTo>
                      <a:lnTo>
                        <a:pt x="106" y="16"/>
                      </a:lnTo>
                      <a:lnTo>
                        <a:pt x="106" y="15"/>
                      </a:lnTo>
                      <a:lnTo>
                        <a:pt x="102" y="13"/>
                      </a:lnTo>
                      <a:lnTo>
                        <a:pt x="99" y="15"/>
                      </a:lnTo>
                      <a:lnTo>
                        <a:pt x="100" y="13"/>
                      </a:lnTo>
                      <a:lnTo>
                        <a:pt x="102" y="11"/>
                      </a:lnTo>
                      <a:lnTo>
                        <a:pt x="102" y="9"/>
                      </a:lnTo>
                      <a:lnTo>
                        <a:pt x="100" y="7"/>
                      </a:lnTo>
                      <a:lnTo>
                        <a:pt x="101" y="6"/>
                      </a:lnTo>
                      <a:lnTo>
                        <a:pt x="100" y="6"/>
                      </a:lnTo>
                      <a:lnTo>
                        <a:pt x="97" y="5"/>
                      </a:lnTo>
                      <a:lnTo>
                        <a:pt x="94" y="4"/>
                      </a:lnTo>
                      <a:lnTo>
                        <a:pt x="86" y="2"/>
                      </a:lnTo>
                      <a:lnTo>
                        <a:pt x="84" y="2"/>
                      </a:lnTo>
                      <a:lnTo>
                        <a:pt x="83" y="2"/>
                      </a:lnTo>
                      <a:lnTo>
                        <a:pt x="78" y="1"/>
                      </a:lnTo>
                      <a:lnTo>
                        <a:pt x="73" y="0"/>
                      </a:lnTo>
                      <a:lnTo>
                        <a:pt x="73" y="0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0" name="Freeform 412">
                  <a:extLst>
                    <a:ext uri="{FF2B5EF4-FFF2-40B4-BE49-F238E27FC236}">
                      <a16:creationId xmlns:a16="http://schemas.microsoft.com/office/drawing/2014/main" id="{781CBAA1-E417-43F8-916B-12741A708F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50685" y="5651933"/>
                  <a:ext cx="17908" cy="18565"/>
                </a:xfrm>
                <a:custGeom>
                  <a:avLst/>
                  <a:gdLst>
                    <a:gd name="T0" fmla="*/ 0 w 15"/>
                    <a:gd name="T1" fmla="*/ 11 h 14"/>
                    <a:gd name="T2" fmla="*/ 3 w 15"/>
                    <a:gd name="T3" fmla="*/ 10 h 14"/>
                    <a:gd name="T4" fmla="*/ 3 w 15"/>
                    <a:gd name="T5" fmla="*/ 9 h 14"/>
                    <a:gd name="T6" fmla="*/ 1 w 15"/>
                    <a:gd name="T7" fmla="*/ 4 h 14"/>
                    <a:gd name="T8" fmla="*/ 5 w 15"/>
                    <a:gd name="T9" fmla="*/ 5 h 14"/>
                    <a:gd name="T10" fmla="*/ 9 w 15"/>
                    <a:gd name="T11" fmla="*/ 6 h 14"/>
                    <a:gd name="T12" fmla="*/ 8 w 15"/>
                    <a:gd name="T13" fmla="*/ 4 h 14"/>
                    <a:gd name="T14" fmla="*/ 5 w 15"/>
                    <a:gd name="T15" fmla="*/ 4 h 14"/>
                    <a:gd name="T16" fmla="*/ 5 w 15"/>
                    <a:gd name="T17" fmla="*/ 3 h 14"/>
                    <a:gd name="T18" fmla="*/ 6 w 15"/>
                    <a:gd name="T19" fmla="*/ 0 h 14"/>
                    <a:gd name="T20" fmla="*/ 8 w 15"/>
                    <a:gd name="T21" fmla="*/ 3 h 14"/>
                    <a:gd name="T22" fmla="*/ 10 w 15"/>
                    <a:gd name="T23" fmla="*/ 3 h 14"/>
                    <a:gd name="T24" fmla="*/ 11 w 15"/>
                    <a:gd name="T25" fmla="*/ 3 h 14"/>
                    <a:gd name="T26" fmla="*/ 14 w 15"/>
                    <a:gd name="T27" fmla="*/ 4 h 14"/>
                    <a:gd name="T28" fmla="*/ 13 w 15"/>
                    <a:gd name="T29" fmla="*/ 8 h 14"/>
                    <a:gd name="T30" fmla="*/ 13 w 15"/>
                    <a:gd name="T31" fmla="*/ 9 h 14"/>
                    <a:gd name="T32" fmla="*/ 13 w 15"/>
                    <a:gd name="T33" fmla="*/ 9 h 14"/>
                    <a:gd name="T34" fmla="*/ 15 w 15"/>
                    <a:gd name="T35" fmla="*/ 10 h 14"/>
                    <a:gd name="T36" fmla="*/ 15 w 15"/>
                    <a:gd name="T37" fmla="*/ 13 h 14"/>
                    <a:gd name="T38" fmla="*/ 11 w 15"/>
                    <a:gd name="T39" fmla="*/ 11 h 14"/>
                    <a:gd name="T40" fmla="*/ 10 w 15"/>
                    <a:gd name="T41" fmla="*/ 11 h 14"/>
                    <a:gd name="T42" fmla="*/ 8 w 15"/>
                    <a:gd name="T43" fmla="*/ 13 h 14"/>
                    <a:gd name="T44" fmla="*/ 4 w 15"/>
                    <a:gd name="T45" fmla="*/ 14 h 14"/>
                    <a:gd name="T46" fmla="*/ 0 w 15"/>
                    <a:gd name="T47" fmla="*/ 11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5" h="14">
                      <a:moveTo>
                        <a:pt x="0" y="11"/>
                      </a:moveTo>
                      <a:lnTo>
                        <a:pt x="3" y="10"/>
                      </a:lnTo>
                      <a:lnTo>
                        <a:pt x="3" y="9"/>
                      </a:lnTo>
                      <a:lnTo>
                        <a:pt x="1" y="4"/>
                      </a:lnTo>
                      <a:lnTo>
                        <a:pt x="5" y="5"/>
                      </a:lnTo>
                      <a:lnTo>
                        <a:pt x="9" y="6"/>
                      </a:lnTo>
                      <a:lnTo>
                        <a:pt x="8" y="4"/>
                      </a:lnTo>
                      <a:lnTo>
                        <a:pt x="5" y="4"/>
                      </a:lnTo>
                      <a:lnTo>
                        <a:pt x="5" y="3"/>
                      </a:lnTo>
                      <a:lnTo>
                        <a:pt x="6" y="0"/>
                      </a:lnTo>
                      <a:lnTo>
                        <a:pt x="8" y="3"/>
                      </a:lnTo>
                      <a:lnTo>
                        <a:pt x="10" y="3"/>
                      </a:lnTo>
                      <a:lnTo>
                        <a:pt x="11" y="3"/>
                      </a:lnTo>
                      <a:lnTo>
                        <a:pt x="14" y="4"/>
                      </a:lnTo>
                      <a:lnTo>
                        <a:pt x="13" y="8"/>
                      </a:lnTo>
                      <a:lnTo>
                        <a:pt x="13" y="9"/>
                      </a:lnTo>
                      <a:lnTo>
                        <a:pt x="13" y="9"/>
                      </a:lnTo>
                      <a:lnTo>
                        <a:pt x="15" y="10"/>
                      </a:lnTo>
                      <a:lnTo>
                        <a:pt x="15" y="13"/>
                      </a:lnTo>
                      <a:lnTo>
                        <a:pt x="11" y="11"/>
                      </a:lnTo>
                      <a:lnTo>
                        <a:pt x="10" y="11"/>
                      </a:lnTo>
                      <a:lnTo>
                        <a:pt x="8" y="13"/>
                      </a:lnTo>
                      <a:lnTo>
                        <a:pt x="4" y="14"/>
                      </a:lnTo>
                      <a:lnTo>
                        <a:pt x="0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1" name="Freeform 413">
                  <a:extLst>
                    <a:ext uri="{FF2B5EF4-FFF2-40B4-BE49-F238E27FC236}">
                      <a16:creationId xmlns:a16="http://schemas.microsoft.com/office/drawing/2014/main" id="{BA36B40D-A48B-4D0D-80A4-D07F5BED031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70833" y="5673149"/>
                  <a:ext cx="11193" cy="13261"/>
                </a:xfrm>
                <a:custGeom>
                  <a:avLst/>
                  <a:gdLst>
                    <a:gd name="T0" fmla="*/ 0 w 10"/>
                    <a:gd name="T1" fmla="*/ 4 h 10"/>
                    <a:gd name="T2" fmla="*/ 0 w 10"/>
                    <a:gd name="T3" fmla="*/ 0 h 10"/>
                    <a:gd name="T4" fmla="*/ 5 w 10"/>
                    <a:gd name="T5" fmla="*/ 4 h 10"/>
                    <a:gd name="T6" fmla="*/ 8 w 10"/>
                    <a:gd name="T7" fmla="*/ 5 h 10"/>
                    <a:gd name="T8" fmla="*/ 10 w 10"/>
                    <a:gd name="T9" fmla="*/ 8 h 10"/>
                    <a:gd name="T10" fmla="*/ 10 w 10"/>
                    <a:gd name="T11" fmla="*/ 9 h 10"/>
                    <a:gd name="T12" fmla="*/ 8 w 10"/>
                    <a:gd name="T13" fmla="*/ 10 h 10"/>
                    <a:gd name="T14" fmla="*/ 4 w 10"/>
                    <a:gd name="T15" fmla="*/ 10 h 10"/>
                    <a:gd name="T16" fmla="*/ 2 w 10"/>
                    <a:gd name="T17" fmla="*/ 10 h 10"/>
                    <a:gd name="T18" fmla="*/ 3 w 10"/>
                    <a:gd name="T19" fmla="*/ 9 h 10"/>
                    <a:gd name="T20" fmla="*/ 3 w 10"/>
                    <a:gd name="T21" fmla="*/ 8 h 10"/>
                    <a:gd name="T22" fmla="*/ 4 w 10"/>
                    <a:gd name="T23" fmla="*/ 6 h 10"/>
                    <a:gd name="T24" fmla="*/ 5 w 10"/>
                    <a:gd name="T25" fmla="*/ 5 h 10"/>
                    <a:gd name="T26" fmla="*/ 0 w 10"/>
                    <a:gd name="T27" fmla="*/ 4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0" h="10">
                      <a:moveTo>
                        <a:pt x="0" y="4"/>
                      </a:moveTo>
                      <a:lnTo>
                        <a:pt x="0" y="0"/>
                      </a:lnTo>
                      <a:lnTo>
                        <a:pt x="5" y="4"/>
                      </a:lnTo>
                      <a:lnTo>
                        <a:pt x="8" y="5"/>
                      </a:lnTo>
                      <a:lnTo>
                        <a:pt x="10" y="8"/>
                      </a:lnTo>
                      <a:lnTo>
                        <a:pt x="10" y="9"/>
                      </a:lnTo>
                      <a:lnTo>
                        <a:pt x="8" y="10"/>
                      </a:lnTo>
                      <a:lnTo>
                        <a:pt x="4" y="10"/>
                      </a:lnTo>
                      <a:lnTo>
                        <a:pt x="2" y="10"/>
                      </a:lnTo>
                      <a:lnTo>
                        <a:pt x="3" y="9"/>
                      </a:lnTo>
                      <a:lnTo>
                        <a:pt x="3" y="8"/>
                      </a:lnTo>
                      <a:lnTo>
                        <a:pt x="4" y="6"/>
                      </a:lnTo>
                      <a:lnTo>
                        <a:pt x="5" y="5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2" name="Freeform 476">
                  <a:extLst>
                    <a:ext uri="{FF2B5EF4-FFF2-40B4-BE49-F238E27FC236}">
                      <a16:creationId xmlns:a16="http://schemas.microsoft.com/office/drawing/2014/main" id="{A11FADDB-C980-43E8-92B2-BCC8C8933F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56550" y="6391862"/>
                  <a:ext cx="315631" cy="363335"/>
                </a:xfrm>
                <a:custGeom>
                  <a:avLst/>
                  <a:gdLst>
                    <a:gd name="T0" fmla="*/ 45 w 282"/>
                    <a:gd name="T1" fmla="*/ 106 h 275"/>
                    <a:gd name="T2" fmla="*/ 60 w 282"/>
                    <a:gd name="T3" fmla="*/ 88 h 275"/>
                    <a:gd name="T4" fmla="*/ 60 w 282"/>
                    <a:gd name="T5" fmla="*/ 73 h 275"/>
                    <a:gd name="T6" fmla="*/ 63 w 282"/>
                    <a:gd name="T7" fmla="*/ 57 h 275"/>
                    <a:gd name="T8" fmla="*/ 59 w 282"/>
                    <a:gd name="T9" fmla="*/ 41 h 275"/>
                    <a:gd name="T10" fmla="*/ 60 w 282"/>
                    <a:gd name="T11" fmla="*/ 30 h 275"/>
                    <a:gd name="T12" fmla="*/ 70 w 282"/>
                    <a:gd name="T13" fmla="*/ 25 h 275"/>
                    <a:gd name="T14" fmla="*/ 81 w 282"/>
                    <a:gd name="T15" fmla="*/ 16 h 275"/>
                    <a:gd name="T16" fmla="*/ 84 w 282"/>
                    <a:gd name="T17" fmla="*/ 8 h 275"/>
                    <a:gd name="T18" fmla="*/ 91 w 282"/>
                    <a:gd name="T19" fmla="*/ 5 h 275"/>
                    <a:gd name="T20" fmla="*/ 102 w 282"/>
                    <a:gd name="T21" fmla="*/ 0 h 275"/>
                    <a:gd name="T22" fmla="*/ 119 w 282"/>
                    <a:gd name="T23" fmla="*/ 5 h 275"/>
                    <a:gd name="T24" fmla="*/ 129 w 282"/>
                    <a:gd name="T25" fmla="*/ 3 h 275"/>
                    <a:gd name="T26" fmla="*/ 135 w 282"/>
                    <a:gd name="T27" fmla="*/ 7 h 275"/>
                    <a:gd name="T28" fmla="*/ 138 w 282"/>
                    <a:gd name="T29" fmla="*/ 13 h 275"/>
                    <a:gd name="T30" fmla="*/ 145 w 282"/>
                    <a:gd name="T31" fmla="*/ 8 h 275"/>
                    <a:gd name="T32" fmla="*/ 152 w 282"/>
                    <a:gd name="T33" fmla="*/ 12 h 275"/>
                    <a:gd name="T34" fmla="*/ 157 w 282"/>
                    <a:gd name="T35" fmla="*/ 21 h 275"/>
                    <a:gd name="T36" fmla="*/ 160 w 282"/>
                    <a:gd name="T37" fmla="*/ 29 h 275"/>
                    <a:gd name="T38" fmla="*/ 168 w 282"/>
                    <a:gd name="T39" fmla="*/ 36 h 275"/>
                    <a:gd name="T40" fmla="*/ 175 w 282"/>
                    <a:gd name="T41" fmla="*/ 46 h 275"/>
                    <a:gd name="T42" fmla="*/ 182 w 282"/>
                    <a:gd name="T43" fmla="*/ 51 h 275"/>
                    <a:gd name="T44" fmla="*/ 192 w 282"/>
                    <a:gd name="T45" fmla="*/ 50 h 275"/>
                    <a:gd name="T46" fmla="*/ 195 w 282"/>
                    <a:gd name="T47" fmla="*/ 55 h 275"/>
                    <a:gd name="T48" fmla="*/ 191 w 282"/>
                    <a:gd name="T49" fmla="*/ 62 h 275"/>
                    <a:gd name="T50" fmla="*/ 197 w 282"/>
                    <a:gd name="T51" fmla="*/ 73 h 275"/>
                    <a:gd name="T52" fmla="*/ 193 w 282"/>
                    <a:gd name="T53" fmla="*/ 75 h 275"/>
                    <a:gd name="T54" fmla="*/ 189 w 282"/>
                    <a:gd name="T55" fmla="*/ 79 h 275"/>
                    <a:gd name="T56" fmla="*/ 187 w 282"/>
                    <a:gd name="T57" fmla="*/ 83 h 275"/>
                    <a:gd name="T58" fmla="*/ 187 w 282"/>
                    <a:gd name="T59" fmla="*/ 93 h 275"/>
                    <a:gd name="T60" fmla="*/ 179 w 282"/>
                    <a:gd name="T61" fmla="*/ 96 h 275"/>
                    <a:gd name="T62" fmla="*/ 184 w 282"/>
                    <a:gd name="T63" fmla="*/ 104 h 275"/>
                    <a:gd name="T64" fmla="*/ 181 w 282"/>
                    <a:gd name="T65" fmla="*/ 112 h 275"/>
                    <a:gd name="T66" fmla="*/ 191 w 282"/>
                    <a:gd name="T67" fmla="*/ 122 h 275"/>
                    <a:gd name="T68" fmla="*/ 200 w 282"/>
                    <a:gd name="T69" fmla="*/ 131 h 275"/>
                    <a:gd name="T70" fmla="*/ 204 w 282"/>
                    <a:gd name="T71" fmla="*/ 139 h 275"/>
                    <a:gd name="T72" fmla="*/ 204 w 282"/>
                    <a:gd name="T73" fmla="*/ 144 h 275"/>
                    <a:gd name="T74" fmla="*/ 210 w 282"/>
                    <a:gd name="T75" fmla="*/ 146 h 275"/>
                    <a:gd name="T76" fmla="*/ 222 w 282"/>
                    <a:gd name="T77" fmla="*/ 153 h 275"/>
                    <a:gd name="T78" fmla="*/ 237 w 282"/>
                    <a:gd name="T79" fmla="*/ 163 h 275"/>
                    <a:gd name="T80" fmla="*/ 245 w 282"/>
                    <a:gd name="T81" fmla="*/ 170 h 275"/>
                    <a:gd name="T82" fmla="*/ 256 w 282"/>
                    <a:gd name="T83" fmla="*/ 184 h 275"/>
                    <a:gd name="T84" fmla="*/ 253 w 282"/>
                    <a:gd name="T85" fmla="*/ 197 h 275"/>
                    <a:gd name="T86" fmla="*/ 256 w 282"/>
                    <a:gd name="T87" fmla="*/ 208 h 275"/>
                    <a:gd name="T88" fmla="*/ 264 w 282"/>
                    <a:gd name="T89" fmla="*/ 212 h 275"/>
                    <a:gd name="T90" fmla="*/ 266 w 282"/>
                    <a:gd name="T91" fmla="*/ 224 h 275"/>
                    <a:gd name="T92" fmla="*/ 274 w 282"/>
                    <a:gd name="T93" fmla="*/ 233 h 275"/>
                    <a:gd name="T94" fmla="*/ 279 w 282"/>
                    <a:gd name="T95" fmla="*/ 243 h 275"/>
                    <a:gd name="T96" fmla="*/ 272 w 282"/>
                    <a:gd name="T97" fmla="*/ 244 h 275"/>
                    <a:gd name="T98" fmla="*/ 264 w 282"/>
                    <a:gd name="T99" fmla="*/ 240 h 275"/>
                    <a:gd name="T100" fmla="*/ 258 w 282"/>
                    <a:gd name="T101" fmla="*/ 241 h 275"/>
                    <a:gd name="T102" fmla="*/ 243 w 282"/>
                    <a:gd name="T103" fmla="*/ 244 h 275"/>
                    <a:gd name="T104" fmla="*/ 236 w 282"/>
                    <a:gd name="T105" fmla="*/ 265 h 275"/>
                    <a:gd name="T106" fmla="*/ 227 w 282"/>
                    <a:gd name="T107" fmla="*/ 273 h 275"/>
                    <a:gd name="T108" fmla="*/ 173 w 282"/>
                    <a:gd name="T109" fmla="*/ 267 h 275"/>
                    <a:gd name="T110" fmla="*/ 155 w 282"/>
                    <a:gd name="T111" fmla="*/ 252 h 275"/>
                    <a:gd name="T112" fmla="*/ 79 w 282"/>
                    <a:gd name="T113" fmla="*/ 196 h 275"/>
                    <a:gd name="T114" fmla="*/ 40 w 282"/>
                    <a:gd name="T115" fmla="*/ 177 h 275"/>
                    <a:gd name="T116" fmla="*/ 15 w 282"/>
                    <a:gd name="T117" fmla="*/ 170 h 275"/>
                    <a:gd name="T118" fmla="*/ 11 w 282"/>
                    <a:gd name="T119" fmla="*/ 166 h 275"/>
                    <a:gd name="T120" fmla="*/ 9 w 282"/>
                    <a:gd name="T121" fmla="*/ 161 h 275"/>
                    <a:gd name="T122" fmla="*/ 7 w 282"/>
                    <a:gd name="T123" fmla="*/ 154 h 2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282" h="275">
                      <a:moveTo>
                        <a:pt x="0" y="132"/>
                      </a:moveTo>
                      <a:lnTo>
                        <a:pt x="23" y="120"/>
                      </a:lnTo>
                      <a:lnTo>
                        <a:pt x="45" y="106"/>
                      </a:lnTo>
                      <a:lnTo>
                        <a:pt x="53" y="100"/>
                      </a:lnTo>
                      <a:lnTo>
                        <a:pt x="58" y="94"/>
                      </a:lnTo>
                      <a:lnTo>
                        <a:pt x="60" y="88"/>
                      </a:lnTo>
                      <a:lnTo>
                        <a:pt x="60" y="82"/>
                      </a:lnTo>
                      <a:lnTo>
                        <a:pt x="60" y="77"/>
                      </a:lnTo>
                      <a:lnTo>
                        <a:pt x="60" y="73"/>
                      </a:lnTo>
                      <a:lnTo>
                        <a:pt x="60" y="66"/>
                      </a:lnTo>
                      <a:lnTo>
                        <a:pt x="61" y="61"/>
                      </a:lnTo>
                      <a:lnTo>
                        <a:pt x="63" y="57"/>
                      </a:lnTo>
                      <a:lnTo>
                        <a:pt x="63" y="53"/>
                      </a:lnTo>
                      <a:lnTo>
                        <a:pt x="61" y="47"/>
                      </a:lnTo>
                      <a:lnTo>
                        <a:pt x="59" y="41"/>
                      </a:lnTo>
                      <a:lnTo>
                        <a:pt x="58" y="35"/>
                      </a:lnTo>
                      <a:lnTo>
                        <a:pt x="58" y="32"/>
                      </a:lnTo>
                      <a:lnTo>
                        <a:pt x="60" y="30"/>
                      </a:lnTo>
                      <a:lnTo>
                        <a:pt x="64" y="27"/>
                      </a:lnTo>
                      <a:lnTo>
                        <a:pt x="66" y="26"/>
                      </a:lnTo>
                      <a:lnTo>
                        <a:pt x="70" y="25"/>
                      </a:lnTo>
                      <a:lnTo>
                        <a:pt x="74" y="23"/>
                      </a:lnTo>
                      <a:lnTo>
                        <a:pt x="77" y="20"/>
                      </a:lnTo>
                      <a:lnTo>
                        <a:pt x="81" y="16"/>
                      </a:lnTo>
                      <a:lnTo>
                        <a:pt x="84" y="12"/>
                      </a:lnTo>
                      <a:lnTo>
                        <a:pt x="84" y="9"/>
                      </a:lnTo>
                      <a:lnTo>
                        <a:pt x="84" y="8"/>
                      </a:lnTo>
                      <a:lnTo>
                        <a:pt x="85" y="8"/>
                      </a:lnTo>
                      <a:lnTo>
                        <a:pt x="87" y="8"/>
                      </a:lnTo>
                      <a:lnTo>
                        <a:pt x="91" y="5"/>
                      </a:lnTo>
                      <a:lnTo>
                        <a:pt x="93" y="2"/>
                      </a:lnTo>
                      <a:lnTo>
                        <a:pt x="96" y="0"/>
                      </a:lnTo>
                      <a:lnTo>
                        <a:pt x="102" y="0"/>
                      </a:lnTo>
                      <a:lnTo>
                        <a:pt x="108" y="2"/>
                      </a:lnTo>
                      <a:lnTo>
                        <a:pt x="112" y="3"/>
                      </a:lnTo>
                      <a:lnTo>
                        <a:pt x="119" y="5"/>
                      </a:lnTo>
                      <a:lnTo>
                        <a:pt x="123" y="5"/>
                      </a:lnTo>
                      <a:lnTo>
                        <a:pt x="124" y="4"/>
                      </a:lnTo>
                      <a:lnTo>
                        <a:pt x="129" y="3"/>
                      </a:lnTo>
                      <a:lnTo>
                        <a:pt x="131" y="3"/>
                      </a:lnTo>
                      <a:lnTo>
                        <a:pt x="134" y="3"/>
                      </a:lnTo>
                      <a:lnTo>
                        <a:pt x="135" y="7"/>
                      </a:lnTo>
                      <a:lnTo>
                        <a:pt x="135" y="12"/>
                      </a:lnTo>
                      <a:lnTo>
                        <a:pt x="136" y="13"/>
                      </a:lnTo>
                      <a:lnTo>
                        <a:pt x="138" y="13"/>
                      </a:lnTo>
                      <a:lnTo>
                        <a:pt x="140" y="12"/>
                      </a:lnTo>
                      <a:lnTo>
                        <a:pt x="143" y="9"/>
                      </a:lnTo>
                      <a:lnTo>
                        <a:pt x="145" y="8"/>
                      </a:lnTo>
                      <a:lnTo>
                        <a:pt x="147" y="7"/>
                      </a:lnTo>
                      <a:lnTo>
                        <a:pt x="151" y="8"/>
                      </a:lnTo>
                      <a:lnTo>
                        <a:pt x="152" y="12"/>
                      </a:lnTo>
                      <a:lnTo>
                        <a:pt x="154" y="16"/>
                      </a:lnTo>
                      <a:lnTo>
                        <a:pt x="155" y="19"/>
                      </a:lnTo>
                      <a:lnTo>
                        <a:pt x="157" y="21"/>
                      </a:lnTo>
                      <a:lnTo>
                        <a:pt x="159" y="23"/>
                      </a:lnTo>
                      <a:lnTo>
                        <a:pt x="160" y="26"/>
                      </a:lnTo>
                      <a:lnTo>
                        <a:pt x="160" y="29"/>
                      </a:lnTo>
                      <a:lnTo>
                        <a:pt x="161" y="30"/>
                      </a:lnTo>
                      <a:lnTo>
                        <a:pt x="165" y="34"/>
                      </a:lnTo>
                      <a:lnTo>
                        <a:pt x="168" y="36"/>
                      </a:lnTo>
                      <a:lnTo>
                        <a:pt x="171" y="41"/>
                      </a:lnTo>
                      <a:lnTo>
                        <a:pt x="170" y="46"/>
                      </a:lnTo>
                      <a:lnTo>
                        <a:pt x="175" y="46"/>
                      </a:lnTo>
                      <a:lnTo>
                        <a:pt x="177" y="47"/>
                      </a:lnTo>
                      <a:lnTo>
                        <a:pt x="179" y="50"/>
                      </a:lnTo>
                      <a:lnTo>
                        <a:pt x="182" y="51"/>
                      </a:lnTo>
                      <a:lnTo>
                        <a:pt x="184" y="51"/>
                      </a:lnTo>
                      <a:lnTo>
                        <a:pt x="188" y="51"/>
                      </a:lnTo>
                      <a:lnTo>
                        <a:pt x="192" y="50"/>
                      </a:lnTo>
                      <a:lnTo>
                        <a:pt x="198" y="51"/>
                      </a:lnTo>
                      <a:lnTo>
                        <a:pt x="197" y="53"/>
                      </a:lnTo>
                      <a:lnTo>
                        <a:pt x="195" y="55"/>
                      </a:lnTo>
                      <a:lnTo>
                        <a:pt x="193" y="56"/>
                      </a:lnTo>
                      <a:lnTo>
                        <a:pt x="191" y="58"/>
                      </a:lnTo>
                      <a:lnTo>
                        <a:pt x="191" y="62"/>
                      </a:lnTo>
                      <a:lnTo>
                        <a:pt x="193" y="66"/>
                      </a:lnTo>
                      <a:lnTo>
                        <a:pt x="195" y="69"/>
                      </a:lnTo>
                      <a:lnTo>
                        <a:pt x="197" y="73"/>
                      </a:lnTo>
                      <a:lnTo>
                        <a:pt x="197" y="74"/>
                      </a:lnTo>
                      <a:lnTo>
                        <a:pt x="195" y="75"/>
                      </a:lnTo>
                      <a:lnTo>
                        <a:pt x="193" y="75"/>
                      </a:lnTo>
                      <a:lnTo>
                        <a:pt x="191" y="77"/>
                      </a:lnTo>
                      <a:lnTo>
                        <a:pt x="189" y="77"/>
                      </a:lnTo>
                      <a:lnTo>
                        <a:pt x="189" y="79"/>
                      </a:lnTo>
                      <a:lnTo>
                        <a:pt x="189" y="80"/>
                      </a:lnTo>
                      <a:lnTo>
                        <a:pt x="188" y="82"/>
                      </a:lnTo>
                      <a:lnTo>
                        <a:pt x="187" y="83"/>
                      </a:lnTo>
                      <a:lnTo>
                        <a:pt x="186" y="84"/>
                      </a:lnTo>
                      <a:lnTo>
                        <a:pt x="186" y="89"/>
                      </a:lnTo>
                      <a:lnTo>
                        <a:pt x="187" y="93"/>
                      </a:lnTo>
                      <a:lnTo>
                        <a:pt x="181" y="91"/>
                      </a:lnTo>
                      <a:lnTo>
                        <a:pt x="179" y="95"/>
                      </a:lnTo>
                      <a:lnTo>
                        <a:pt x="179" y="96"/>
                      </a:lnTo>
                      <a:lnTo>
                        <a:pt x="181" y="99"/>
                      </a:lnTo>
                      <a:lnTo>
                        <a:pt x="183" y="101"/>
                      </a:lnTo>
                      <a:lnTo>
                        <a:pt x="184" y="104"/>
                      </a:lnTo>
                      <a:lnTo>
                        <a:pt x="183" y="106"/>
                      </a:lnTo>
                      <a:lnTo>
                        <a:pt x="181" y="110"/>
                      </a:lnTo>
                      <a:lnTo>
                        <a:pt x="181" y="112"/>
                      </a:lnTo>
                      <a:lnTo>
                        <a:pt x="182" y="114"/>
                      </a:lnTo>
                      <a:lnTo>
                        <a:pt x="186" y="118"/>
                      </a:lnTo>
                      <a:lnTo>
                        <a:pt x="191" y="122"/>
                      </a:lnTo>
                      <a:lnTo>
                        <a:pt x="193" y="123"/>
                      </a:lnTo>
                      <a:lnTo>
                        <a:pt x="195" y="126"/>
                      </a:lnTo>
                      <a:lnTo>
                        <a:pt x="200" y="131"/>
                      </a:lnTo>
                      <a:lnTo>
                        <a:pt x="203" y="134"/>
                      </a:lnTo>
                      <a:lnTo>
                        <a:pt x="204" y="137"/>
                      </a:lnTo>
                      <a:lnTo>
                        <a:pt x="204" y="139"/>
                      </a:lnTo>
                      <a:lnTo>
                        <a:pt x="202" y="141"/>
                      </a:lnTo>
                      <a:lnTo>
                        <a:pt x="203" y="142"/>
                      </a:lnTo>
                      <a:lnTo>
                        <a:pt x="204" y="144"/>
                      </a:lnTo>
                      <a:lnTo>
                        <a:pt x="205" y="146"/>
                      </a:lnTo>
                      <a:lnTo>
                        <a:pt x="206" y="146"/>
                      </a:lnTo>
                      <a:lnTo>
                        <a:pt x="210" y="146"/>
                      </a:lnTo>
                      <a:lnTo>
                        <a:pt x="213" y="147"/>
                      </a:lnTo>
                      <a:lnTo>
                        <a:pt x="218" y="149"/>
                      </a:lnTo>
                      <a:lnTo>
                        <a:pt x="222" y="153"/>
                      </a:lnTo>
                      <a:lnTo>
                        <a:pt x="226" y="157"/>
                      </a:lnTo>
                      <a:lnTo>
                        <a:pt x="231" y="160"/>
                      </a:lnTo>
                      <a:lnTo>
                        <a:pt x="237" y="163"/>
                      </a:lnTo>
                      <a:lnTo>
                        <a:pt x="238" y="163"/>
                      </a:lnTo>
                      <a:lnTo>
                        <a:pt x="241" y="165"/>
                      </a:lnTo>
                      <a:lnTo>
                        <a:pt x="245" y="170"/>
                      </a:lnTo>
                      <a:lnTo>
                        <a:pt x="250" y="176"/>
                      </a:lnTo>
                      <a:lnTo>
                        <a:pt x="253" y="180"/>
                      </a:lnTo>
                      <a:lnTo>
                        <a:pt x="256" y="184"/>
                      </a:lnTo>
                      <a:lnTo>
                        <a:pt x="256" y="187"/>
                      </a:lnTo>
                      <a:lnTo>
                        <a:pt x="254" y="192"/>
                      </a:lnTo>
                      <a:lnTo>
                        <a:pt x="253" y="197"/>
                      </a:lnTo>
                      <a:lnTo>
                        <a:pt x="253" y="201"/>
                      </a:lnTo>
                      <a:lnTo>
                        <a:pt x="253" y="205"/>
                      </a:lnTo>
                      <a:lnTo>
                        <a:pt x="256" y="208"/>
                      </a:lnTo>
                      <a:lnTo>
                        <a:pt x="258" y="209"/>
                      </a:lnTo>
                      <a:lnTo>
                        <a:pt x="262" y="211"/>
                      </a:lnTo>
                      <a:lnTo>
                        <a:pt x="264" y="212"/>
                      </a:lnTo>
                      <a:lnTo>
                        <a:pt x="266" y="216"/>
                      </a:lnTo>
                      <a:lnTo>
                        <a:pt x="266" y="221"/>
                      </a:lnTo>
                      <a:lnTo>
                        <a:pt x="266" y="224"/>
                      </a:lnTo>
                      <a:lnTo>
                        <a:pt x="267" y="228"/>
                      </a:lnTo>
                      <a:lnTo>
                        <a:pt x="270" y="230"/>
                      </a:lnTo>
                      <a:lnTo>
                        <a:pt x="274" y="233"/>
                      </a:lnTo>
                      <a:lnTo>
                        <a:pt x="277" y="236"/>
                      </a:lnTo>
                      <a:lnTo>
                        <a:pt x="278" y="239"/>
                      </a:lnTo>
                      <a:lnTo>
                        <a:pt x="279" y="243"/>
                      </a:lnTo>
                      <a:lnTo>
                        <a:pt x="282" y="245"/>
                      </a:lnTo>
                      <a:lnTo>
                        <a:pt x="278" y="244"/>
                      </a:lnTo>
                      <a:lnTo>
                        <a:pt x="272" y="244"/>
                      </a:lnTo>
                      <a:lnTo>
                        <a:pt x="267" y="241"/>
                      </a:lnTo>
                      <a:lnTo>
                        <a:pt x="266" y="241"/>
                      </a:lnTo>
                      <a:lnTo>
                        <a:pt x="264" y="240"/>
                      </a:lnTo>
                      <a:lnTo>
                        <a:pt x="264" y="243"/>
                      </a:lnTo>
                      <a:lnTo>
                        <a:pt x="262" y="243"/>
                      </a:lnTo>
                      <a:lnTo>
                        <a:pt x="258" y="241"/>
                      </a:lnTo>
                      <a:lnTo>
                        <a:pt x="254" y="240"/>
                      </a:lnTo>
                      <a:lnTo>
                        <a:pt x="247" y="241"/>
                      </a:lnTo>
                      <a:lnTo>
                        <a:pt x="243" y="244"/>
                      </a:lnTo>
                      <a:lnTo>
                        <a:pt x="241" y="246"/>
                      </a:lnTo>
                      <a:lnTo>
                        <a:pt x="238" y="255"/>
                      </a:lnTo>
                      <a:lnTo>
                        <a:pt x="236" y="265"/>
                      </a:lnTo>
                      <a:lnTo>
                        <a:pt x="234" y="268"/>
                      </a:lnTo>
                      <a:lnTo>
                        <a:pt x="231" y="272"/>
                      </a:lnTo>
                      <a:lnTo>
                        <a:pt x="227" y="273"/>
                      </a:lnTo>
                      <a:lnTo>
                        <a:pt x="221" y="275"/>
                      </a:lnTo>
                      <a:lnTo>
                        <a:pt x="182" y="270"/>
                      </a:lnTo>
                      <a:lnTo>
                        <a:pt x="173" y="267"/>
                      </a:lnTo>
                      <a:lnTo>
                        <a:pt x="168" y="264"/>
                      </a:lnTo>
                      <a:lnTo>
                        <a:pt x="162" y="259"/>
                      </a:lnTo>
                      <a:lnTo>
                        <a:pt x="155" y="252"/>
                      </a:lnTo>
                      <a:lnTo>
                        <a:pt x="130" y="234"/>
                      </a:lnTo>
                      <a:lnTo>
                        <a:pt x="104" y="214"/>
                      </a:lnTo>
                      <a:lnTo>
                        <a:pt x="79" y="196"/>
                      </a:lnTo>
                      <a:lnTo>
                        <a:pt x="65" y="189"/>
                      </a:lnTo>
                      <a:lnTo>
                        <a:pt x="50" y="181"/>
                      </a:lnTo>
                      <a:lnTo>
                        <a:pt x="40" y="177"/>
                      </a:lnTo>
                      <a:lnTo>
                        <a:pt x="32" y="176"/>
                      </a:lnTo>
                      <a:lnTo>
                        <a:pt x="12" y="173"/>
                      </a:lnTo>
                      <a:lnTo>
                        <a:pt x="15" y="170"/>
                      </a:lnTo>
                      <a:lnTo>
                        <a:pt x="16" y="169"/>
                      </a:lnTo>
                      <a:lnTo>
                        <a:pt x="15" y="168"/>
                      </a:lnTo>
                      <a:lnTo>
                        <a:pt x="11" y="166"/>
                      </a:lnTo>
                      <a:lnTo>
                        <a:pt x="9" y="165"/>
                      </a:lnTo>
                      <a:lnTo>
                        <a:pt x="9" y="163"/>
                      </a:lnTo>
                      <a:lnTo>
                        <a:pt x="9" y="161"/>
                      </a:lnTo>
                      <a:lnTo>
                        <a:pt x="10" y="160"/>
                      </a:lnTo>
                      <a:lnTo>
                        <a:pt x="9" y="158"/>
                      </a:lnTo>
                      <a:lnTo>
                        <a:pt x="7" y="154"/>
                      </a:lnTo>
                      <a:lnTo>
                        <a:pt x="0" y="132"/>
                      </a:lnTo>
                      <a:lnTo>
                        <a:pt x="0" y="13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3" name="Freeform 477">
                  <a:extLst>
                    <a:ext uri="{FF2B5EF4-FFF2-40B4-BE49-F238E27FC236}">
                      <a16:creationId xmlns:a16="http://schemas.microsoft.com/office/drawing/2014/main" id="{5FDC71C3-A181-42C2-8D5E-0A107279C5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68593" y="5996703"/>
                  <a:ext cx="170127" cy="153820"/>
                </a:xfrm>
                <a:custGeom>
                  <a:avLst/>
                  <a:gdLst>
                    <a:gd name="T0" fmla="*/ 12 w 154"/>
                    <a:gd name="T1" fmla="*/ 34 h 115"/>
                    <a:gd name="T2" fmla="*/ 18 w 154"/>
                    <a:gd name="T3" fmla="*/ 34 h 115"/>
                    <a:gd name="T4" fmla="*/ 28 w 154"/>
                    <a:gd name="T5" fmla="*/ 28 h 115"/>
                    <a:gd name="T6" fmla="*/ 39 w 154"/>
                    <a:gd name="T7" fmla="*/ 32 h 115"/>
                    <a:gd name="T8" fmla="*/ 48 w 154"/>
                    <a:gd name="T9" fmla="*/ 33 h 115"/>
                    <a:gd name="T10" fmla="*/ 48 w 154"/>
                    <a:gd name="T11" fmla="*/ 27 h 115"/>
                    <a:gd name="T12" fmla="*/ 52 w 154"/>
                    <a:gd name="T13" fmla="*/ 23 h 115"/>
                    <a:gd name="T14" fmla="*/ 57 w 154"/>
                    <a:gd name="T15" fmla="*/ 19 h 115"/>
                    <a:gd name="T16" fmla="*/ 57 w 154"/>
                    <a:gd name="T17" fmla="*/ 11 h 115"/>
                    <a:gd name="T18" fmla="*/ 65 w 154"/>
                    <a:gd name="T19" fmla="*/ 7 h 115"/>
                    <a:gd name="T20" fmla="*/ 68 w 154"/>
                    <a:gd name="T21" fmla="*/ 5 h 115"/>
                    <a:gd name="T22" fmla="*/ 70 w 154"/>
                    <a:gd name="T23" fmla="*/ 5 h 115"/>
                    <a:gd name="T24" fmla="*/ 70 w 154"/>
                    <a:gd name="T25" fmla="*/ 0 h 115"/>
                    <a:gd name="T26" fmla="*/ 81 w 154"/>
                    <a:gd name="T27" fmla="*/ 2 h 115"/>
                    <a:gd name="T28" fmla="*/ 92 w 154"/>
                    <a:gd name="T29" fmla="*/ 10 h 115"/>
                    <a:gd name="T30" fmla="*/ 117 w 154"/>
                    <a:gd name="T31" fmla="*/ 24 h 115"/>
                    <a:gd name="T32" fmla="*/ 130 w 154"/>
                    <a:gd name="T33" fmla="*/ 23 h 115"/>
                    <a:gd name="T34" fmla="*/ 135 w 154"/>
                    <a:gd name="T35" fmla="*/ 19 h 115"/>
                    <a:gd name="T36" fmla="*/ 139 w 154"/>
                    <a:gd name="T37" fmla="*/ 19 h 115"/>
                    <a:gd name="T38" fmla="*/ 143 w 154"/>
                    <a:gd name="T39" fmla="*/ 30 h 115"/>
                    <a:gd name="T40" fmla="*/ 144 w 154"/>
                    <a:gd name="T41" fmla="*/ 35 h 115"/>
                    <a:gd name="T42" fmla="*/ 153 w 154"/>
                    <a:gd name="T43" fmla="*/ 42 h 115"/>
                    <a:gd name="T44" fmla="*/ 145 w 154"/>
                    <a:gd name="T45" fmla="*/ 45 h 115"/>
                    <a:gd name="T46" fmla="*/ 143 w 154"/>
                    <a:gd name="T47" fmla="*/ 54 h 115"/>
                    <a:gd name="T48" fmla="*/ 135 w 154"/>
                    <a:gd name="T49" fmla="*/ 48 h 115"/>
                    <a:gd name="T50" fmla="*/ 128 w 154"/>
                    <a:gd name="T51" fmla="*/ 46 h 115"/>
                    <a:gd name="T52" fmla="*/ 119 w 154"/>
                    <a:gd name="T53" fmla="*/ 46 h 115"/>
                    <a:gd name="T54" fmla="*/ 112 w 154"/>
                    <a:gd name="T55" fmla="*/ 46 h 115"/>
                    <a:gd name="T56" fmla="*/ 90 w 154"/>
                    <a:gd name="T57" fmla="*/ 42 h 115"/>
                    <a:gd name="T58" fmla="*/ 89 w 154"/>
                    <a:gd name="T59" fmla="*/ 43 h 115"/>
                    <a:gd name="T60" fmla="*/ 81 w 154"/>
                    <a:gd name="T61" fmla="*/ 42 h 115"/>
                    <a:gd name="T62" fmla="*/ 75 w 154"/>
                    <a:gd name="T63" fmla="*/ 49 h 115"/>
                    <a:gd name="T64" fmla="*/ 66 w 154"/>
                    <a:gd name="T65" fmla="*/ 44 h 115"/>
                    <a:gd name="T66" fmla="*/ 60 w 154"/>
                    <a:gd name="T67" fmla="*/ 45 h 115"/>
                    <a:gd name="T68" fmla="*/ 60 w 154"/>
                    <a:gd name="T69" fmla="*/ 56 h 115"/>
                    <a:gd name="T70" fmla="*/ 70 w 154"/>
                    <a:gd name="T71" fmla="*/ 64 h 115"/>
                    <a:gd name="T72" fmla="*/ 74 w 154"/>
                    <a:gd name="T73" fmla="*/ 76 h 115"/>
                    <a:gd name="T74" fmla="*/ 87 w 154"/>
                    <a:gd name="T75" fmla="*/ 88 h 115"/>
                    <a:gd name="T76" fmla="*/ 108 w 154"/>
                    <a:gd name="T77" fmla="*/ 109 h 115"/>
                    <a:gd name="T78" fmla="*/ 109 w 154"/>
                    <a:gd name="T79" fmla="*/ 115 h 115"/>
                    <a:gd name="T80" fmla="*/ 90 w 154"/>
                    <a:gd name="T81" fmla="*/ 101 h 115"/>
                    <a:gd name="T82" fmla="*/ 71 w 154"/>
                    <a:gd name="T83" fmla="*/ 97 h 115"/>
                    <a:gd name="T84" fmla="*/ 64 w 154"/>
                    <a:gd name="T85" fmla="*/ 93 h 115"/>
                    <a:gd name="T86" fmla="*/ 60 w 154"/>
                    <a:gd name="T87" fmla="*/ 89 h 115"/>
                    <a:gd name="T88" fmla="*/ 46 w 154"/>
                    <a:gd name="T89" fmla="*/ 77 h 115"/>
                    <a:gd name="T90" fmla="*/ 54 w 154"/>
                    <a:gd name="T91" fmla="*/ 73 h 115"/>
                    <a:gd name="T92" fmla="*/ 38 w 154"/>
                    <a:gd name="T93" fmla="*/ 59 h 115"/>
                    <a:gd name="T94" fmla="*/ 36 w 154"/>
                    <a:gd name="T95" fmla="*/ 48 h 115"/>
                    <a:gd name="T96" fmla="*/ 21 w 154"/>
                    <a:gd name="T97" fmla="*/ 39 h 115"/>
                    <a:gd name="T98" fmla="*/ 18 w 154"/>
                    <a:gd name="T99" fmla="*/ 49 h 115"/>
                    <a:gd name="T100" fmla="*/ 14 w 154"/>
                    <a:gd name="T101" fmla="*/ 53 h 115"/>
                    <a:gd name="T102" fmla="*/ 7 w 154"/>
                    <a:gd name="T103" fmla="*/ 51 h 115"/>
                    <a:gd name="T104" fmla="*/ 4 w 154"/>
                    <a:gd name="T105" fmla="*/ 44 h 115"/>
                    <a:gd name="T106" fmla="*/ 0 w 154"/>
                    <a:gd name="T107" fmla="*/ 33 h 1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54" h="115">
                      <a:moveTo>
                        <a:pt x="2" y="33"/>
                      </a:moveTo>
                      <a:lnTo>
                        <a:pt x="9" y="35"/>
                      </a:lnTo>
                      <a:lnTo>
                        <a:pt x="12" y="34"/>
                      </a:lnTo>
                      <a:lnTo>
                        <a:pt x="14" y="33"/>
                      </a:lnTo>
                      <a:lnTo>
                        <a:pt x="16" y="33"/>
                      </a:lnTo>
                      <a:lnTo>
                        <a:pt x="18" y="34"/>
                      </a:lnTo>
                      <a:lnTo>
                        <a:pt x="22" y="33"/>
                      </a:lnTo>
                      <a:lnTo>
                        <a:pt x="26" y="30"/>
                      </a:lnTo>
                      <a:lnTo>
                        <a:pt x="28" y="28"/>
                      </a:lnTo>
                      <a:lnTo>
                        <a:pt x="32" y="30"/>
                      </a:lnTo>
                      <a:lnTo>
                        <a:pt x="36" y="32"/>
                      </a:lnTo>
                      <a:lnTo>
                        <a:pt x="39" y="32"/>
                      </a:lnTo>
                      <a:lnTo>
                        <a:pt x="43" y="33"/>
                      </a:lnTo>
                      <a:lnTo>
                        <a:pt x="47" y="34"/>
                      </a:lnTo>
                      <a:lnTo>
                        <a:pt x="48" y="33"/>
                      </a:lnTo>
                      <a:lnTo>
                        <a:pt x="48" y="29"/>
                      </a:lnTo>
                      <a:lnTo>
                        <a:pt x="49" y="28"/>
                      </a:lnTo>
                      <a:lnTo>
                        <a:pt x="48" y="27"/>
                      </a:lnTo>
                      <a:lnTo>
                        <a:pt x="46" y="26"/>
                      </a:lnTo>
                      <a:lnTo>
                        <a:pt x="49" y="24"/>
                      </a:lnTo>
                      <a:lnTo>
                        <a:pt x="52" y="23"/>
                      </a:lnTo>
                      <a:lnTo>
                        <a:pt x="55" y="22"/>
                      </a:lnTo>
                      <a:lnTo>
                        <a:pt x="57" y="21"/>
                      </a:lnTo>
                      <a:lnTo>
                        <a:pt x="57" y="19"/>
                      </a:lnTo>
                      <a:lnTo>
                        <a:pt x="57" y="16"/>
                      </a:lnTo>
                      <a:lnTo>
                        <a:pt x="55" y="12"/>
                      </a:lnTo>
                      <a:lnTo>
                        <a:pt x="57" y="11"/>
                      </a:lnTo>
                      <a:lnTo>
                        <a:pt x="59" y="10"/>
                      </a:lnTo>
                      <a:lnTo>
                        <a:pt x="63" y="8"/>
                      </a:lnTo>
                      <a:lnTo>
                        <a:pt x="65" y="7"/>
                      </a:lnTo>
                      <a:lnTo>
                        <a:pt x="66" y="6"/>
                      </a:lnTo>
                      <a:lnTo>
                        <a:pt x="66" y="5"/>
                      </a:lnTo>
                      <a:lnTo>
                        <a:pt x="68" y="5"/>
                      </a:lnTo>
                      <a:lnTo>
                        <a:pt x="68" y="3"/>
                      </a:lnTo>
                      <a:lnTo>
                        <a:pt x="69" y="3"/>
                      </a:lnTo>
                      <a:lnTo>
                        <a:pt x="70" y="5"/>
                      </a:lnTo>
                      <a:lnTo>
                        <a:pt x="73" y="5"/>
                      </a:lnTo>
                      <a:lnTo>
                        <a:pt x="70" y="2"/>
                      </a:lnTo>
                      <a:lnTo>
                        <a:pt x="70" y="0"/>
                      </a:lnTo>
                      <a:lnTo>
                        <a:pt x="74" y="0"/>
                      </a:lnTo>
                      <a:lnTo>
                        <a:pt x="77" y="1"/>
                      </a:lnTo>
                      <a:lnTo>
                        <a:pt x="81" y="2"/>
                      </a:lnTo>
                      <a:lnTo>
                        <a:pt x="85" y="5"/>
                      </a:lnTo>
                      <a:lnTo>
                        <a:pt x="89" y="7"/>
                      </a:lnTo>
                      <a:lnTo>
                        <a:pt x="92" y="10"/>
                      </a:lnTo>
                      <a:lnTo>
                        <a:pt x="95" y="12"/>
                      </a:lnTo>
                      <a:lnTo>
                        <a:pt x="105" y="19"/>
                      </a:lnTo>
                      <a:lnTo>
                        <a:pt x="117" y="24"/>
                      </a:lnTo>
                      <a:lnTo>
                        <a:pt x="124" y="24"/>
                      </a:lnTo>
                      <a:lnTo>
                        <a:pt x="128" y="24"/>
                      </a:lnTo>
                      <a:lnTo>
                        <a:pt x="130" y="23"/>
                      </a:lnTo>
                      <a:lnTo>
                        <a:pt x="132" y="23"/>
                      </a:lnTo>
                      <a:lnTo>
                        <a:pt x="134" y="21"/>
                      </a:lnTo>
                      <a:lnTo>
                        <a:pt x="135" y="19"/>
                      </a:lnTo>
                      <a:lnTo>
                        <a:pt x="138" y="18"/>
                      </a:lnTo>
                      <a:lnTo>
                        <a:pt x="138" y="18"/>
                      </a:lnTo>
                      <a:lnTo>
                        <a:pt x="139" y="19"/>
                      </a:lnTo>
                      <a:lnTo>
                        <a:pt x="140" y="23"/>
                      </a:lnTo>
                      <a:lnTo>
                        <a:pt x="141" y="29"/>
                      </a:lnTo>
                      <a:lnTo>
                        <a:pt x="143" y="30"/>
                      </a:lnTo>
                      <a:lnTo>
                        <a:pt x="145" y="32"/>
                      </a:lnTo>
                      <a:lnTo>
                        <a:pt x="144" y="34"/>
                      </a:lnTo>
                      <a:lnTo>
                        <a:pt x="144" y="35"/>
                      </a:lnTo>
                      <a:lnTo>
                        <a:pt x="145" y="38"/>
                      </a:lnTo>
                      <a:lnTo>
                        <a:pt x="148" y="39"/>
                      </a:lnTo>
                      <a:lnTo>
                        <a:pt x="153" y="42"/>
                      </a:lnTo>
                      <a:lnTo>
                        <a:pt x="154" y="42"/>
                      </a:lnTo>
                      <a:lnTo>
                        <a:pt x="154" y="43"/>
                      </a:lnTo>
                      <a:lnTo>
                        <a:pt x="145" y="45"/>
                      </a:lnTo>
                      <a:lnTo>
                        <a:pt x="146" y="49"/>
                      </a:lnTo>
                      <a:lnTo>
                        <a:pt x="145" y="53"/>
                      </a:lnTo>
                      <a:lnTo>
                        <a:pt x="143" y="54"/>
                      </a:lnTo>
                      <a:lnTo>
                        <a:pt x="139" y="53"/>
                      </a:lnTo>
                      <a:lnTo>
                        <a:pt x="137" y="49"/>
                      </a:lnTo>
                      <a:lnTo>
                        <a:pt x="135" y="48"/>
                      </a:lnTo>
                      <a:lnTo>
                        <a:pt x="135" y="48"/>
                      </a:lnTo>
                      <a:lnTo>
                        <a:pt x="134" y="48"/>
                      </a:lnTo>
                      <a:lnTo>
                        <a:pt x="128" y="46"/>
                      </a:lnTo>
                      <a:lnTo>
                        <a:pt x="123" y="46"/>
                      </a:lnTo>
                      <a:lnTo>
                        <a:pt x="121" y="46"/>
                      </a:lnTo>
                      <a:lnTo>
                        <a:pt x="119" y="46"/>
                      </a:lnTo>
                      <a:lnTo>
                        <a:pt x="118" y="45"/>
                      </a:lnTo>
                      <a:lnTo>
                        <a:pt x="116" y="46"/>
                      </a:lnTo>
                      <a:lnTo>
                        <a:pt x="112" y="46"/>
                      </a:lnTo>
                      <a:lnTo>
                        <a:pt x="108" y="45"/>
                      </a:lnTo>
                      <a:lnTo>
                        <a:pt x="98" y="44"/>
                      </a:lnTo>
                      <a:lnTo>
                        <a:pt x="90" y="42"/>
                      </a:lnTo>
                      <a:lnTo>
                        <a:pt x="89" y="43"/>
                      </a:lnTo>
                      <a:lnTo>
                        <a:pt x="89" y="43"/>
                      </a:lnTo>
                      <a:lnTo>
                        <a:pt x="89" y="43"/>
                      </a:lnTo>
                      <a:lnTo>
                        <a:pt x="87" y="43"/>
                      </a:lnTo>
                      <a:lnTo>
                        <a:pt x="85" y="42"/>
                      </a:lnTo>
                      <a:lnTo>
                        <a:pt x="81" y="42"/>
                      </a:lnTo>
                      <a:lnTo>
                        <a:pt x="80" y="42"/>
                      </a:lnTo>
                      <a:lnTo>
                        <a:pt x="77" y="45"/>
                      </a:lnTo>
                      <a:lnTo>
                        <a:pt x="75" y="49"/>
                      </a:lnTo>
                      <a:lnTo>
                        <a:pt x="74" y="49"/>
                      </a:lnTo>
                      <a:lnTo>
                        <a:pt x="71" y="48"/>
                      </a:lnTo>
                      <a:lnTo>
                        <a:pt x="66" y="44"/>
                      </a:lnTo>
                      <a:lnTo>
                        <a:pt x="64" y="43"/>
                      </a:lnTo>
                      <a:lnTo>
                        <a:pt x="63" y="43"/>
                      </a:lnTo>
                      <a:lnTo>
                        <a:pt x="60" y="45"/>
                      </a:lnTo>
                      <a:lnTo>
                        <a:pt x="60" y="49"/>
                      </a:lnTo>
                      <a:lnTo>
                        <a:pt x="60" y="54"/>
                      </a:lnTo>
                      <a:lnTo>
                        <a:pt x="60" y="56"/>
                      </a:lnTo>
                      <a:lnTo>
                        <a:pt x="63" y="57"/>
                      </a:lnTo>
                      <a:lnTo>
                        <a:pt x="66" y="60"/>
                      </a:lnTo>
                      <a:lnTo>
                        <a:pt x="70" y="64"/>
                      </a:lnTo>
                      <a:lnTo>
                        <a:pt x="73" y="67"/>
                      </a:lnTo>
                      <a:lnTo>
                        <a:pt x="73" y="72"/>
                      </a:lnTo>
                      <a:lnTo>
                        <a:pt x="74" y="76"/>
                      </a:lnTo>
                      <a:lnTo>
                        <a:pt x="77" y="80"/>
                      </a:lnTo>
                      <a:lnTo>
                        <a:pt x="82" y="83"/>
                      </a:lnTo>
                      <a:lnTo>
                        <a:pt x="87" y="88"/>
                      </a:lnTo>
                      <a:lnTo>
                        <a:pt x="96" y="96"/>
                      </a:lnTo>
                      <a:lnTo>
                        <a:pt x="102" y="103"/>
                      </a:lnTo>
                      <a:lnTo>
                        <a:pt x="108" y="109"/>
                      </a:lnTo>
                      <a:lnTo>
                        <a:pt x="112" y="113"/>
                      </a:lnTo>
                      <a:lnTo>
                        <a:pt x="112" y="115"/>
                      </a:lnTo>
                      <a:lnTo>
                        <a:pt x="109" y="115"/>
                      </a:lnTo>
                      <a:lnTo>
                        <a:pt x="105" y="113"/>
                      </a:lnTo>
                      <a:lnTo>
                        <a:pt x="98" y="107"/>
                      </a:lnTo>
                      <a:lnTo>
                        <a:pt x="90" y="101"/>
                      </a:lnTo>
                      <a:lnTo>
                        <a:pt x="80" y="97"/>
                      </a:lnTo>
                      <a:lnTo>
                        <a:pt x="76" y="97"/>
                      </a:lnTo>
                      <a:lnTo>
                        <a:pt x="71" y="97"/>
                      </a:lnTo>
                      <a:lnTo>
                        <a:pt x="68" y="98"/>
                      </a:lnTo>
                      <a:lnTo>
                        <a:pt x="65" y="94"/>
                      </a:lnTo>
                      <a:lnTo>
                        <a:pt x="64" y="93"/>
                      </a:lnTo>
                      <a:lnTo>
                        <a:pt x="64" y="92"/>
                      </a:lnTo>
                      <a:lnTo>
                        <a:pt x="63" y="91"/>
                      </a:lnTo>
                      <a:lnTo>
                        <a:pt x="60" y="89"/>
                      </a:lnTo>
                      <a:lnTo>
                        <a:pt x="55" y="86"/>
                      </a:lnTo>
                      <a:lnTo>
                        <a:pt x="50" y="82"/>
                      </a:lnTo>
                      <a:lnTo>
                        <a:pt x="46" y="77"/>
                      </a:lnTo>
                      <a:lnTo>
                        <a:pt x="43" y="72"/>
                      </a:lnTo>
                      <a:lnTo>
                        <a:pt x="49" y="72"/>
                      </a:lnTo>
                      <a:lnTo>
                        <a:pt x="54" y="73"/>
                      </a:lnTo>
                      <a:lnTo>
                        <a:pt x="47" y="69"/>
                      </a:lnTo>
                      <a:lnTo>
                        <a:pt x="39" y="61"/>
                      </a:lnTo>
                      <a:lnTo>
                        <a:pt x="38" y="59"/>
                      </a:lnTo>
                      <a:lnTo>
                        <a:pt x="38" y="55"/>
                      </a:lnTo>
                      <a:lnTo>
                        <a:pt x="38" y="50"/>
                      </a:lnTo>
                      <a:lnTo>
                        <a:pt x="36" y="48"/>
                      </a:lnTo>
                      <a:lnTo>
                        <a:pt x="31" y="42"/>
                      </a:lnTo>
                      <a:lnTo>
                        <a:pt x="23" y="38"/>
                      </a:lnTo>
                      <a:lnTo>
                        <a:pt x="21" y="39"/>
                      </a:lnTo>
                      <a:lnTo>
                        <a:pt x="20" y="43"/>
                      </a:lnTo>
                      <a:lnTo>
                        <a:pt x="18" y="46"/>
                      </a:lnTo>
                      <a:lnTo>
                        <a:pt x="18" y="49"/>
                      </a:lnTo>
                      <a:lnTo>
                        <a:pt x="16" y="49"/>
                      </a:lnTo>
                      <a:lnTo>
                        <a:pt x="15" y="48"/>
                      </a:lnTo>
                      <a:lnTo>
                        <a:pt x="14" y="53"/>
                      </a:lnTo>
                      <a:lnTo>
                        <a:pt x="11" y="56"/>
                      </a:lnTo>
                      <a:lnTo>
                        <a:pt x="10" y="55"/>
                      </a:lnTo>
                      <a:lnTo>
                        <a:pt x="7" y="51"/>
                      </a:lnTo>
                      <a:lnTo>
                        <a:pt x="6" y="48"/>
                      </a:lnTo>
                      <a:lnTo>
                        <a:pt x="6" y="45"/>
                      </a:lnTo>
                      <a:lnTo>
                        <a:pt x="4" y="44"/>
                      </a:lnTo>
                      <a:lnTo>
                        <a:pt x="2" y="40"/>
                      </a:lnTo>
                      <a:lnTo>
                        <a:pt x="1" y="37"/>
                      </a:lnTo>
                      <a:lnTo>
                        <a:pt x="0" y="33"/>
                      </a:lnTo>
                      <a:lnTo>
                        <a:pt x="2" y="33"/>
                      </a:lnTo>
                      <a:lnTo>
                        <a:pt x="2" y="33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4" name="Freeform 478">
                  <a:extLst>
                    <a:ext uri="{FF2B5EF4-FFF2-40B4-BE49-F238E27FC236}">
                      <a16:creationId xmlns:a16="http://schemas.microsoft.com/office/drawing/2014/main" id="{A873A7B3-1D66-4BEF-BACE-B2B57C1E6D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6042" y="6147872"/>
                  <a:ext cx="42533" cy="23870"/>
                </a:xfrm>
                <a:custGeom>
                  <a:avLst/>
                  <a:gdLst>
                    <a:gd name="T0" fmla="*/ 15 w 38"/>
                    <a:gd name="T1" fmla="*/ 4 h 17"/>
                    <a:gd name="T2" fmla="*/ 17 w 38"/>
                    <a:gd name="T3" fmla="*/ 3 h 17"/>
                    <a:gd name="T4" fmla="*/ 20 w 38"/>
                    <a:gd name="T5" fmla="*/ 4 h 17"/>
                    <a:gd name="T6" fmla="*/ 25 w 38"/>
                    <a:gd name="T7" fmla="*/ 9 h 17"/>
                    <a:gd name="T8" fmla="*/ 30 w 38"/>
                    <a:gd name="T9" fmla="*/ 11 h 17"/>
                    <a:gd name="T10" fmla="*/ 35 w 38"/>
                    <a:gd name="T11" fmla="*/ 14 h 17"/>
                    <a:gd name="T12" fmla="*/ 37 w 38"/>
                    <a:gd name="T13" fmla="*/ 15 h 17"/>
                    <a:gd name="T14" fmla="*/ 38 w 38"/>
                    <a:gd name="T15" fmla="*/ 16 h 17"/>
                    <a:gd name="T16" fmla="*/ 37 w 38"/>
                    <a:gd name="T17" fmla="*/ 17 h 17"/>
                    <a:gd name="T18" fmla="*/ 33 w 38"/>
                    <a:gd name="T19" fmla="*/ 16 h 17"/>
                    <a:gd name="T20" fmla="*/ 30 w 38"/>
                    <a:gd name="T21" fmla="*/ 14 h 17"/>
                    <a:gd name="T22" fmla="*/ 25 w 38"/>
                    <a:gd name="T23" fmla="*/ 11 h 17"/>
                    <a:gd name="T24" fmla="*/ 21 w 38"/>
                    <a:gd name="T25" fmla="*/ 9 h 17"/>
                    <a:gd name="T26" fmla="*/ 16 w 38"/>
                    <a:gd name="T27" fmla="*/ 6 h 17"/>
                    <a:gd name="T28" fmla="*/ 11 w 38"/>
                    <a:gd name="T29" fmla="*/ 5 h 17"/>
                    <a:gd name="T30" fmla="*/ 6 w 38"/>
                    <a:gd name="T31" fmla="*/ 3 h 17"/>
                    <a:gd name="T32" fmla="*/ 3 w 38"/>
                    <a:gd name="T33" fmla="*/ 1 h 17"/>
                    <a:gd name="T34" fmla="*/ 0 w 38"/>
                    <a:gd name="T35" fmla="*/ 1 h 17"/>
                    <a:gd name="T36" fmla="*/ 4 w 38"/>
                    <a:gd name="T37" fmla="*/ 0 h 17"/>
                    <a:gd name="T38" fmla="*/ 9 w 38"/>
                    <a:gd name="T39" fmla="*/ 1 h 17"/>
                    <a:gd name="T40" fmla="*/ 14 w 38"/>
                    <a:gd name="T41" fmla="*/ 3 h 17"/>
                    <a:gd name="T42" fmla="*/ 16 w 38"/>
                    <a:gd name="T43" fmla="*/ 5 h 17"/>
                    <a:gd name="T44" fmla="*/ 15 w 38"/>
                    <a:gd name="T45" fmla="*/ 4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38" h="17">
                      <a:moveTo>
                        <a:pt x="15" y="4"/>
                      </a:moveTo>
                      <a:lnTo>
                        <a:pt x="17" y="3"/>
                      </a:lnTo>
                      <a:lnTo>
                        <a:pt x="20" y="4"/>
                      </a:lnTo>
                      <a:lnTo>
                        <a:pt x="25" y="9"/>
                      </a:lnTo>
                      <a:lnTo>
                        <a:pt x="30" y="11"/>
                      </a:lnTo>
                      <a:lnTo>
                        <a:pt x="35" y="14"/>
                      </a:lnTo>
                      <a:lnTo>
                        <a:pt x="37" y="15"/>
                      </a:lnTo>
                      <a:lnTo>
                        <a:pt x="38" y="16"/>
                      </a:lnTo>
                      <a:lnTo>
                        <a:pt x="37" y="17"/>
                      </a:lnTo>
                      <a:lnTo>
                        <a:pt x="33" y="16"/>
                      </a:lnTo>
                      <a:lnTo>
                        <a:pt x="30" y="14"/>
                      </a:lnTo>
                      <a:lnTo>
                        <a:pt x="25" y="11"/>
                      </a:lnTo>
                      <a:lnTo>
                        <a:pt x="21" y="9"/>
                      </a:lnTo>
                      <a:lnTo>
                        <a:pt x="16" y="6"/>
                      </a:lnTo>
                      <a:lnTo>
                        <a:pt x="11" y="5"/>
                      </a:lnTo>
                      <a:lnTo>
                        <a:pt x="6" y="3"/>
                      </a:lnTo>
                      <a:lnTo>
                        <a:pt x="3" y="1"/>
                      </a:lnTo>
                      <a:lnTo>
                        <a:pt x="0" y="1"/>
                      </a:lnTo>
                      <a:lnTo>
                        <a:pt x="4" y="0"/>
                      </a:lnTo>
                      <a:lnTo>
                        <a:pt x="9" y="1"/>
                      </a:lnTo>
                      <a:lnTo>
                        <a:pt x="14" y="3"/>
                      </a:lnTo>
                      <a:lnTo>
                        <a:pt x="16" y="5"/>
                      </a:lnTo>
                      <a:lnTo>
                        <a:pt x="15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5" name="Freeform 479">
                  <a:extLst>
                    <a:ext uri="{FF2B5EF4-FFF2-40B4-BE49-F238E27FC236}">
                      <a16:creationId xmlns:a16="http://schemas.microsoft.com/office/drawing/2014/main" id="{31D0E0A1-F3AE-4E94-8E7D-87263BA384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3218" y="6055049"/>
                  <a:ext cx="4477" cy="21216"/>
                </a:xfrm>
                <a:custGeom>
                  <a:avLst/>
                  <a:gdLst>
                    <a:gd name="T0" fmla="*/ 1 w 5"/>
                    <a:gd name="T1" fmla="*/ 5 h 16"/>
                    <a:gd name="T2" fmla="*/ 0 w 5"/>
                    <a:gd name="T3" fmla="*/ 2 h 16"/>
                    <a:gd name="T4" fmla="*/ 0 w 5"/>
                    <a:gd name="T5" fmla="*/ 0 h 16"/>
                    <a:gd name="T6" fmla="*/ 3 w 5"/>
                    <a:gd name="T7" fmla="*/ 7 h 16"/>
                    <a:gd name="T8" fmla="*/ 5 w 5"/>
                    <a:gd name="T9" fmla="*/ 16 h 16"/>
                    <a:gd name="T10" fmla="*/ 3 w 5"/>
                    <a:gd name="T11" fmla="*/ 15 h 16"/>
                    <a:gd name="T12" fmla="*/ 0 w 5"/>
                    <a:gd name="T13" fmla="*/ 11 h 16"/>
                    <a:gd name="T14" fmla="*/ 0 w 5"/>
                    <a:gd name="T15" fmla="*/ 7 h 16"/>
                    <a:gd name="T16" fmla="*/ 1 w 5"/>
                    <a:gd name="T17" fmla="*/ 5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" h="16">
                      <a:moveTo>
                        <a:pt x="1" y="5"/>
                      </a:move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3" y="7"/>
                      </a:lnTo>
                      <a:lnTo>
                        <a:pt x="5" y="16"/>
                      </a:lnTo>
                      <a:lnTo>
                        <a:pt x="3" y="15"/>
                      </a:lnTo>
                      <a:lnTo>
                        <a:pt x="0" y="11"/>
                      </a:lnTo>
                      <a:lnTo>
                        <a:pt x="0" y="7"/>
                      </a:lnTo>
                      <a:lnTo>
                        <a:pt x="1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6" name="Freeform 480">
                  <a:extLst>
                    <a:ext uri="{FF2B5EF4-FFF2-40B4-BE49-F238E27FC236}">
                      <a16:creationId xmlns:a16="http://schemas.microsoft.com/office/drawing/2014/main" id="{093A1524-06AB-4AF9-A937-079FB85E73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3218" y="6078917"/>
                  <a:ext cx="6716" cy="5304"/>
                </a:xfrm>
                <a:custGeom>
                  <a:avLst/>
                  <a:gdLst>
                    <a:gd name="T0" fmla="*/ 5 w 5"/>
                    <a:gd name="T1" fmla="*/ 5 h 5"/>
                    <a:gd name="T2" fmla="*/ 0 w 5"/>
                    <a:gd name="T3" fmla="*/ 0 h 5"/>
                    <a:gd name="T4" fmla="*/ 3 w 5"/>
                    <a:gd name="T5" fmla="*/ 3 h 5"/>
                    <a:gd name="T6" fmla="*/ 5 w 5"/>
                    <a:gd name="T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5">
                      <a:moveTo>
                        <a:pt x="5" y="5"/>
                      </a:moveTo>
                      <a:lnTo>
                        <a:pt x="0" y="0"/>
                      </a:lnTo>
                      <a:lnTo>
                        <a:pt x="3" y="3"/>
                      </a:lnTo>
                      <a:lnTo>
                        <a:pt x="5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7" name="Freeform 481">
                  <a:extLst>
                    <a:ext uri="{FF2B5EF4-FFF2-40B4-BE49-F238E27FC236}">
                      <a16:creationId xmlns:a16="http://schemas.microsoft.com/office/drawing/2014/main" id="{F58AC6C0-A0AD-44BD-9131-025FE61C2B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5455" y="6052397"/>
                  <a:ext cx="11193" cy="10609"/>
                </a:xfrm>
                <a:custGeom>
                  <a:avLst/>
                  <a:gdLst>
                    <a:gd name="T0" fmla="*/ 5 w 8"/>
                    <a:gd name="T1" fmla="*/ 6 h 7"/>
                    <a:gd name="T2" fmla="*/ 2 w 8"/>
                    <a:gd name="T3" fmla="*/ 5 h 7"/>
                    <a:gd name="T4" fmla="*/ 0 w 8"/>
                    <a:gd name="T5" fmla="*/ 3 h 7"/>
                    <a:gd name="T6" fmla="*/ 0 w 8"/>
                    <a:gd name="T7" fmla="*/ 1 h 7"/>
                    <a:gd name="T8" fmla="*/ 1 w 8"/>
                    <a:gd name="T9" fmla="*/ 0 h 7"/>
                    <a:gd name="T10" fmla="*/ 4 w 8"/>
                    <a:gd name="T11" fmla="*/ 0 h 7"/>
                    <a:gd name="T12" fmla="*/ 5 w 8"/>
                    <a:gd name="T13" fmla="*/ 2 h 7"/>
                    <a:gd name="T14" fmla="*/ 7 w 8"/>
                    <a:gd name="T15" fmla="*/ 5 h 7"/>
                    <a:gd name="T16" fmla="*/ 8 w 8"/>
                    <a:gd name="T17" fmla="*/ 6 h 7"/>
                    <a:gd name="T18" fmla="*/ 6 w 8"/>
                    <a:gd name="T19" fmla="*/ 7 h 7"/>
                    <a:gd name="T20" fmla="*/ 5 w 8"/>
                    <a:gd name="T21" fmla="*/ 6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" h="7">
                      <a:moveTo>
                        <a:pt x="5" y="6"/>
                      </a:moveTo>
                      <a:lnTo>
                        <a:pt x="2" y="5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5" y="2"/>
                      </a:lnTo>
                      <a:lnTo>
                        <a:pt x="7" y="5"/>
                      </a:lnTo>
                      <a:lnTo>
                        <a:pt x="8" y="6"/>
                      </a:lnTo>
                      <a:lnTo>
                        <a:pt x="6" y="7"/>
                      </a:lnTo>
                      <a:lnTo>
                        <a:pt x="5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8" name="Freeform 482">
                  <a:extLst>
                    <a:ext uri="{FF2B5EF4-FFF2-40B4-BE49-F238E27FC236}">
                      <a16:creationId xmlns:a16="http://schemas.microsoft.com/office/drawing/2014/main" id="{C46561E2-D6D3-41C2-9622-7C8808DA4D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02171" y="6070961"/>
                  <a:ext cx="4477" cy="0"/>
                </a:xfrm>
                <a:custGeom>
                  <a:avLst/>
                  <a:gdLst>
                    <a:gd name="T0" fmla="*/ 0 w 2"/>
                    <a:gd name="T1" fmla="*/ 0 h 1"/>
                    <a:gd name="T2" fmla="*/ 2 w 2"/>
                    <a:gd name="T3" fmla="*/ 1 h 1"/>
                    <a:gd name="T4" fmla="*/ 0 w 2"/>
                    <a:gd name="T5" fmla="*/ 1 h 1"/>
                    <a:gd name="T6" fmla="*/ 0 w 2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lnTo>
                        <a:pt x="2" y="1"/>
                      </a:lnTo>
                      <a:lnTo>
                        <a:pt x="0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9" name="Freeform 483">
                  <a:extLst>
                    <a:ext uri="{FF2B5EF4-FFF2-40B4-BE49-F238E27FC236}">
                      <a16:creationId xmlns:a16="http://schemas.microsoft.com/office/drawing/2014/main" id="{7B588F81-1720-44DC-996B-B5EFFB0FBD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06648" y="6094831"/>
                  <a:ext cx="4477" cy="0"/>
                </a:xfrm>
                <a:custGeom>
                  <a:avLst/>
                  <a:gdLst>
                    <a:gd name="T0" fmla="*/ 4 w 4"/>
                    <a:gd name="T1" fmla="*/ 2 h 2"/>
                    <a:gd name="T2" fmla="*/ 0 w 4"/>
                    <a:gd name="T3" fmla="*/ 0 h 2"/>
                    <a:gd name="T4" fmla="*/ 4 w 4"/>
                    <a:gd name="T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2">
                      <a:moveTo>
                        <a:pt x="4" y="2"/>
                      </a:moveTo>
                      <a:lnTo>
                        <a:pt x="0" y="0"/>
                      </a:lnTo>
                      <a:lnTo>
                        <a:pt x="4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0" name="Freeform 484">
                  <a:extLst>
                    <a:ext uri="{FF2B5EF4-FFF2-40B4-BE49-F238E27FC236}">
                      <a16:creationId xmlns:a16="http://schemas.microsoft.com/office/drawing/2014/main" id="{A525B7DF-A49F-49B1-8F97-DA00836F735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04410" y="6073614"/>
                  <a:ext cx="13431" cy="18565"/>
                </a:xfrm>
                <a:custGeom>
                  <a:avLst/>
                  <a:gdLst>
                    <a:gd name="T0" fmla="*/ 8 w 13"/>
                    <a:gd name="T1" fmla="*/ 8 h 12"/>
                    <a:gd name="T2" fmla="*/ 4 w 13"/>
                    <a:gd name="T3" fmla="*/ 5 h 12"/>
                    <a:gd name="T4" fmla="*/ 0 w 13"/>
                    <a:gd name="T5" fmla="*/ 0 h 12"/>
                    <a:gd name="T6" fmla="*/ 6 w 13"/>
                    <a:gd name="T7" fmla="*/ 6 h 12"/>
                    <a:gd name="T8" fmla="*/ 13 w 13"/>
                    <a:gd name="T9" fmla="*/ 11 h 12"/>
                    <a:gd name="T10" fmla="*/ 11 w 13"/>
                    <a:gd name="T11" fmla="*/ 12 h 12"/>
                    <a:gd name="T12" fmla="*/ 10 w 13"/>
                    <a:gd name="T13" fmla="*/ 11 h 12"/>
                    <a:gd name="T14" fmla="*/ 8 w 13"/>
                    <a:gd name="T15" fmla="*/ 8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3" h="12">
                      <a:moveTo>
                        <a:pt x="8" y="8"/>
                      </a:moveTo>
                      <a:lnTo>
                        <a:pt x="4" y="5"/>
                      </a:lnTo>
                      <a:lnTo>
                        <a:pt x="0" y="0"/>
                      </a:lnTo>
                      <a:lnTo>
                        <a:pt x="6" y="6"/>
                      </a:lnTo>
                      <a:lnTo>
                        <a:pt x="13" y="11"/>
                      </a:lnTo>
                      <a:lnTo>
                        <a:pt x="11" y="12"/>
                      </a:lnTo>
                      <a:lnTo>
                        <a:pt x="10" y="11"/>
                      </a:lnTo>
                      <a:lnTo>
                        <a:pt x="8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1" name="Freeform 485">
                  <a:extLst>
                    <a:ext uri="{FF2B5EF4-FFF2-40B4-BE49-F238E27FC236}">
                      <a16:creationId xmlns:a16="http://schemas.microsoft.com/office/drawing/2014/main" id="{5264ED70-D58F-419F-9C7B-6B62D604E7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11126" y="6100135"/>
                  <a:ext cx="6716" cy="7957"/>
                </a:xfrm>
                <a:custGeom>
                  <a:avLst/>
                  <a:gdLst>
                    <a:gd name="T0" fmla="*/ 3 w 8"/>
                    <a:gd name="T1" fmla="*/ 3 h 6"/>
                    <a:gd name="T2" fmla="*/ 0 w 8"/>
                    <a:gd name="T3" fmla="*/ 0 h 6"/>
                    <a:gd name="T4" fmla="*/ 3 w 8"/>
                    <a:gd name="T5" fmla="*/ 1 h 6"/>
                    <a:gd name="T6" fmla="*/ 4 w 8"/>
                    <a:gd name="T7" fmla="*/ 4 h 6"/>
                    <a:gd name="T8" fmla="*/ 8 w 8"/>
                    <a:gd name="T9" fmla="*/ 6 h 6"/>
                    <a:gd name="T10" fmla="*/ 4 w 8"/>
                    <a:gd name="T11" fmla="*/ 5 h 6"/>
                    <a:gd name="T12" fmla="*/ 3 w 8"/>
                    <a:gd name="T13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6">
                      <a:moveTo>
                        <a:pt x="3" y="3"/>
                      </a:moveTo>
                      <a:lnTo>
                        <a:pt x="0" y="0"/>
                      </a:lnTo>
                      <a:lnTo>
                        <a:pt x="3" y="1"/>
                      </a:lnTo>
                      <a:lnTo>
                        <a:pt x="4" y="4"/>
                      </a:lnTo>
                      <a:lnTo>
                        <a:pt x="8" y="6"/>
                      </a:lnTo>
                      <a:lnTo>
                        <a:pt x="4" y="5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2" name="Freeform 486">
                  <a:extLst>
                    <a:ext uri="{FF2B5EF4-FFF2-40B4-BE49-F238E27FC236}">
                      <a16:creationId xmlns:a16="http://schemas.microsoft.com/office/drawing/2014/main" id="{0DD8CF14-9BA1-4FDA-B1D6-237B4EA7E8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20080" y="6110743"/>
                  <a:ext cx="6716" cy="5304"/>
                </a:xfrm>
                <a:custGeom>
                  <a:avLst/>
                  <a:gdLst>
                    <a:gd name="T0" fmla="*/ 0 w 6"/>
                    <a:gd name="T1" fmla="*/ 0 h 3"/>
                    <a:gd name="T2" fmla="*/ 6 w 6"/>
                    <a:gd name="T3" fmla="*/ 3 h 3"/>
                    <a:gd name="T4" fmla="*/ 2 w 6"/>
                    <a:gd name="T5" fmla="*/ 2 h 3"/>
                    <a:gd name="T6" fmla="*/ 0 w 6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3">
                      <a:moveTo>
                        <a:pt x="0" y="0"/>
                      </a:moveTo>
                      <a:lnTo>
                        <a:pt x="6" y="3"/>
                      </a:lnTo>
                      <a:lnTo>
                        <a:pt x="2" y="2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3" name="Freeform 487">
                  <a:extLst>
                    <a:ext uri="{FF2B5EF4-FFF2-40B4-BE49-F238E27FC236}">
                      <a16:creationId xmlns:a16="http://schemas.microsoft.com/office/drawing/2014/main" id="{B4531108-85C7-4543-9E25-0547353AA8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17841" y="6102786"/>
                  <a:ext cx="2240" cy="0"/>
                </a:xfrm>
                <a:custGeom>
                  <a:avLst/>
                  <a:gdLst>
                    <a:gd name="T0" fmla="*/ 3 w 3"/>
                    <a:gd name="T1" fmla="*/ 1 h 1"/>
                    <a:gd name="T2" fmla="*/ 0 w 3"/>
                    <a:gd name="T3" fmla="*/ 0 h 1"/>
                    <a:gd name="T4" fmla="*/ 3 w 3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1">
                      <a:moveTo>
                        <a:pt x="3" y="1"/>
                      </a:moveTo>
                      <a:lnTo>
                        <a:pt x="0" y="0"/>
                      </a:lnTo>
                      <a:lnTo>
                        <a:pt x="3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4" name="Freeform 488">
                  <a:extLst>
                    <a:ext uri="{FF2B5EF4-FFF2-40B4-BE49-F238E27FC236}">
                      <a16:creationId xmlns:a16="http://schemas.microsoft.com/office/drawing/2014/main" id="{5449FD54-353A-4847-82CF-9FB082F176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31271" y="6118698"/>
                  <a:ext cx="4477" cy="2653"/>
                </a:xfrm>
                <a:custGeom>
                  <a:avLst/>
                  <a:gdLst>
                    <a:gd name="T0" fmla="*/ 0 w 2"/>
                    <a:gd name="T1" fmla="*/ 0 h 1"/>
                    <a:gd name="T2" fmla="*/ 2 w 2"/>
                    <a:gd name="T3" fmla="*/ 1 h 1"/>
                    <a:gd name="T4" fmla="*/ 0 w 2"/>
                    <a:gd name="T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lnTo>
                        <a:pt x="2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5" name="Freeform 489">
                  <a:extLst>
                    <a:ext uri="{FF2B5EF4-FFF2-40B4-BE49-F238E27FC236}">
                      <a16:creationId xmlns:a16="http://schemas.microsoft.com/office/drawing/2014/main" id="{650A5259-6164-4F28-B2FE-5177EE3F95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49180" y="6126656"/>
                  <a:ext cx="4477" cy="0"/>
                </a:xfrm>
                <a:custGeom>
                  <a:avLst/>
                  <a:gdLst>
                    <a:gd name="T0" fmla="*/ 0 w 3"/>
                    <a:gd name="T1" fmla="*/ 3 w 3"/>
                    <a:gd name="T2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6" name="Freeform 490">
                  <a:extLst>
                    <a:ext uri="{FF2B5EF4-FFF2-40B4-BE49-F238E27FC236}">
                      <a16:creationId xmlns:a16="http://schemas.microsoft.com/office/drawing/2014/main" id="{0F5A2EA1-0C45-4B2C-9622-4AC5DD6E87A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51419" y="6131959"/>
                  <a:ext cx="2240" cy="0"/>
                </a:xfrm>
                <a:custGeom>
                  <a:avLst/>
                  <a:gdLst>
                    <a:gd name="T0" fmla="*/ 2 w 2"/>
                    <a:gd name="T1" fmla="*/ 1 h 1"/>
                    <a:gd name="T2" fmla="*/ 0 w 2"/>
                    <a:gd name="T3" fmla="*/ 0 h 1"/>
                    <a:gd name="T4" fmla="*/ 2 w 2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1">
                      <a:moveTo>
                        <a:pt x="2" y="1"/>
                      </a:moveTo>
                      <a:lnTo>
                        <a:pt x="0" y="0"/>
                      </a:lnTo>
                      <a:lnTo>
                        <a:pt x="2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7" name="Freeform 491">
                  <a:extLst>
                    <a:ext uri="{FF2B5EF4-FFF2-40B4-BE49-F238E27FC236}">
                      <a16:creationId xmlns:a16="http://schemas.microsoft.com/office/drawing/2014/main" id="{CBB81358-7AB7-4A4E-9A40-C03DBCEE8E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55896" y="6131959"/>
                  <a:ext cx="11193" cy="5304"/>
                </a:xfrm>
                <a:custGeom>
                  <a:avLst/>
                  <a:gdLst>
                    <a:gd name="T0" fmla="*/ 7 w 11"/>
                    <a:gd name="T1" fmla="*/ 3 h 3"/>
                    <a:gd name="T2" fmla="*/ 2 w 11"/>
                    <a:gd name="T3" fmla="*/ 3 h 3"/>
                    <a:gd name="T4" fmla="*/ 1 w 11"/>
                    <a:gd name="T5" fmla="*/ 2 h 3"/>
                    <a:gd name="T6" fmla="*/ 0 w 11"/>
                    <a:gd name="T7" fmla="*/ 0 h 3"/>
                    <a:gd name="T8" fmla="*/ 6 w 11"/>
                    <a:gd name="T9" fmla="*/ 0 h 3"/>
                    <a:gd name="T10" fmla="*/ 11 w 11"/>
                    <a:gd name="T11" fmla="*/ 1 h 3"/>
                    <a:gd name="T12" fmla="*/ 10 w 11"/>
                    <a:gd name="T13" fmla="*/ 3 h 3"/>
                    <a:gd name="T14" fmla="*/ 7 w 11"/>
                    <a:gd name="T15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1" h="3">
                      <a:moveTo>
                        <a:pt x="7" y="3"/>
                      </a:moveTo>
                      <a:lnTo>
                        <a:pt x="2" y="3"/>
                      </a:ln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6" y="0"/>
                      </a:lnTo>
                      <a:lnTo>
                        <a:pt x="11" y="1"/>
                      </a:lnTo>
                      <a:lnTo>
                        <a:pt x="10" y="3"/>
                      </a:lnTo>
                      <a:lnTo>
                        <a:pt x="7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8" name="Freeform 492">
                  <a:extLst>
                    <a:ext uri="{FF2B5EF4-FFF2-40B4-BE49-F238E27FC236}">
                      <a16:creationId xmlns:a16="http://schemas.microsoft.com/office/drawing/2014/main" id="{A8354869-D8A6-49B8-9B4E-A1FCCE1D70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62611" y="6147872"/>
                  <a:ext cx="15670" cy="5304"/>
                </a:xfrm>
                <a:custGeom>
                  <a:avLst/>
                  <a:gdLst>
                    <a:gd name="T0" fmla="*/ 6 w 15"/>
                    <a:gd name="T1" fmla="*/ 4 h 4"/>
                    <a:gd name="T2" fmla="*/ 0 w 15"/>
                    <a:gd name="T3" fmla="*/ 3 h 4"/>
                    <a:gd name="T4" fmla="*/ 4 w 15"/>
                    <a:gd name="T5" fmla="*/ 1 h 4"/>
                    <a:gd name="T6" fmla="*/ 7 w 15"/>
                    <a:gd name="T7" fmla="*/ 0 h 4"/>
                    <a:gd name="T8" fmla="*/ 11 w 15"/>
                    <a:gd name="T9" fmla="*/ 1 h 4"/>
                    <a:gd name="T10" fmla="*/ 15 w 15"/>
                    <a:gd name="T11" fmla="*/ 3 h 4"/>
                    <a:gd name="T12" fmla="*/ 10 w 15"/>
                    <a:gd name="T13" fmla="*/ 3 h 4"/>
                    <a:gd name="T14" fmla="*/ 8 w 15"/>
                    <a:gd name="T15" fmla="*/ 3 h 4"/>
                    <a:gd name="T16" fmla="*/ 6 w 15"/>
                    <a:gd name="T1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" h="4">
                      <a:moveTo>
                        <a:pt x="6" y="4"/>
                      </a:moveTo>
                      <a:lnTo>
                        <a:pt x="0" y="3"/>
                      </a:lnTo>
                      <a:lnTo>
                        <a:pt x="4" y="1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5" y="3"/>
                      </a:lnTo>
                      <a:lnTo>
                        <a:pt x="10" y="3"/>
                      </a:lnTo>
                      <a:lnTo>
                        <a:pt x="8" y="3"/>
                      </a:lnTo>
                      <a:lnTo>
                        <a:pt x="6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9" name="Freeform 493">
                  <a:extLst>
                    <a:ext uri="{FF2B5EF4-FFF2-40B4-BE49-F238E27FC236}">
                      <a16:creationId xmlns:a16="http://schemas.microsoft.com/office/drawing/2014/main" id="{0CA40421-7430-449C-8A5B-A184D7E3F7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55896" y="6139914"/>
                  <a:ext cx="22385" cy="2653"/>
                </a:xfrm>
                <a:custGeom>
                  <a:avLst/>
                  <a:gdLst>
                    <a:gd name="T0" fmla="*/ 17 w 19"/>
                    <a:gd name="T1" fmla="*/ 2 h 2"/>
                    <a:gd name="T2" fmla="*/ 8 w 19"/>
                    <a:gd name="T3" fmla="*/ 2 h 2"/>
                    <a:gd name="T4" fmla="*/ 0 w 19"/>
                    <a:gd name="T5" fmla="*/ 0 h 2"/>
                    <a:gd name="T6" fmla="*/ 5 w 19"/>
                    <a:gd name="T7" fmla="*/ 0 h 2"/>
                    <a:gd name="T8" fmla="*/ 10 w 19"/>
                    <a:gd name="T9" fmla="*/ 0 h 2"/>
                    <a:gd name="T10" fmla="*/ 14 w 19"/>
                    <a:gd name="T11" fmla="*/ 1 h 2"/>
                    <a:gd name="T12" fmla="*/ 19 w 19"/>
                    <a:gd name="T13" fmla="*/ 1 h 2"/>
                    <a:gd name="T14" fmla="*/ 17 w 19"/>
                    <a:gd name="T1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9" h="2">
                      <a:moveTo>
                        <a:pt x="17" y="2"/>
                      </a:moveTo>
                      <a:lnTo>
                        <a:pt x="8" y="2"/>
                      </a:lnTo>
                      <a:lnTo>
                        <a:pt x="0" y="0"/>
                      </a:lnTo>
                      <a:lnTo>
                        <a:pt x="5" y="0"/>
                      </a:lnTo>
                      <a:lnTo>
                        <a:pt x="10" y="0"/>
                      </a:lnTo>
                      <a:lnTo>
                        <a:pt x="14" y="1"/>
                      </a:lnTo>
                      <a:lnTo>
                        <a:pt x="19" y="1"/>
                      </a:lnTo>
                      <a:lnTo>
                        <a:pt x="17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0" name="Freeform 494">
                  <a:extLst>
                    <a:ext uri="{FF2B5EF4-FFF2-40B4-BE49-F238E27FC236}">
                      <a16:creationId xmlns:a16="http://schemas.microsoft.com/office/drawing/2014/main" id="{4F741CED-3624-4761-91ED-84C1144E0A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4996" y="6158480"/>
                  <a:ext cx="11193" cy="2653"/>
                </a:xfrm>
                <a:custGeom>
                  <a:avLst/>
                  <a:gdLst>
                    <a:gd name="T0" fmla="*/ 8 w 8"/>
                    <a:gd name="T1" fmla="*/ 1 h 1"/>
                    <a:gd name="T2" fmla="*/ 0 w 8"/>
                    <a:gd name="T3" fmla="*/ 0 h 1"/>
                    <a:gd name="T4" fmla="*/ 5 w 8"/>
                    <a:gd name="T5" fmla="*/ 0 h 1"/>
                    <a:gd name="T6" fmla="*/ 8 w 8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" h="1">
                      <a:moveTo>
                        <a:pt x="8" y="1"/>
                      </a:moveTo>
                      <a:lnTo>
                        <a:pt x="0" y="0"/>
                      </a:lnTo>
                      <a:lnTo>
                        <a:pt x="5" y="0"/>
                      </a:lnTo>
                      <a:lnTo>
                        <a:pt x="8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1" name="Freeform 561">
                  <a:extLst>
                    <a:ext uri="{FF2B5EF4-FFF2-40B4-BE49-F238E27FC236}">
                      <a16:creationId xmlns:a16="http://schemas.microsoft.com/office/drawing/2014/main" id="{011C4976-A5F5-4D8E-97F4-B5E12EF0EF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6746" y="4665362"/>
                  <a:ext cx="11193" cy="2653"/>
                </a:xfrm>
                <a:custGeom>
                  <a:avLst/>
                  <a:gdLst>
                    <a:gd name="T0" fmla="*/ 0 w 11"/>
                    <a:gd name="T1" fmla="*/ 1 h 1"/>
                    <a:gd name="T2" fmla="*/ 6 w 11"/>
                    <a:gd name="T3" fmla="*/ 1 h 1"/>
                    <a:gd name="T4" fmla="*/ 11 w 11"/>
                    <a:gd name="T5" fmla="*/ 0 h 1"/>
                    <a:gd name="T6" fmla="*/ 6 w 11"/>
                    <a:gd name="T7" fmla="*/ 0 h 1"/>
                    <a:gd name="T8" fmla="*/ 0 w 11"/>
                    <a:gd name="T9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1">
                      <a:moveTo>
                        <a:pt x="0" y="1"/>
                      </a:moveTo>
                      <a:lnTo>
                        <a:pt x="6" y="1"/>
                      </a:lnTo>
                      <a:lnTo>
                        <a:pt x="11" y="0"/>
                      </a:lnTo>
                      <a:lnTo>
                        <a:pt x="6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2" name="Freeform 562">
                  <a:extLst>
                    <a:ext uri="{FF2B5EF4-FFF2-40B4-BE49-F238E27FC236}">
                      <a16:creationId xmlns:a16="http://schemas.microsoft.com/office/drawing/2014/main" id="{343F04E7-D001-4DCC-B5BA-235DDB88A8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65699" y="4652102"/>
                  <a:ext cx="13431" cy="7957"/>
                </a:xfrm>
                <a:custGeom>
                  <a:avLst/>
                  <a:gdLst>
                    <a:gd name="T0" fmla="*/ 6 w 12"/>
                    <a:gd name="T1" fmla="*/ 6 h 6"/>
                    <a:gd name="T2" fmla="*/ 10 w 12"/>
                    <a:gd name="T3" fmla="*/ 6 h 6"/>
                    <a:gd name="T4" fmla="*/ 12 w 12"/>
                    <a:gd name="T5" fmla="*/ 3 h 6"/>
                    <a:gd name="T6" fmla="*/ 6 w 12"/>
                    <a:gd name="T7" fmla="*/ 1 h 6"/>
                    <a:gd name="T8" fmla="*/ 4 w 12"/>
                    <a:gd name="T9" fmla="*/ 0 h 6"/>
                    <a:gd name="T10" fmla="*/ 0 w 12"/>
                    <a:gd name="T11" fmla="*/ 0 h 6"/>
                    <a:gd name="T12" fmla="*/ 1 w 12"/>
                    <a:gd name="T13" fmla="*/ 2 h 6"/>
                    <a:gd name="T14" fmla="*/ 2 w 12"/>
                    <a:gd name="T15" fmla="*/ 3 h 6"/>
                    <a:gd name="T16" fmla="*/ 6 w 12"/>
                    <a:gd name="T1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2" h="6">
                      <a:moveTo>
                        <a:pt x="6" y="6"/>
                      </a:moveTo>
                      <a:lnTo>
                        <a:pt x="10" y="6"/>
                      </a:lnTo>
                      <a:lnTo>
                        <a:pt x="12" y="3"/>
                      </a:lnTo>
                      <a:lnTo>
                        <a:pt x="6" y="1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1" y="2"/>
                      </a:lnTo>
                      <a:lnTo>
                        <a:pt x="2" y="3"/>
                      </a:lnTo>
                      <a:lnTo>
                        <a:pt x="6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3" name="Freeform 563">
                  <a:extLst>
                    <a:ext uri="{FF2B5EF4-FFF2-40B4-BE49-F238E27FC236}">
                      <a16:creationId xmlns:a16="http://schemas.microsoft.com/office/drawing/2014/main" id="{6541F8B9-0D3C-46F5-9A69-D72DC4675B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2562" y="4662711"/>
                  <a:ext cx="13431" cy="5304"/>
                </a:xfrm>
                <a:custGeom>
                  <a:avLst/>
                  <a:gdLst>
                    <a:gd name="T0" fmla="*/ 9 w 12"/>
                    <a:gd name="T1" fmla="*/ 4 h 4"/>
                    <a:gd name="T2" fmla="*/ 12 w 12"/>
                    <a:gd name="T3" fmla="*/ 3 h 4"/>
                    <a:gd name="T4" fmla="*/ 7 w 12"/>
                    <a:gd name="T5" fmla="*/ 0 h 4"/>
                    <a:gd name="T6" fmla="*/ 3 w 12"/>
                    <a:gd name="T7" fmla="*/ 0 h 4"/>
                    <a:gd name="T8" fmla="*/ 0 w 12"/>
                    <a:gd name="T9" fmla="*/ 1 h 4"/>
                    <a:gd name="T10" fmla="*/ 9 w 12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" h="4">
                      <a:moveTo>
                        <a:pt x="9" y="4"/>
                      </a:moveTo>
                      <a:lnTo>
                        <a:pt x="12" y="3"/>
                      </a:lnTo>
                      <a:lnTo>
                        <a:pt x="7" y="0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9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4" name="Freeform 564">
                  <a:extLst>
                    <a:ext uri="{FF2B5EF4-FFF2-40B4-BE49-F238E27FC236}">
                      <a16:creationId xmlns:a16="http://schemas.microsoft.com/office/drawing/2014/main" id="{8DA1B617-50CE-46FA-A1F3-60B61638BD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4802" y="4654754"/>
                  <a:ext cx="6716" cy="2653"/>
                </a:xfrm>
                <a:custGeom>
                  <a:avLst/>
                  <a:gdLst>
                    <a:gd name="T0" fmla="*/ 2 w 6"/>
                    <a:gd name="T1" fmla="*/ 2 h 2"/>
                    <a:gd name="T2" fmla="*/ 6 w 6"/>
                    <a:gd name="T3" fmla="*/ 2 h 2"/>
                    <a:gd name="T4" fmla="*/ 2 w 6"/>
                    <a:gd name="T5" fmla="*/ 0 h 2"/>
                    <a:gd name="T6" fmla="*/ 0 w 6"/>
                    <a:gd name="T7" fmla="*/ 0 h 2"/>
                    <a:gd name="T8" fmla="*/ 2 w 6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2">
                      <a:moveTo>
                        <a:pt x="2" y="2"/>
                      </a:moveTo>
                      <a:lnTo>
                        <a:pt x="6" y="2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5" name="Freeform 565">
                  <a:extLst>
                    <a:ext uri="{FF2B5EF4-FFF2-40B4-BE49-F238E27FC236}">
                      <a16:creationId xmlns:a16="http://schemas.microsoft.com/office/drawing/2014/main" id="{C7F9326F-84B4-4D06-8F42-7CA9E9979B0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5261" y="4774098"/>
                  <a:ext cx="8954" cy="5304"/>
                </a:xfrm>
                <a:custGeom>
                  <a:avLst/>
                  <a:gdLst>
                    <a:gd name="T0" fmla="*/ 6 w 6"/>
                    <a:gd name="T1" fmla="*/ 0 h 4"/>
                    <a:gd name="T2" fmla="*/ 2 w 6"/>
                    <a:gd name="T3" fmla="*/ 1 h 4"/>
                    <a:gd name="T4" fmla="*/ 0 w 6"/>
                    <a:gd name="T5" fmla="*/ 4 h 4"/>
                    <a:gd name="T6" fmla="*/ 6 w 6"/>
                    <a:gd name="T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4">
                      <a:moveTo>
                        <a:pt x="6" y="0"/>
                      </a:moveTo>
                      <a:lnTo>
                        <a:pt x="2" y="1"/>
                      </a:lnTo>
                      <a:lnTo>
                        <a:pt x="0" y="4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6" name="Freeform 566">
                  <a:extLst>
                    <a:ext uri="{FF2B5EF4-FFF2-40B4-BE49-F238E27FC236}">
                      <a16:creationId xmlns:a16="http://schemas.microsoft.com/office/drawing/2014/main" id="{68E2FE0E-88C3-4D96-95ED-056C58A686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23169" y="4768794"/>
                  <a:ext cx="8954" cy="2653"/>
                </a:xfrm>
                <a:custGeom>
                  <a:avLst/>
                  <a:gdLst>
                    <a:gd name="T0" fmla="*/ 6 w 6"/>
                    <a:gd name="T1" fmla="*/ 0 h 1"/>
                    <a:gd name="T2" fmla="*/ 4 w 6"/>
                    <a:gd name="T3" fmla="*/ 0 h 1"/>
                    <a:gd name="T4" fmla="*/ 0 w 6"/>
                    <a:gd name="T5" fmla="*/ 1 h 1"/>
                    <a:gd name="T6" fmla="*/ 4 w 6"/>
                    <a:gd name="T7" fmla="*/ 1 h 1"/>
                    <a:gd name="T8" fmla="*/ 6 w 6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1">
                      <a:moveTo>
                        <a:pt x="6" y="0"/>
                      </a:move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4" y="1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7" name="Freeform 567">
                  <a:extLst>
                    <a:ext uri="{FF2B5EF4-FFF2-40B4-BE49-F238E27FC236}">
                      <a16:creationId xmlns:a16="http://schemas.microsoft.com/office/drawing/2014/main" id="{6824F45D-24E1-4705-AA53-437FB5E443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25406" y="4774098"/>
                  <a:ext cx="2240" cy="0"/>
                </a:xfrm>
                <a:custGeom>
                  <a:avLst/>
                  <a:gdLst>
                    <a:gd name="T0" fmla="*/ 0 w 3"/>
                    <a:gd name="T1" fmla="*/ 1 h 1"/>
                    <a:gd name="T2" fmla="*/ 3 w 3"/>
                    <a:gd name="T3" fmla="*/ 0 h 1"/>
                    <a:gd name="T4" fmla="*/ 0 w 3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1">
                      <a:moveTo>
                        <a:pt x="0" y="1"/>
                      </a:moveTo>
                      <a:lnTo>
                        <a:pt x="3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8" name="Freeform 568">
                  <a:extLst>
                    <a:ext uri="{FF2B5EF4-FFF2-40B4-BE49-F238E27FC236}">
                      <a16:creationId xmlns:a16="http://schemas.microsoft.com/office/drawing/2014/main" id="{02A92819-25C7-464E-951E-D27A505DFE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27646" y="4776749"/>
                  <a:ext cx="22385" cy="5304"/>
                </a:xfrm>
                <a:custGeom>
                  <a:avLst/>
                  <a:gdLst>
                    <a:gd name="T0" fmla="*/ 8 w 20"/>
                    <a:gd name="T1" fmla="*/ 3 h 4"/>
                    <a:gd name="T2" fmla="*/ 20 w 20"/>
                    <a:gd name="T3" fmla="*/ 4 h 4"/>
                    <a:gd name="T4" fmla="*/ 16 w 20"/>
                    <a:gd name="T5" fmla="*/ 1 h 4"/>
                    <a:gd name="T6" fmla="*/ 11 w 20"/>
                    <a:gd name="T7" fmla="*/ 0 h 4"/>
                    <a:gd name="T8" fmla="*/ 5 w 20"/>
                    <a:gd name="T9" fmla="*/ 0 h 4"/>
                    <a:gd name="T10" fmla="*/ 0 w 20"/>
                    <a:gd name="T11" fmla="*/ 0 h 4"/>
                    <a:gd name="T12" fmla="*/ 8 w 20"/>
                    <a:gd name="T13" fmla="*/ 3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" h="4">
                      <a:moveTo>
                        <a:pt x="8" y="3"/>
                      </a:moveTo>
                      <a:lnTo>
                        <a:pt x="20" y="4"/>
                      </a:lnTo>
                      <a:lnTo>
                        <a:pt x="16" y="1"/>
                      </a:lnTo>
                      <a:lnTo>
                        <a:pt x="11" y="0"/>
                      </a:lnTo>
                      <a:lnTo>
                        <a:pt x="5" y="0"/>
                      </a:lnTo>
                      <a:lnTo>
                        <a:pt x="0" y="0"/>
                      </a:lnTo>
                      <a:lnTo>
                        <a:pt x="8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9" name="Freeform 569">
                  <a:extLst>
                    <a:ext uri="{FF2B5EF4-FFF2-40B4-BE49-F238E27FC236}">
                      <a16:creationId xmlns:a16="http://schemas.microsoft.com/office/drawing/2014/main" id="{2EC6BED9-F079-43B9-9A9B-4ACAD74DE1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2269" y="4747577"/>
                  <a:ext cx="8954" cy="5304"/>
                </a:xfrm>
                <a:custGeom>
                  <a:avLst/>
                  <a:gdLst>
                    <a:gd name="T0" fmla="*/ 6 w 8"/>
                    <a:gd name="T1" fmla="*/ 2 h 4"/>
                    <a:gd name="T2" fmla="*/ 8 w 8"/>
                    <a:gd name="T3" fmla="*/ 2 h 4"/>
                    <a:gd name="T4" fmla="*/ 8 w 8"/>
                    <a:gd name="T5" fmla="*/ 1 h 4"/>
                    <a:gd name="T6" fmla="*/ 8 w 8"/>
                    <a:gd name="T7" fmla="*/ 0 h 4"/>
                    <a:gd name="T8" fmla="*/ 6 w 8"/>
                    <a:gd name="T9" fmla="*/ 0 h 4"/>
                    <a:gd name="T10" fmla="*/ 3 w 8"/>
                    <a:gd name="T11" fmla="*/ 0 h 4"/>
                    <a:gd name="T12" fmla="*/ 0 w 8"/>
                    <a:gd name="T13" fmla="*/ 2 h 4"/>
                    <a:gd name="T14" fmla="*/ 3 w 8"/>
                    <a:gd name="T15" fmla="*/ 4 h 4"/>
                    <a:gd name="T16" fmla="*/ 8 w 8"/>
                    <a:gd name="T17" fmla="*/ 4 h 4"/>
                    <a:gd name="T18" fmla="*/ 6 w 8"/>
                    <a:gd name="T19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" h="4">
                      <a:moveTo>
                        <a:pt x="6" y="2"/>
                      </a:moveTo>
                      <a:lnTo>
                        <a:pt x="8" y="2"/>
                      </a:lnTo>
                      <a:lnTo>
                        <a:pt x="8" y="1"/>
                      </a:lnTo>
                      <a:lnTo>
                        <a:pt x="8" y="0"/>
                      </a:lnTo>
                      <a:lnTo>
                        <a:pt x="6" y="0"/>
                      </a:ln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3" y="4"/>
                      </a:lnTo>
                      <a:lnTo>
                        <a:pt x="8" y="4"/>
                      </a:lnTo>
                      <a:lnTo>
                        <a:pt x="6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0" name="Freeform 570">
                  <a:extLst>
                    <a:ext uri="{FF2B5EF4-FFF2-40B4-BE49-F238E27FC236}">
                      <a16:creationId xmlns:a16="http://schemas.microsoft.com/office/drawing/2014/main" id="{963572E5-6950-49C9-B778-FF24F1C7C2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4508" y="4763489"/>
                  <a:ext cx="4477" cy="2653"/>
                </a:xfrm>
                <a:custGeom>
                  <a:avLst/>
                  <a:gdLst>
                    <a:gd name="T0" fmla="*/ 4 w 4"/>
                    <a:gd name="T1" fmla="*/ 0 h 3"/>
                    <a:gd name="T2" fmla="*/ 0 w 4"/>
                    <a:gd name="T3" fmla="*/ 0 h 3"/>
                    <a:gd name="T4" fmla="*/ 4 w 4"/>
                    <a:gd name="T5" fmla="*/ 3 h 3"/>
                    <a:gd name="T6" fmla="*/ 4 w 4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4" y="3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1" name="Freeform 571">
                  <a:extLst>
                    <a:ext uri="{FF2B5EF4-FFF2-40B4-BE49-F238E27FC236}">
                      <a16:creationId xmlns:a16="http://schemas.microsoft.com/office/drawing/2014/main" id="{435FB646-C7D3-4DC0-811E-EE358DB60F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6746" y="4771445"/>
                  <a:ext cx="6716" cy="2653"/>
                </a:xfrm>
                <a:custGeom>
                  <a:avLst/>
                  <a:gdLst>
                    <a:gd name="T0" fmla="*/ 6 w 6"/>
                    <a:gd name="T1" fmla="*/ 0 h 3"/>
                    <a:gd name="T2" fmla="*/ 4 w 6"/>
                    <a:gd name="T3" fmla="*/ 1 h 3"/>
                    <a:gd name="T4" fmla="*/ 0 w 6"/>
                    <a:gd name="T5" fmla="*/ 3 h 3"/>
                    <a:gd name="T6" fmla="*/ 6 w 6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3">
                      <a:moveTo>
                        <a:pt x="6" y="0"/>
                      </a:moveTo>
                      <a:lnTo>
                        <a:pt x="4" y="1"/>
                      </a:lnTo>
                      <a:lnTo>
                        <a:pt x="0" y="3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2" name="Freeform 572">
                  <a:extLst>
                    <a:ext uri="{FF2B5EF4-FFF2-40B4-BE49-F238E27FC236}">
                      <a16:creationId xmlns:a16="http://schemas.microsoft.com/office/drawing/2014/main" id="{9D4BE8DE-3A54-4BEF-807B-2DFF0A1372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6746" y="4766140"/>
                  <a:ext cx="6716" cy="2653"/>
                </a:xfrm>
                <a:custGeom>
                  <a:avLst/>
                  <a:gdLst>
                    <a:gd name="T0" fmla="*/ 0 w 5"/>
                    <a:gd name="T1" fmla="*/ 2 h 2"/>
                    <a:gd name="T2" fmla="*/ 5 w 5"/>
                    <a:gd name="T3" fmla="*/ 1 h 2"/>
                    <a:gd name="T4" fmla="*/ 3 w 5"/>
                    <a:gd name="T5" fmla="*/ 0 h 2"/>
                    <a:gd name="T6" fmla="*/ 0 w 5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2">
                      <a:moveTo>
                        <a:pt x="0" y="2"/>
                      </a:moveTo>
                      <a:lnTo>
                        <a:pt x="5" y="1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3" name="Freeform 573">
                  <a:extLst>
                    <a:ext uri="{FF2B5EF4-FFF2-40B4-BE49-F238E27FC236}">
                      <a16:creationId xmlns:a16="http://schemas.microsoft.com/office/drawing/2014/main" id="{17E0200E-E0A9-4373-8A20-1D80A3A4F2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8985" y="4705144"/>
                  <a:ext cx="20148" cy="5304"/>
                </a:xfrm>
                <a:custGeom>
                  <a:avLst/>
                  <a:gdLst>
                    <a:gd name="T0" fmla="*/ 18 w 18"/>
                    <a:gd name="T1" fmla="*/ 3 h 5"/>
                    <a:gd name="T2" fmla="*/ 14 w 18"/>
                    <a:gd name="T3" fmla="*/ 0 h 5"/>
                    <a:gd name="T4" fmla="*/ 10 w 18"/>
                    <a:gd name="T5" fmla="*/ 0 h 5"/>
                    <a:gd name="T6" fmla="*/ 3 w 18"/>
                    <a:gd name="T7" fmla="*/ 3 h 5"/>
                    <a:gd name="T8" fmla="*/ 0 w 18"/>
                    <a:gd name="T9" fmla="*/ 4 h 5"/>
                    <a:gd name="T10" fmla="*/ 5 w 18"/>
                    <a:gd name="T11" fmla="*/ 5 h 5"/>
                    <a:gd name="T12" fmla="*/ 8 w 18"/>
                    <a:gd name="T13" fmla="*/ 4 h 5"/>
                    <a:gd name="T14" fmla="*/ 18 w 18"/>
                    <a:gd name="T15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8" h="5">
                      <a:moveTo>
                        <a:pt x="18" y="3"/>
                      </a:moveTo>
                      <a:lnTo>
                        <a:pt x="14" y="0"/>
                      </a:lnTo>
                      <a:lnTo>
                        <a:pt x="10" y="0"/>
                      </a:lnTo>
                      <a:lnTo>
                        <a:pt x="3" y="3"/>
                      </a:lnTo>
                      <a:lnTo>
                        <a:pt x="0" y="4"/>
                      </a:lnTo>
                      <a:lnTo>
                        <a:pt x="5" y="5"/>
                      </a:lnTo>
                      <a:lnTo>
                        <a:pt x="8" y="4"/>
                      </a:lnTo>
                      <a:lnTo>
                        <a:pt x="18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4" name="Freeform 574">
                  <a:extLst>
                    <a:ext uri="{FF2B5EF4-FFF2-40B4-BE49-F238E27FC236}">
                      <a16:creationId xmlns:a16="http://schemas.microsoft.com/office/drawing/2014/main" id="{D7B4410C-0DD8-45EB-97C8-9964AC4F79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0177" y="4779401"/>
                  <a:ext cx="15670" cy="7957"/>
                </a:xfrm>
                <a:custGeom>
                  <a:avLst/>
                  <a:gdLst>
                    <a:gd name="T0" fmla="*/ 13 w 13"/>
                    <a:gd name="T1" fmla="*/ 0 h 7"/>
                    <a:gd name="T2" fmla="*/ 10 w 13"/>
                    <a:gd name="T3" fmla="*/ 2 h 7"/>
                    <a:gd name="T4" fmla="*/ 6 w 13"/>
                    <a:gd name="T5" fmla="*/ 3 h 7"/>
                    <a:gd name="T6" fmla="*/ 0 w 13"/>
                    <a:gd name="T7" fmla="*/ 7 h 7"/>
                    <a:gd name="T8" fmla="*/ 5 w 13"/>
                    <a:gd name="T9" fmla="*/ 7 h 7"/>
                    <a:gd name="T10" fmla="*/ 8 w 13"/>
                    <a:gd name="T11" fmla="*/ 7 h 7"/>
                    <a:gd name="T12" fmla="*/ 12 w 13"/>
                    <a:gd name="T13" fmla="*/ 4 h 7"/>
                    <a:gd name="T14" fmla="*/ 13 w 13"/>
                    <a:gd name="T15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3" h="7">
                      <a:moveTo>
                        <a:pt x="13" y="0"/>
                      </a:moveTo>
                      <a:lnTo>
                        <a:pt x="10" y="2"/>
                      </a:lnTo>
                      <a:lnTo>
                        <a:pt x="6" y="3"/>
                      </a:lnTo>
                      <a:lnTo>
                        <a:pt x="0" y="7"/>
                      </a:lnTo>
                      <a:lnTo>
                        <a:pt x="5" y="7"/>
                      </a:lnTo>
                      <a:lnTo>
                        <a:pt x="8" y="7"/>
                      </a:lnTo>
                      <a:lnTo>
                        <a:pt x="12" y="4"/>
                      </a:lnTo>
                      <a:lnTo>
                        <a:pt x="1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5" name="Freeform 575">
                  <a:extLst>
                    <a:ext uri="{FF2B5EF4-FFF2-40B4-BE49-F238E27FC236}">
                      <a16:creationId xmlns:a16="http://schemas.microsoft.com/office/drawing/2014/main" id="{6D197569-3833-4771-B19D-B9DD4A3A14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2416" y="4752881"/>
                  <a:ext cx="6716" cy="5304"/>
                </a:xfrm>
                <a:custGeom>
                  <a:avLst/>
                  <a:gdLst>
                    <a:gd name="T0" fmla="*/ 6 w 6"/>
                    <a:gd name="T1" fmla="*/ 0 h 2"/>
                    <a:gd name="T2" fmla="*/ 4 w 6"/>
                    <a:gd name="T3" fmla="*/ 1 h 2"/>
                    <a:gd name="T4" fmla="*/ 0 w 6"/>
                    <a:gd name="T5" fmla="*/ 2 h 2"/>
                    <a:gd name="T6" fmla="*/ 6 w 6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2">
                      <a:moveTo>
                        <a:pt x="6" y="0"/>
                      </a:moveTo>
                      <a:lnTo>
                        <a:pt x="4" y="1"/>
                      </a:lnTo>
                      <a:lnTo>
                        <a:pt x="0" y="2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6" name="Freeform 576">
                  <a:extLst>
                    <a:ext uri="{FF2B5EF4-FFF2-40B4-BE49-F238E27FC236}">
                      <a16:creationId xmlns:a16="http://schemas.microsoft.com/office/drawing/2014/main" id="{CD169371-D273-4720-9F61-9A43AD6886E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81370" y="4750228"/>
                  <a:ext cx="4477" cy="2653"/>
                </a:xfrm>
                <a:custGeom>
                  <a:avLst/>
                  <a:gdLst>
                    <a:gd name="T0" fmla="*/ 2 w 2"/>
                    <a:gd name="T1" fmla="*/ 0 h 3"/>
                    <a:gd name="T2" fmla="*/ 0 w 2"/>
                    <a:gd name="T3" fmla="*/ 0 h 3"/>
                    <a:gd name="T4" fmla="*/ 0 w 2"/>
                    <a:gd name="T5" fmla="*/ 3 h 3"/>
                    <a:gd name="T6" fmla="*/ 2 w 2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7" name="Freeform 577">
                  <a:extLst>
                    <a:ext uri="{FF2B5EF4-FFF2-40B4-BE49-F238E27FC236}">
                      <a16:creationId xmlns:a16="http://schemas.microsoft.com/office/drawing/2014/main" id="{1C8B81E2-6DE8-4DEF-AA7D-00FC0AAB058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88085" y="4736969"/>
                  <a:ext cx="11193" cy="7957"/>
                </a:xfrm>
                <a:custGeom>
                  <a:avLst/>
                  <a:gdLst>
                    <a:gd name="T0" fmla="*/ 7 w 8"/>
                    <a:gd name="T1" fmla="*/ 0 h 5"/>
                    <a:gd name="T2" fmla="*/ 2 w 8"/>
                    <a:gd name="T3" fmla="*/ 1 h 5"/>
                    <a:gd name="T4" fmla="*/ 1 w 8"/>
                    <a:gd name="T5" fmla="*/ 2 h 5"/>
                    <a:gd name="T6" fmla="*/ 0 w 8"/>
                    <a:gd name="T7" fmla="*/ 5 h 5"/>
                    <a:gd name="T8" fmla="*/ 5 w 8"/>
                    <a:gd name="T9" fmla="*/ 3 h 5"/>
                    <a:gd name="T10" fmla="*/ 8 w 8"/>
                    <a:gd name="T11" fmla="*/ 2 h 5"/>
                    <a:gd name="T12" fmla="*/ 7 w 8"/>
                    <a:gd name="T13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5">
                      <a:moveTo>
                        <a:pt x="7" y="0"/>
                      </a:moveTo>
                      <a:lnTo>
                        <a:pt x="2" y="1"/>
                      </a:lnTo>
                      <a:lnTo>
                        <a:pt x="1" y="2"/>
                      </a:lnTo>
                      <a:lnTo>
                        <a:pt x="0" y="5"/>
                      </a:lnTo>
                      <a:lnTo>
                        <a:pt x="5" y="3"/>
                      </a:lnTo>
                      <a:lnTo>
                        <a:pt x="8" y="2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8" name="Freeform 578">
                  <a:extLst>
                    <a:ext uri="{FF2B5EF4-FFF2-40B4-BE49-F238E27FC236}">
                      <a16:creationId xmlns:a16="http://schemas.microsoft.com/office/drawing/2014/main" id="{A4DA731C-CE56-4860-84CB-5957201722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5261" y="4829791"/>
                  <a:ext cx="11193" cy="0"/>
                </a:xfrm>
                <a:custGeom>
                  <a:avLst/>
                  <a:gdLst>
                    <a:gd name="T0" fmla="*/ 9 w 9"/>
                    <a:gd name="T1" fmla="*/ 2 h 2"/>
                    <a:gd name="T2" fmla="*/ 5 w 9"/>
                    <a:gd name="T3" fmla="*/ 0 h 2"/>
                    <a:gd name="T4" fmla="*/ 0 w 9"/>
                    <a:gd name="T5" fmla="*/ 2 h 2"/>
                    <a:gd name="T6" fmla="*/ 2 w 9"/>
                    <a:gd name="T7" fmla="*/ 2 h 2"/>
                    <a:gd name="T8" fmla="*/ 4 w 9"/>
                    <a:gd name="T9" fmla="*/ 2 h 2"/>
                    <a:gd name="T10" fmla="*/ 9 w 9"/>
                    <a:gd name="T1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2">
                      <a:moveTo>
                        <a:pt x="9" y="2"/>
                      </a:moveTo>
                      <a:lnTo>
                        <a:pt x="5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4" y="2"/>
                      </a:lnTo>
                      <a:lnTo>
                        <a:pt x="9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9" name="Freeform 579">
                  <a:extLst>
                    <a:ext uri="{FF2B5EF4-FFF2-40B4-BE49-F238E27FC236}">
                      <a16:creationId xmlns:a16="http://schemas.microsoft.com/office/drawing/2014/main" id="{D15DF8C2-7C85-4F95-A1F6-355ED38283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66473" y="4949135"/>
                  <a:ext cx="13431" cy="2653"/>
                </a:xfrm>
                <a:custGeom>
                  <a:avLst/>
                  <a:gdLst>
                    <a:gd name="T0" fmla="*/ 11 w 11"/>
                    <a:gd name="T1" fmla="*/ 0 h 3"/>
                    <a:gd name="T2" fmla="*/ 6 w 11"/>
                    <a:gd name="T3" fmla="*/ 0 h 3"/>
                    <a:gd name="T4" fmla="*/ 0 w 11"/>
                    <a:gd name="T5" fmla="*/ 1 h 3"/>
                    <a:gd name="T6" fmla="*/ 6 w 11"/>
                    <a:gd name="T7" fmla="*/ 3 h 3"/>
                    <a:gd name="T8" fmla="*/ 8 w 11"/>
                    <a:gd name="T9" fmla="*/ 1 h 3"/>
                    <a:gd name="T10" fmla="*/ 11 w 11"/>
                    <a:gd name="T11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" h="3">
                      <a:moveTo>
                        <a:pt x="11" y="0"/>
                      </a:moveTo>
                      <a:lnTo>
                        <a:pt x="6" y="0"/>
                      </a:lnTo>
                      <a:lnTo>
                        <a:pt x="0" y="1"/>
                      </a:lnTo>
                      <a:lnTo>
                        <a:pt x="6" y="3"/>
                      </a:lnTo>
                      <a:lnTo>
                        <a:pt x="8" y="1"/>
                      </a:lnTo>
                      <a:lnTo>
                        <a:pt x="1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0" name="Freeform 580">
                  <a:extLst>
                    <a:ext uri="{FF2B5EF4-FFF2-40B4-BE49-F238E27FC236}">
                      <a16:creationId xmlns:a16="http://schemas.microsoft.com/office/drawing/2014/main" id="{212A6FF6-B2F8-4BD9-9A30-64E0DDFF2A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73187" y="4927918"/>
                  <a:ext cx="44770" cy="7957"/>
                </a:xfrm>
                <a:custGeom>
                  <a:avLst/>
                  <a:gdLst>
                    <a:gd name="T0" fmla="*/ 5 w 38"/>
                    <a:gd name="T1" fmla="*/ 5 h 8"/>
                    <a:gd name="T2" fmla="*/ 13 w 38"/>
                    <a:gd name="T3" fmla="*/ 5 h 8"/>
                    <a:gd name="T4" fmla="*/ 22 w 38"/>
                    <a:gd name="T5" fmla="*/ 6 h 8"/>
                    <a:gd name="T6" fmla="*/ 31 w 38"/>
                    <a:gd name="T7" fmla="*/ 8 h 8"/>
                    <a:gd name="T8" fmla="*/ 38 w 38"/>
                    <a:gd name="T9" fmla="*/ 6 h 8"/>
                    <a:gd name="T10" fmla="*/ 29 w 38"/>
                    <a:gd name="T11" fmla="*/ 4 h 8"/>
                    <a:gd name="T12" fmla="*/ 18 w 38"/>
                    <a:gd name="T13" fmla="*/ 1 h 8"/>
                    <a:gd name="T14" fmla="*/ 9 w 38"/>
                    <a:gd name="T15" fmla="*/ 0 h 8"/>
                    <a:gd name="T16" fmla="*/ 4 w 38"/>
                    <a:gd name="T17" fmla="*/ 3 h 8"/>
                    <a:gd name="T18" fmla="*/ 0 w 38"/>
                    <a:gd name="T19" fmla="*/ 5 h 8"/>
                    <a:gd name="T20" fmla="*/ 5 w 38"/>
                    <a:gd name="T21" fmla="*/ 5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8" h="8">
                      <a:moveTo>
                        <a:pt x="5" y="5"/>
                      </a:moveTo>
                      <a:lnTo>
                        <a:pt x="13" y="5"/>
                      </a:lnTo>
                      <a:lnTo>
                        <a:pt x="22" y="6"/>
                      </a:lnTo>
                      <a:lnTo>
                        <a:pt x="31" y="8"/>
                      </a:lnTo>
                      <a:lnTo>
                        <a:pt x="38" y="6"/>
                      </a:lnTo>
                      <a:lnTo>
                        <a:pt x="29" y="4"/>
                      </a:lnTo>
                      <a:lnTo>
                        <a:pt x="18" y="1"/>
                      </a:lnTo>
                      <a:lnTo>
                        <a:pt x="9" y="0"/>
                      </a:lnTo>
                      <a:lnTo>
                        <a:pt x="4" y="3"/>
                      </a:lnTo>
                      <a:lnTo>
                        <a:pt x="0" y="5"/>
                      </a:lnTo>
                      <a:lnTo>
                        <a:pt x="5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1" name="Freeform 581">
                  <a:extLst>
                    <a:ext uri="{FF2B5EF4-FFF2-40B4-BE49-F238E27FC236}">
                      <a16:creationId xmlns:a16="http://schemas.microsoft.com/office/drawing/2014/main" id="{B59A1A83-04C0-4A6F-BE68-B2D3284329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88858" y="4941178"/>
                  <a:ext cx="55963" cy="13261"/>
                </a:xfrm>
                <a:custGeom>
                  <a:avLst/>
                  <a:gdLst>
                    <a:gd name="T0" fmla="*/ 51 w 51"/>
                    <a:gd name="T1" fmla="*/ 6 h 11"/>
                    <a:gd name="T2" fmla="*/ 47 w 51"/>
                    <a:gd name="T3" fmla="*/ 4 h 11"/>
                    <a:gd name="T4" fmla="*/ 41 w 51"/>
                    <a:gd name="T5" fmla="*/ 3 h 11"/>
                    <a:gd name="T6" fmla="*/ 25 w 51"/>
                    <a:gd name="T7" fmla="*/ 0 h 11"/>
                    <a:gd name="T8" fmla="*/ 17 w 51"/>
                    <a:gd name="T9" fmla="*/ 0 h 11"/>
                    <a:gd name="T10" fmla="*/ 10 w 51"/>
                    <a:gd name="T11" fmla="*/ 1 h 11"/>
                    <a:gd name="T12" fmla="*/ 4 w 51"/>
                    <a:gd name="T13" fmla="*/ 3 h 11"/>
                    <a:gd name="T14" fmla="*/ 0 w 51"/>
                    <a:gd name="T15" fmla="*/ 6 h 11"/>
                    <a:gd name="T16" fmla="*/ 6 w 51"/>
                    <a:gd name="T17" fmla="*/ 5 h 11"/>
                    <a:gd name="T18" fmla="*/ 14 w 51"/>
                    <a:gd name="T19" fmla="*/ 5 h 11"/>
                    <a:gd name="T20" fmla="*/ 21 w 51"/>
                    <a:gd name="T21" fmla="*/ 6 h 11"/>
                    <a:gd name="T22" fmla="*/ 27 w 51"/>
                    <a:gd name="T23" fmla="*/ 7 h 11"/>
                    <a:gd name="T24" fmla="*/ 31 w 51"/>
                    <a:gd name="T25" fmla="*/ 10 h 11"/>
                    <a:gd name="T26" fmla="*/ 33 w 51"/>
                    <a:gd name="T27" fmla="*/ 11 h 11"/>
                    <a:gd name="T28" fmla="*/ 36 w 51"/>
                    <a:gd name="T29" fmla="*/ 11 h 11"/>
                    <a:gd name="T30" fmla="*/ 42 w 51"/>
                    <a:gd name="T31" fmla="*/ 11 h 11"/>
                    <a:gd name="T32" fmla="*/ 49 w 51"/>
                    <a:gd name="T33" fmla="*/ 11 h 11"/>
                    <a:gd name="T34" fmla="*/ 48 w 51"/>
                    <a:gd name="T35" fmla="*/ 9 h 11"/>
                    <a:gd name="T36" fmla="*/ 44 w 51"/>
                    <a:gd name="T37" fmla="*/ 9 h 11"/>
                    <a:gd name="T38" fmla="*/ 51 w 51"/>
                    <a:gd name="T39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51" h="11">
                      <a:moveTo>
                        <a:pt x="51" y="6"/>
                      </a:moveTo>
                      <a:lnTo>
                        <a:pt x="47" y="4"/>
                      </a:lnTo>
                      <a:lnTo>
                        <a:pt x="41" y="3"/>
                      </a:lnTo>
                      <a:lnTo>
                        <a:pt x="25" y="0"/>
                      </a:lnTo>
                      <a:lnTo>
                        <a:pt x="17" y="0"/>
                      </a:lnTo>
                      <a:lnTo>
                        <a:pt x="10" y="1"/>
                      </a:lnTo>
                      <a:lnTo>
                        <a:pt x="4" y="3"/>
                      </a:lnTo>
                      <a:lnTo>
                        <a:pt x="0" y="6"/>
                      </a:lnTo>
                      <a:lnTo>
                        <a:pt x="6" y="5"/>
                      </a:lnTo>
                      <a:lnTo>
                        <a:pt x="14" y="5"/>
                      </a:lnTo>
                      <a:lnTo>
                        <a:pt x="21" y="6"/>
                      </a:lnTo>
                      <a:lnTo>
                        <a:pt x="27" y="7"/>
                      </a:lnTo>
                      <a:lnTo>
                        <a:pt x="31" y="10"/>
                      </a:lnTo>
                      <a:lnTo>
                        <a:pt x="33" y="11"/>
                      </a:lnTo>
                      <a:lnTo>
                        <a:pt x="36" y="11"/>
                      </a:lnTo>
                      <a:lnTo>
                        <a:pt x="42" y="11"/>
                      </a:lnTo>
                      <a:lnTo>
                        <a:pt x="49" y="11"/>
                      </a:lnTo>
                      <a:lnTo>
                        <a:pt x="48" y="9"/>
                      </a:lnTo>
                      <a:lnTo>
                        <a:pt x="44" y="9"/>
                      </a:lnTo>
                      <a:lnTo>
                        <a:pt x="51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2" name="Freeform 582">
                  <a:extLst>
                    <a:ext uri="{FF2B5EF4-FFF2-40B4-BE49-F238E27FC236}">
                      <a16:creationId xmlns:a16="http://schemas.microsoft.com/office/drawing/2014/main" id="{9A000AC6-37EA-4DE2-9F10-148EB239E5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58251" y="4893440"/>
                  <a:ext cx="38056" cy="13261"/>
                </a:xfrm>
                <a:custGeom>
                  <a:avLst/>
                  <a:gdLst>
                    <a:gd name="T0" fmla="*/ 20 w 34"/>
                    <a:gd name="T1" fmla="*/ 0 h 8"/>
                    <a:gd name="T2" fmla="*/ 18 w 34"/>
                    <a:gd name="T3" fmla="*/ 0 h 8"/>
                    <a:gd name="T4" fmla="*/ 16 w 34"/>
                    <a:gd name="T5" fmla="*/ 0 h 8"/>
                    <a:gd name="T6" fmla="*/ 7 w 34"/>
                    <a:gd name="T7" fmla="*/ 1 h 8"/>
                    <a:gd name="T8" fmla="*/ 5 w 34"/>
                    <a:gd name="T9" fmla="*/ 2 h 8"/>
                    <a:gd name="T10" fmla="*/ 1 w 34"/>
                    <a:gd name="T11" fmla="*/ 3 h 8"/>
                    <a:gd name="T12" fmla="*/ 0 w 34"/>
                    <a:gd name="T13" fmla="*/ 5 h 8"/>
                    <a:gd name="T14" fmla="*/ 1 w 34"/>
                    <a:gd name="T15" fmla="*/ 6 h 8"/>
                    <a:gd name="T16" fmla="*/ 9 w 34"/>
                    <a:gd name="T17" fmla="*/ 8 h 8"/>
                    <a:gd name="T18" fmla="*/ 17 w 34"/>
                    <a:gd name="T19" fmla="*/ 8 h 8"/>
                    <a:gd name="T20" fmla="*/ 26 w 34"/>
                    <a:gd name="T21" fmla="*/ 8 h 8"/>
                    <a:gd name="T22" fmla="*/ 34 w 34"/>
                    <a:gd name="T23" fmla="*/ 6 h 8"/>
                    <a:gd name="T24" fmla="*/ 31 w 34"/>
                    <a:gd name="T25" fmla="*/ 3 h 8"/>
                    <a:gd name="T26" fmla="*/ 27 w 34"/>
                    <a:gd name="T27" fmla="*/ 1 h 8"/>
                    <a:gd name="T28" fmla="*/ 23 w 34"/>
                    <a:gd name="T29" fmla="*/ 0 h 8"/>
                    <a:gd name="T30" fmla="*/ 20 w 34"/>
                    <a:gd name="T31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4" h="8">
                      <a:moveTo>
                        <a:pt x="20" y="0"/>
                      </a:moveTo>
                      <a:lnTo>
                        <a:pt x="18" y="0"/>
                      </a:lnTo>
                      <a:lnTo>
                        <a:pt x="16" y="0"/>
                      </a:lnTo>
                      <a:lnTo>
                        <a:pt x="7" y="1"/>
                      </a:lnTo>
                      <a:lnTo>
                        <a:pt x="5" y="2"/>
                      </a:lnTo>
                      <a:lnTo>
                        <a:pt x="1" y="3"/>
                      </a:lnTo>
                      <a:lnTo>
                        <a:pt x="0" y="5"/>
                      </a:lnTo>
                      <a:lnTo>
                        <a:pt x="1" y="6"/>
                      </a:lnTo>
                      <a:lnTo>
                        <a:pt x="9" y="8"/>
                      </a:lnTo>
                      <a:lnTo>
                        <a:pt x="17" y="8"/>
                      </a:lnTo>
                      <a:lnTo>
                        <a:pt x="26" y="8"/>
                      </a:lnTo>
                      <a:lnTo>
                        <a:pt x="34" y="6"/>
                      </a:lnTo>
                      <a:lnTo>
                        <a:pt x="31" y="3"/>
                      </a:lnTo>
                      <a:lnTo>
                        <a:pt x="27" y="1"/>
                      </a:lnTo>
                      <a:lnTo>
                        <a:pt x="23" y="0"/>
                      </a:lnTo>
                      <a:lnTo>
                        <a:pt x="2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3" name="Freeform 583">
                  <a:extLst>
                    <a:ext uri="{FF2B5EF4-FFF2-40B4-BE49-F238E27FC236}">
                      <a16:creationId xmlns:a16="http://schemas.microsoft.com/office/drawing/2014/main" id="{91E3F9D6-C079-453D-9295-005C9F937F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89591" y="4819182"/>
                  <a:ext cx="8954" cy="2653"/>
                </a:xfrm>
                <a:custGeom>
                  <a:avLst/>
                  <a:gdLst>
                    <a:gd name="T0" fmla="*/ 6 w 9"/>
                    <a:gd name="T1" fmla="*/ 3 h 3"/>
                    <a:gd name="T2" fmla="*/ 9 w 9"/>
                    <a:gd name="T3" fmla="*/ 0 h 3"/>
                    <a:gd name="T4" fmla="*/ 5 w 9"/>
                    <a:gd name="T5" fmla="*/ 0 h 3"/>
                    <a:gd name="T6" fmla="*/ 0 w 9"/>
                    <a:gd name="T7" fmla="*/ 3 h 3"/>
                    <a:gd name="T8" fmla="*/ 6 w 9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3">
                      <a:moveTo>
                        <a:pt x="6" y="3"/>
                      </a:moveTo>
                      <a:lnTo>
                        <a:pt x="9" y="0"/>
                      </a:lnTo>
                      <a:lnTo>
                        <a:pt x="5" y="0"/>
                      </a:lnTo>
                      <a:lnTo>
                        <a:pt x="0" y="3"/>
                      </a:lnTo>
                      <a:lnTo>
                        <a:pt x="6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4" name="Freeform 584">
                  <a:extLst>
                    <a:ext uri="{FF2B5EF4-FFF2-40B4-BE49-F238E27FC236}">
                      <a16:creationId xmlns:a16="http://schemas.microsoft.com/office/drawing/2014/main" id="{A33AAF79-D859-47E9-BC68-12C27E83CC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91830" y="4872223"/>
                  <a:ext cx="17908" cy="13261"/>
                </a:xfrm>
                <a:custGeom>
                  <a:avLst/>
                  <a:gdLst>
                    <a:gd name="T0" fmla="*/ 13 w 18"/>
                    <a:gd name="T1" fmla="*/ 8 h 8"/>
                    <a:gd name="T2" fmla="*/ 18 w 18"/>
                    <a:gd name="T3" fmla="*/ 5 h 8"/>
                    <a:gd name="T4" fmla="*/ 15 w 18"/>
                    <a:gd name="T5" fmla="*/ 3 h 8"/>
                    <a:gd name="T6" fmla="*/ 12 w 18"/>
                    <a:gd name="T7" fmla="*/ 3 h 8"/>
                    <a:gd name="T8" fmla="*/ 15 w 18"/>
                    <a:gd name="T9" fmla="*/ 1 h 8"/>
                    <a:gd name="T10" fmla="*/ 10 w 18"/>
                    <a:gd name="T11" fmla="*/ 0 h 8"/>
                    <a:gd name="T12" fmla="*/ 5 w 18"/>
                    <a:gd name="T13" fmla="*/ 0 h 8"/>
                    <a:gd name="T14" fmla="*/ 3 w 18"/>
                    <a:gd name="T15" fmla="*/ 3 h 8"/>
                    <a:gd name="T16" fmla="*/ 0 w 18"/>
                    <a:gd name="T17" fmla="*/ 6 h 8"/>
                    <a:gd name="T18" fmla="*/ 5 w 18"/>
                    <a:gd name="T19" fmla="*/ 8 h 8"/>
                    <a:gd name="T20" fmla="*/ 9 w 18"/>
                    <a:gd name="T21" fmla="*/ 8 h 8"/>
                    <a:gd name="T22" fmla="*/ 13 w 18"/>
                    <a:gd name="T2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8" h="8">
                      <a:moveTo>
                        <a:pt x="13" y="8"/>
                      </a:moveTo>
                      <a:lnTo>
                        <a:pt x="18" y="5"/>
                      </a:lnTo>
                      <a:lnTo>
                        <a:pt x="15" y="3"/>
                      </a:lnTo>
                      <a:lnTo>
                        <a:pt x="12" y="3"/>
                      </a:lnTo>
                      <a:lnTo>
                        <a:pt x="15" y="1"/>
                      </a:lnTo>
                      <a:lnTo>
                        <a:pt x="10" y="0"/>
                      </a:lnTo>
                      <a:lnTo>
                        <a:pt x="5" y="0"/>
                      </a:lnTo>
                      <a:lnTo>
                        <a:pt x="3" y="3"/>
                      </a:lnTo>
                      <a:lnTo>
                        <a:pt x="0" y="6"/>
                      </a:lnTo>
                      <a:lnTo>
                        <a:pt x="5" y="8"/>
                      </a:lnTo>
                      <a:lnTo>
                        <a:pt x="9" y="8"/>
                      </a:lnTo>
                      <a:lnTo>
                        <a:pt x="13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5" name="Freeform 585">
                  <a:extLst>
                    <a:ext uri="{FF2B5EF4-FFF2-40B4-BE49-F238E27FC236}">
                      <a16:creationId xmlns:a16="http://schemas.microsoft.com/office/drawing/2014/main" id="{15C62E83-1BE8-410B-9C7C-414818AA5A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96306" y="4824486"/>
                  <a:ext cx="8954" cy="2653"/>
                </a:xfrm>
                <a:custGeom>
                  <a:avLst/>
                  <a:gdLst>
                    <a:gd name="T0" fmla="*/ 9 w 9"/>
                    <a:gd name="T1" fmla="*/ 0 h 2"/>
                    <a:gd name="T2" fmla="*/ 4 w 9"/>
                    <a:gd name="T3" fmla="*/ 1 h 2"/>
                    <a:gd name="T4" fmla="*/ 0 w 9"/>
                    <a:gd name="T5" fmla="*/ 1 h 2"/>
                    <a:gd name="T6" fmla="*/ 5 w 9"/>
                    <a:gd name="T7" fmla="*/ 2 h 2"/>
                    <a:gd name="T8" fmla="*/ 8 w 9"/>
                    <a:gd name="T9" fmla="*/ 2 h 2"/>
                    <a:gd name="T10" fmla="*/ 9 w 9"/>
                    <a:gd name="T1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2">
                      <a:moveTo>
                        <a:pt x="9" y="0"/>
                      </a:moveTo>
                      <a:lnTo>
                        <a:pt x="4" y="1"/>
                      </a:lnTo>
                      <a:lnTo>
                        <a:pt x="0" y="1"/>
                      </a:lnTo>
                      <a:lnTo>
                        <a:pt x="5" y="2"/>
                      </a:lnTo>
                      <a:lnTo>
                        <a:pt x="8" y="2"/>
                      </a:lnTo>
                      <a:lnTo>
                        <a:pt x="9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6" name="Freeform 586">
                  <a:extLst>
                    <a:ext uri="{FF2B5EF4-FFF2-40B4-BE49-F238E27FC236}">
                      <a16:creationId xmlns:a16="http://schemas.microsoft.com/office/drawing/2014/main" id="{AEAA7D26-4498-4308-A083-4A41849442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3021" y="4821835"/>
                  <a:ext cx="4477" cy="2653"/>
                </a:xfrm>
                <a:custGeom>
                  <a:avLst/>
                  <a:gdLst>
                    <a:gd name="T0" fmla="*/ 5 w 5"/>
                    <a:gd name="T1" fmla="*/ 0 h 1"/>
                    <a:gd name="T2" fmla="*/ 3 w 5"/>
                    <a:gd name="T3" fmla="*/ 0 h 1"/>
                    <a:gd name="T4" fmla="*/ 0 w 5"/>
                    <a:gd name="T5" fmla="*/ 1 h 1"/>
                    <a:gd name="T6" fmla="*/ 5 w 5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5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7" name="Freeform 587">
                  <a:extLst>
                    <a:ext uri="{FF2B5EF4-FFF2-40B4-BE49-F238E27FC236}">
                      <a16:creationId xmlns:a16="http://schemas.microsoft.com/office/drawing/2014/main" id="{56743FE2-52C5-4A68-869E-397C4ED637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7498" y="4827140"/>
                  <a:ext cx="8954" cy="2653"/>
                </a:xfrm>
                <a:custGeom>
                  <a:avLst/>
                  <a:gdLst>
                    <a:gd name="T0" fmla="*/ 9 w 9"/>
                    <a:gd name="T1" fmla="*/ 0 h 1"/>
                    <a:gd name="T2" fmla="*/ 4 w 9"/>
                    <a:gd name="T3" fmla="*/ 0 h 1"/>
                    <a:gd name="T4" fmla="*/ 0 w 9"/>
                    <a:gd name="T5" fmla="*/ 1 h 1"/>
                    <a:gd name="T6" fmla="*/ 4 w 9"/>
                    <a:gd name="T7" fmla="*/ 1 h 1"/>
                    <a:gd name="T8" fmla="*/ 9 w 9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1">
                      <a:moveTo>
                        <a:pt x="9" y="0"/>
                      </a:move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4" y="1"/>
                      </a:lnTo>
                      <a:lnTo>
                        <a:pt x="9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8" name="Freeform 588">
                  <a:extLst>
                    <a:ext uri="{FF2B5EF4-FFF2-40B4-BE49-F238E27FC236}">
                      <a16:creationId xmlns:a16="http://schemas.microsoft.com/office/drawing/2014/main" id="{20FF44FD-F545-4146-B165-D5E079B679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23169" y="4885484"/>
                  <a:ext cx="8954" cy="5304"/>
                </a:xfrm>
                <a:custGeom>
                  <a:avLst/>
                  <a:gdLst>
                    <a:gd name="T0" fmla="*/ 8 w 8"/>
                    <a:gd name="T1" fmla="*/ 1 h 3"/>
                    <a:gd name="T2" fmla="*/ 6 w 8"/>
                    <a:gd name="T3" fmla="*/ 0 h 3"/>
                    <a:gd name="T4" fmla="*/ 3 w 8"/>
                    <a:gd name="T5" fmla="*/ 0 h 3"/>
                    <a:gd name="T6" fmla="*/ 0 w 8"/>
                    <a:gd name="T7" fmla="*/ 1 h 3"/>
                    <a:gd name="T8" fmla="*/ 3 w 8"/>
                    <a:gd name="T9" fmla="*/ 3 h 3"/>
                    <a:gd name="T10" fmla="*/ 8 w 8"/>
                    <a:gd name="T11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" h="3">
                      <a:moveTo>
                        <a:pt x="8" y="1"/>
                      </a:moveTo>
                      <a:lnTo>
                        <a:pt x="6" y="0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3" y="3"/>
                      </a:lnTo>
                      <a:lnTo>
                        <a:pt x="8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9" name="Freeform 589">
                  <a:extLst>
                    <a:ext uri="{FF2B5EF4-FFF2-40B4-BE49-F238E27FC236}">
                      <a16:creationId xmlns:a16="http://schemas.microsoft.com/office/drawing/2014/main" id="{A1274989-9B7C-4DF0-9643-0C26C902D0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32123" y="4861616"/>
                  <a:ext cx="35816" cy="13261"/>
                </a:xfrm>
                <a:custGeom>
                  <a:avLst/>
                  <a:gdLst>
                    <a:gd name="T0" fmla="*/ 21 w 32"/>
                    <a:gd name="T1" fmla="*/ 0 h 10"/>
                    <a:gd name="T2" fmla="*/ 19 w 32"/>
                    <a:gd name="T3" fmla="*/ 1 h 10"/>
                    <a:gd name="T4" fmla="*/ 16 w 32"/>
                    <a:gd name="T5" fmla="*/ 3 h 10"/>
                    <a:gd name="T6" fmla="*/ 13 w 32"/>
                    <a:gd name="T7" fmla="*/ 1 h 10"/>
                    <a:gd name="T8" fmla="*/ 9 w 32"/>
                    <a:gd name="T9" fmla="*/ 0 h 10"/>
                    <a:gd name="T10" fmla="*/ 3 w 32"/>
                    <a:gd name="T11" fmla="*/ 4 h 10"/>
                    <a:gd name="T12" fmla="*/ 2 w 32"/>
                    <a:gd name="T13" fmla="*/ 6 h 10"/>
                    <a:gd name="T14" fmla="*/ 0 w 32"/>
                    <a:gd name="T15" fmla="*/ 10 h 10"/>
                    <a:gd name="T16" fmla="*/ 10 w 32"/>
                    <a:gd name="T17" fmla="*/ 9 h 10"/>
                    <a:gd name="T18" fmla="*/ 20 w 32"/>
                    <a:gd name="T19" fmla="*/ 10 h 10"/>
                    <a:gd name="T20" fmla="*/ 27 w 32"/>
                    <a:gd name="T21" fmla="*/ 10 h 10"/>
                    <a:gd name="T22" fmla="*/ 30 w 32"/>
                    <a:gd name="T23" fmla="*/ 10 h 10"/>
                    <a:gd name="T24" fmla="*/ 32 w 32"/>
                    <a:gd name="T25" fmla="*/ 6 h 10"/>
                    <a:gd name="T26" fmla="*/ 29 w 32"/>
                    <a:gd name="T27" fmla="*/ 6 h 10"/>
                    <a:gd name="T28" fmla="*/ 25 w 32"/>
                    <a:gd name="T29" fmla="*/ 7 h 10"/>
                    <a:gd name="T30" fmla="*/ 21 w 32"/>
                    <a:gd name="T31" fmla="*/ 7 h 10"/>
                    <a:gd name="T32" fmla="*/ 18 w 32"/>
                    <a:gd name="T33" fmla="*/ 5 h 10"/>
                    <a:gd name="T34" fmla="*/ 24 w 32"/>
                    <a:gd name="T35" fmla="*/ 3 h 10"/>
                    <a:gd name="T36" fmla="*/ 21 w 32"/>
                    <a:gd name="T37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2" h="10">
                      <a:moveTo>
                        <a:pt x="21" y="0"/>
                      </a:moveTo>
                      <a:lnTo>
                        <a:pt x="19" y="1"/>
                      </a:lnTo>
                      <a:lnTo>
                        <a:pt x="16" y="3"/>
                      </a:lnTo>
                      <a:lnTo>
                        <a:pt x="13" y="1"/>
                      </a:lnTo>
                      <a:lnTo>
                        <a:pt x="9" y="0"/>
                      </a:lnTo>
                      <a:lnTo>
                        <a:pt x="3" y="4"/>
                      </a:lnTo>
                      <a:lnTo>
                        <a:pt x="2" y="6"/>
                      </a:lnTo>
                      <a:lnTo>
                        <a:pt x="0" y="10"/>
                      </a:lnTo>
                      <a:lnTo>
                        <a:pt x="10" y="9"/>
                      </a:lnTo>
                      <a:lnTo>
                        <a:pt x="20" y="10"/>
                      </a:lnTo>
                      <a:lnTo>
                        <a:pt x="27" y="10"/>
                      </a:lnTo>
                      <a:lnTo>
                        <a:pt x="30" y="10"/>
                      </a:lnTo>
                      <a:lnTo>
                        <a:pt x="32" y="6"/>
                      </a:lnTo>
                      <a:lnTo>
                        <a:pt x="29" y="6"/>
                      </a:lnTo>
                      <a:lnTo>
                        <a:pt x="25" y="7"/>
                      </a:lnTo>
                      <a:lnTo>
                        <a:pt x="21" y="7"/>
                      </a:lnTo>
                      <a:lnTo>
                        <a:pt x="18" y="5"/>
                      </a:lnTo>
                      <a:lnTo>
                        <a:pt x="24" y="3"/>
                      </a:lnTo>
                      <a:lnTo>
                        <a:pt x="2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0" name="Freeform 590">
                  <a:extLst>
                    <a:ext uri="{FF2B5EF4-FFF2-40B4-BE49-F238E27FC236}">
                      <a16:creationId xmlns:a16="http://schemas.microsoft.com/office/drawing/2014/main" id="{38009DE0-DCD1-493A-A08A-C391E2EC38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41077" y="4816531"/>
                  <a:ext cx="11193" cy="26521"/>
                </a:xfrm>
                <a:custGeom>
                  <a:avLst/>
                  <a:gdLst>
                    <a:gd name="T0" fmla="*/ 5 w 9"/>
                    <a:gd name="T1" fmla="*/ 13 h 18"/>
                    <a:gd name="T2" fmla="*/ 6 w 9"/>
                    <a:gd name="T3" fmla="*/ 11 h 18"/>
                    <a:gd name="T4" fmla="*/ 7 w 9"/>
                    <a:gd name="T5" fmla="*/ 7 h 18"/>
                    <a:gd name="T6" fmla="*/ 9 w 9"/>
                    <a:gd name="T7" fmla="*/ 4 h 18"/>
                    <a:gd name="T8" fmla="*/ 9 w 9"/>
                    <a:gd name="T9" fmla="*/ 1 h 18"/>
                    <a:gd name="T10" fmla="*/ 6 w 9"/>
                    <a:gd name="T11" fmla="*/ 0 h 18"/>
                    <a:gd name="T12" fmla="*/ 4 w 9"/>
                    <a:gd name="T13" fmla="*/ 0 h 18"/>
                    <a:gd name="T14" fmla="*/ 2 w 9"/>
                    <a:gd name="T15" fmla="*/ 1 h 18"/>
                    <a:gd name="T16" fmla="*/ 5 w 9"/>
                    <a:gd name="T17" fmla="*/ 2 h 18"/>
                    <a:gd name="T18" fmla="*/ 2 w 9"/>
                    <a:gd name="T19" fmla="*/ 4 h 18"/>
                    <a:gd name="T20" fmla="*/ 0 w 9"/>
                    <a:gd name="T21" fmla="*/ 4 h 18"/>
                    <a:gd name="T22" fmla="*/ 0 w 9"/>
                    <a:gd name="T23" fmla="*/ 5 h 18"/>
                    <a:gd name="T24" fmla="*/ 0 w 9"/>
                    <a:gd name="T25" fmla="*/ 8 h 18"/>
                    <a:gd name="T26" fmla="*/ 1 w 9"/>
                    <a:gd name="T27" fmla="*/ 12 h 18"/>
                    <a:gd name="T28" fmla="*/ 2 w 9"/>
                    <a:gd name="T29" fmla="*/ 16 h 18"/>
                    <a:gd name="T30" fmla="*/ 4 w 9"/>
                    <a:gd name="T31" fmla="*/ 18 h 18"/>
                    <a:gd name="T32" fmla="*/ 5 w 9"/>
                    <a:gd name="T33" fmla="*/ 13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" h="18">
                      <a:moveTo>
                        <a:pt x="5" y="13"/>
                      </a:moveTo>
                      <a:lnTo>
                        <a:pt x="6" y="11"/>
                      </a:lnTo>
                      <a:lnTo>
                        <a:pt x="7" y="7"/>
                      </a:lnTo>
                      <a:lnTo>
                        <a:pt x="9" y="4"/>
                      </a:lnTo>
                      <a:lnTo>
                        <a:pt x="9" y="1"/>
                      </a:ln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2" y="1"/>
                      </a:lnTo>
                      <a:lnTo>
                        <a:pt x="5" y="2"/>
                      </a:lnTo>
                      <a:lnTo>
                        <a:pt x="2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0" y="8"/>
                      </a:lnTo>
                      <a:lnTo>
                        <a:pt x="1" y="12"/>
                      </a:lnTo>
                      <a:lnTo>
                        <a:pt x="2" y="16"/>
                      </a:lnTo>
                      <a:lnTo>
                        <a:pt x="4" y="18"/>
                      </a:lnTo>
                      <a:lnTo>
                        <a:pt x="5" y="1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1" name="Freeform 592">
                  <a:extLst>
                    <a:ext uri="{FF2B5EF4-FFF2-40B4-BE49-F238E27FC236}">
                      <a16:creationId xmlns:a16="http://schemas.microsoft.com/office/drawing/2014/main" id="{D84C3915-8125-466C-AD97-7C807DAD678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76932" y="5012784"/>
                  <a:ext cx="69394" cy="23870"/>
                </a:xfrm>
                <a:custGeom>
                  <a:avLst/>
                  <a:gdLst>
                    <a:gd name="T0" fmla="*/ 55 w 60"/>
                    <a:gd name="T1" fmla="*/ 0 h 18"/>
                    <a:gd name="T2" fmla="*/ 50 w 60"/>
                    <a:gd name="T3" fmla="*/ 0 h 18"/>
                    <a:gd name="T4" fmla="*/ 44 w 60"/>
                    <a:gd name="T5" fmla="*/ 3 h 18"/>
                    <a:gd name="T6" fmla="*/ 35 w 60"/>
                    <a:gd name="T7" fmla="*/ 4 h 18"/>
                    <a:gd name="T8" fmla="*/ 27 w 60"/>
                    <a:gd name="T9" fmla="*/ 5 h 18"/>
                    <a:gd name="T10" fmla="*/ 18 w 60"/>
                    <a:gd name="T11" fmla="*/ 8 h 18"/>
                    <a:gd name="T12" fmla="*/ 11 w 60"/>
                    <a:gd name="T13" fmla="*/ 10 h 18"/>
                    <a:gd name="T14" fmla="*/ 6 w 60"/>
                    <a:gd name="T15" fmla="*/ 11 h 18"/>
                    <a:gd name="T16" fmla="*/ 2 w 60"/>
                    <a:gd name="T17" fmla="*/ 14 h 18"/>
                    <a:gd name="T18" fmla="*/ 0 w 60"/>
                    <a:gd name="T19" fmla="*/ 16 h 18"/>
                    <a:gd name="T20" fmla="*/ 6 w 60"/>
                    <a:gd name="T21" fmla="*/ 18 h 18"/>
                    <a:gd name="T22" fmla="*/ 13 w 60"/>
                    <a:gd name="T23" fmla="*/ 18 h 18"/>
                    <a:gd name="T24" fmla="*/ 21 w 60"/>
                    <a:gd name="T25" fmla="*/ 16 h 18"/>
                    <a:gd name="T26" fmla="*/ 27 w 60"/>
                    <a:gd name="T27" fmla="*/ 15 h 18"/>
                    <a:gd name="T28" fmla="*/ 44 w 60"/>
                    <a:gd name="T29" fmla="*/ 14 h 18"/>
                    <a:gd name="T30" fmla="*/ 53 w 60"/>
                    <a:gd name="T31" fmla="*/ 13 h 18"/>
                    <a:gd name="T32" fmla="*/ 60 w 60"/>
                    <a:gd name="T33" fmla="*/ 10 h 18"/>
                    <a:gd name="T34" fmla="*/ 58 w 60"/>
                    <a:gd name="T35" fmla="*/ 8 h 18"/>
                    <a:gd name="T36" fmla="*/ 60 w 60"/>
                    <a:gd name="T37" fmla="*/ 7 h 18"/>
                    <a:gd name="T38" fmla="*/ 60 w 60"/>
                    <a:gd name="T39" fmla="*/ 5 h 18"/>
                    <a:gd name="T40" fmla="*/ 58 w 60"/>
                    <a:gd name="T41" fmla="*/ 3 h 18"/>
                    <a:gd name="T42" fmla="*/ 54 w 60"/>
                    <a:gd name="T43" fmla="*/ 3 h 18"/>
                    <a:gd name="T44" fmla="*/ 55 w 60"/>
                    <a:gd name="T45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0" h="18">
                      <a:moveTo>
                        <a:pt x="55" y="0"/>
                      </a:moveTo>
                      <a:lnTo>
                        <a:pt x="50" y="0"/>
                      </a:lnTo>
                      <a:lnTo>
                        <a:pt x="44" y="3"/>
                      </a:lnTo>
                      <a:lnTo>
                        <a:pt x="35" y="4"/>
                      </a:lnTo>
                      <a:lnTo>
                        <a:pt x="27" y="5"/>
                      </a:lnTo>
                      <a:lnTo>
                        <a:pt x="18" y="8"/>
                      </a:lnTo>
                      <a:lnTo>
                        <a:pt x="11" y="10"/>
                      </a:lnTo>
                      <a:lnTo>
                        <a:pt x="6" y="11"/>
                      </a:lnTo>
                      <a:lnTo>
                        <a:pt x="2" y="14"/>
                      </a:lnTo>
                      <a:lnTo>
                        <a:pt x="0" y="16"/>
                      </a:lnTo>
                      <a:lnTo>
                        <a:pt x="6" y="18"/>
                      </a:lnTo>
                      <a:lnTo>
                        <a:pt x="13" y="18"/>
                      </a:lnTo>
                      <a:lnTo>
                        <a:pt x="21" y="16"/>
                      </a:lnTo>
                      <a:lnTo>
                        <a:pt x="27" y="15"/>
                      </a:lnTo>
                      <a:lnTo>
                        <a:pt x="44" y="14"/>
                      </a:lnTo>
                      <a:lnTo>
                        <a:pt x="53" y="13"/>
                      </a:lnTo>
                      <a:lnTo>
                        <a:pt x="60" y="10"/>
                      </a:lnTo>
                      <a:lnTo>
                        <a:pt x="58" y="8"/>
                      </a:lnTo>
                      <a:lnTo>
                        <a:pt x="60" y="7"/>
                      </a:lnTo>
                      <a:lnTo>
                        <a:pt x="60" y="5"/>
                      </a:lnTo>
                      <a:lnTo>
                        <a:pt x="58" y="3"/>
                      </a:lnTo>
                      <a:lnTo>
                        <a:pt x="54" y="3"/>
                      </a:lnTo>
                      <a:lnTo>
                        <a:pt x="55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2" name="Freeform 593">
                  <a:extLst>
                    <a:ext uri="{FF2B5EF4-FFF2-40B4-BE49-F238E27FC236}">
                      <a16:creationId xmlns:a16="http://schemas.microsoft.com/office/drawing/2014/main" id="{5178F5D9-35E8-49D5-900A-5B60F58185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90364" y="5018088"/>
                  <a:ext cx="11193" cy="5304"/>
                </a:xfrm>
                <a:custGeom>
                  <a:avLst/>
                  <a:gdLst>
                    <a:gd name="T0" fmla="*/ 10 w 10"/>
                    <a:gd name="T1" fmla="*/ 1 h 4"/>
                    <a:gd name="T2" fmla="*/ 5 w 10"/>
                    <a:gd name="T3" fmla="*/ 0 h 4"/>
                    <a:gd name="T4" fmla="*/ 0 w 10"/>
                    <a:gd name="T5" fmla="*/ 1 h 4"/>
                    <a:gd name="T6" fmla="*/ 1 w 10"/>
                    <a:gd name="T7" fmla="*/ 4 h 4"/>
                    <a:gd name="T8" fmla="*/ 5 w 10"/>
                    <a:gd name="T9" fmla="*/ 4 h 4"/>
                    <a:gd name="T10" fmla="*/ 7 w 10"/>
                    <a:gd name="T11" fmla="*/ 3 h 4"/>
                    <a:gd name="T12" fmla="*/ 10 w 10"/>
                    <a:gd name="T13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" h="4">
                      <a:moveTo>
                        <a:pt x="10" y="1"/>
                      </a:moveTo>
                      <a:lnTo>
                        <a:pt x="5" y="0"/>
                      </a:lnTo>
                      <a:lnTo>
                        <a:pt x="0" y="1"/>
                      </a:lnTo>
                      <a:lnTo>
                        <a:pt x="1" y="4"/>
                      </a:lnTo>
                      <a:lnTo>
                        <a:pt x="5" y="4"/>
                      </a:lnTo>
                      <a:lnTo>
                        <a:pt x="7" y="3"/>
                      </a:lnTo>
                      <a:lnTo>
                        <a:pt x="1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3" name="Freeform 594">
                  <a:extLst>
                    <a:ext uri="{FF2B5EF4-FFF2-40B4-BE49-F238E27FC236}">
                      <a16:creationId xmlns:a16="http://schemas.microsoft.com/office/drawing/2014/main" id="{FB2C134A-9C48-4BAB-9809-0F9DB21C14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17226" y="5034001"/>
                  <a:ext cx="6716" cy="0"/>
                </a:xfrm>
                <a:custGeom>
                  <a:avLst/>
                  <a:gdLst>
                    <a:gd name="T0" fmla="*/ 7 w 7"/>
                    <a:gd name="T1" fmla="*/ 0 h 1"/>
                    <a:gd name="T2" fmla="*/ 4 w 7"/>
                    <a:gd name="T3" fmla="*/ 0 h 1"/>
                    <a:gd name="T4" fmla="*/ 0 w 7"/>
                    <a:gd name="T5" fmla="*/ 1 h 1"/>
                    <a:gd name="T6" fmla="*/ 4 w 7"/>
                    <a:gd name="T7" fmla="*/ 1 h 1"/>
                    <a:gd name="T8" fmla="*/ 7 w 7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1">
                      <a:moveTo>
                        <a:pt x="7" y="0"/>
                      </a:move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4" y="1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4" name="Freeform 595">
                  <a:extLst>
                    <a:ext uri="{FF2B5EF4-FFF2-40B4-BE49-F238E27FC236}">
                      <a16:creationId xmlns:a16="http://schemas.microsoft.com/office/drawing/2014/main" id="{75E88C55-5833-47C6-9234-FDBB7D7AEF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77665" y="5063173"/>
                  <a:ext cx="6716" cy="0"/>
                </a:xfrm>
                <a:custGeom>
                  <a:avLst/>
                  <a:gdLst>
                    <a:gd name="T0" fmla="*/ 7 w 7"/>
                    <a:gd name="T1" fmla="*/ 0 h 2"/>
                    <a:gd name="T2" fmla="*/ 3 w 7"/>
                    <a:gd name="T3" fmla="*/ 0 h 2"/>
                    <a:gd name="T4" fmla="*/ 0 w 7"/>
                    <a:gd name="T5" fmla="*/ 2 h 2"/>
                    <a:gd name="T6" fmla="*/ 4 w 7"/>
                    <a:gd name="T7" fmla="*/ 2 h 2"/>
                    <a:gd name="T8" fmla="*/ 7 w 7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2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5" name="Freeform 596">
                  <a:extLst>
                    <a:ext uri="{FF2B5EF4-FFF2-40B4-BE49-F238E27FC236}">
                      <a16:creationId xmlns:a16="http://schemas.microsoft.com/office/drawing/2014/main" id="{ADAACD95-B910-4005-BDC2-8FD5972A72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86619" y="4949135"/>
                  <a:ext cx="51486" cy="26521"/>
                </a:xfrm>
                <a:custGeom>
                  <a:avLst/>
                  <a:gdLst>
                    <a:gd name="T0" fmla="*/ 36 w 47"/>
                    <a:gd name="T1" fmla="*/ 15 h 21"/>
                    <a:gd name="T2" fmla="*/ 33 w 47"/>
                    <a:gd name="T3" fmla="*/ 14 h 21"/>
                    <a:gd name="T4" fmla="*/ 33 w 47"/>
                    <a:gd name="T5" fmla="*/ 11 h 21"/>
                    <a:gd name="T6" fmla="*/ 39 w 47"/>
                    <a:gd name="T7" fmla="*/ 13 h 21"/>
                    <a:gd name="T8" fmla="*/ 47 w 47"/>
                    <a:gd name="T9" fmla="*/ 14 h 21"/>
                    <a:gd name="T10" fmla="*/ 45 w 47"/>
                    <a:gd name="T11" fmla="*/ 11 h 21"/>
                    <a:gd name="T12" fmla="*/ 43 w 47"/>
                    <a:gd name="T13" fmla="*/ 10 h 21"/>
                    <a:gd name="T14" fmla="*/ 41 w 47"/>
                    <a:gd name="T15" fmla="*/ 8 h 21"/>
                    <a:gd name="T16" fmla="*/ 38 w 47"/>
                    <a:gd name="T17" fmla="*/ 8 h 21"/>
                    <a:gd name="T18" fmla="*/ 34 w 47"/>
                    <a:gd name="T19" fmla="*/ 8 h 21"/>
                    <a:gd name="T20" fmla="*/ 27 w 47"/>
                    <a:gd name="T21" fmla="*/ 3 h 21"/>
                    <a:gd name="T22" fmla="*/ 23 w 47"/>
                    <a:gd name="T23" fmla="*/ 1 h 21"/>
                    <a:gd name="T24" fmla="*/ 20 w 47"/>
                    <a:gd name="T25" fmla="*/ 0 h 21"/>
                    <a:gd name="T26" fmla="*/ 15 w 47"/>
                    <a:gd name="T27" fmla="*/ 1 h 21"/>
                    <a:gd name="T28" fmla="*/ 11 w 47"/>
                    <a:gd name="T29" fmla="*/ 1 h 21"/>
                    <a:gd name="T30" fmla="*/ 6 w 47"/>
                    <a:gd name="T31" fmla="*/ 0 h 21"/>
                    <a:gd name="T32" fmla="*/ 2 w 47"/>
                    <a:gd name="T33" fmla="*/ 1 h 21"/>
                    <a:gd name="T34" fmla="*/ 0 w 47"/>
                    <a:gd name="T35" fmla="*/ 3 h 21"/>
                    <a:gd name="T36" fmla="*/ 0 w 47"/>
                    <a:gd name="T37" fmla="*/ 6 h 21"/>
                    <a:gd name="T38" fmla="*/ 0 w 47"/>
                    <a:gd name="T39" fmla="*/ 8 h 21"/>
                    <a:gd name="T40" fmla="*/ 2 w 47"/>
                    <a:gd name="T41" fmla="*/ 10 h 21"/>
                    <a:gd name="T42" fmla="*/ 10 w 47"/>
                    <a:gd name="T43" fmla="*/ 13 h 21"/>
                    <a:gd name="T44" fmla="*/ 17 w 47"/>
                    <a:gd name="T45" fmla="*/ 14 h 21"/>
                    <a:gd name="T46" fmla="*/ 20 w 47"/>
                    <a:gd name="T47" fmla="*/ 15 h 21"/>
                    <a:gd name="T48" fmla="*/ 22 w 47"/>
                    <a:gd name="T49" fmla="*/ 15 h 21"/>
                    <a:gd name="T50" fmla="*/ 27 w 47"/>
                    <a:gd name="T51" fmla="*/ 17 h 21"/>
                    <a:gd name="T52" fmla="*/ 33 w 47"/>
                    <a:gd name="T53" fmla="*/ 20 h 21"/>
                    <a:gd name="T54" fmla="*/ 39 w 47"/>
                    <a:gd name="T55" fmla="*/ 21 h 21"/>
                    <a:gd name="T56" fmla="*/ 41 w 47"/>
                    <a:gd name="T57" fmla="*/ 20 h 21"/>
                    <a:gd name="T58" fmla="*/ 43 w 47"/>
                    <a:gd name="T59" fmla="*/ 17 h 21"/>
                    <a:gd name="T60" fmla="*/ 36 w 47"/>
                    <a:gd name="T61" fmla="*/ 15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47" h="21">
                      <a:moveTo>
                        <a:pt x="36" y="15"/>
                      </a:moveTo>
                      <a:lnTo>
                        <a:pt x="33" y="14"/>
                      </a:lnTo>
                      <a:lnTo>
                        <a:pt x="33" y="11"/>
                      </a:lnTo>
                      <a:lnTo>
                        <a:pt x="39" y="13"/>
                      </a:lnTo>
                      <a:lnTo>
                        <a:pt x="47" y="14"/>
                      </a:lnTo>
                      <a:lnTo>
                        <a:pt x="45" y="11"/>
                      </a:lnTo>
                      <a:lnTo>
                        <a:pt x="43" y="10"/>
                      </a:lnTo>
                      <a:lnTo>
                        <a:pt x="41" y="8"/>
                      </a:lnTo>
                      <a:lnTo>
                        <a:pt x="38" y="8"/>
                      </a:lnTo>
                      <a:lnTo>
                        <a:pt x="34" y="8"/>
                      </a:lnTo>
                      <a:lnTo>
                        <a:pt x="27" y="3"/>
                      </a:lnTo>
                      <a:lnTo>
                        <a:pt x="23" y="1"/>
                      </a:lnTo>
                      <a:lnTo>
                        <a:pt x="20" y="0"/>
                      </a:lnTo>
                      <a:lnTo>
                        <a:pt x="15" y="1"/>
                      </a:lnTo>
                      <a:lnTo>
                        <a:pt x="11" y="1"/>
                      </a:lnTo>
                      <a:lnTo>
                        <a:pt x="6" y="0"/>
                      </a:lnTo>
                      <a:lnTo>
                        <a:pt x="2" y="1"/>
                      </a:lnTo>
                      <a:lnTo>
                        <a:pt x="0" y="3"/>
                      </a:lnTo>
                      <a:lnTo>
                        <a:pt x="0" y="6"/>
                      </a:lnTo>
                      <a:lnTo>
                        <a:pt x="0" y="8"/>
                      </a:lnTo>
                      <a:lnTo>
                        <a:pt x="2" y="10"/>
                      </a:lnTo>
                      <a:lnTo>
                        <a:pt x="10" y="13"/>
                      </a:lnTo>
                      <a:lnTo>
                        <a:pt x="17" y="14"/>
                      </a:lnTo>
                      <a:lnTo>
                        <a:pt x="20" y="15"/>
                      </a:lnTo>
                      <a:lnTo>
                        <a:pt x="22" y="15"/>
                      </a:lnTo>
                      <a:lnTo>
                        <a:pt x="27" y="17"/>
                      </a:lnTo>
                      <a:lnTo>
                        <a:pt x="33" y="20"/>
                      </a:lnTo>
                      <a:lnTo>
                        <a:pt x="39" y="21"/>
                      </a:lnTo>
                      <a:lnTo>
                        <a:pt x="41" y="20"/>
                      </a:lnTo>
                      <a:lnTo>
                        <a:pt x="43" y="17"/>
                      </a:lnTo>
                      <a:lnTo>
                        <a:pt x="36" y="1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6" name="Freeform 641">
                  <a:extLst>
                    <a:ext uri="{FF2B5EF4-FFF2-40B4-BE49-F238E27FC236}">
                      <a16:creationId xmlns:a16="http://schemas.microsoft.com/office/drawing/2014/main" id="{115B91CE-D204-48B9-9FD7-81E6ABC76C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0784" y="4829791"/>
                  <a:ext cx="8954" cy="2653"/>
                </a:xfrm>
                <a:custGeom>
                  <a:avLst/>
                  <a:gdLst>
                    <a:gd name="T0" fmla="*/ 0 w 7"/>
                    <a:gd name="T1" fmla="*/ 0 h 3"/>
                    <a:gd name="T2" fmla="*/ 4 w 7"/>
                    <a:gd name="T3" fmla="*/ 2 h 3"/>
                    <a:gd name="T4" fmla="*/ 7 w 7"/>
                    <a:gd name="T5" fmla="*/ 3 h 3"/>
                    <a:gd name="T6" fmla="*/ 0 w 7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3">
                      <a:moveTo>
                        <a:pt x="0" y="0"/>
                      </a:moveTo>
                      <a:lnTo>
                        <a:pt x="4" y="2"/>
                      </a:lnTo>
                      <a:lnTo>
                        <a:pt x="7" y="3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7" name="Freeform 643">
                  <a:extLst>
                    <a:ext uri="{FF2B5EF4-FFF2-40B4-BE49-F238E27FC236}">
                      <a16:creationId xmlns:a16="http://schemas.microsoft.com/office/drawing/2014/main" id="{0368D7C9-1D7D-4ED4-8117-FB620D5DA6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56667" y="5638673"/>
                  <a:ext cx="11193" cy="7957"/>
                </a:xfrm>
                <a:custGeom>
                  <a:avLst/>
                  <a:gdLst>
                    <a:gd name="T0" fmla="*/ 0 w 8"/>
                    <a:gd name="T1" fmla="*/ 0 h 6"/>
                    <a:gd name="T2" fmla="*/ 1 w 8"/>
                    <a:gd name="T3" fmla="*/ 1 h 6"/>
                    <a:gd name="T4" fmla="*/ 3 w 8"/>
                    <a:gd name="T5" fmla="*/ 4 h 6"/>
                    <a:gd name="T6" fmla="*/ 5 w 8"/>
                    <a:gd name="T7" fmla="*/ 6 h 6"/>
                    <a:gd name="T8" fmla="*/ 7 w 8"/>
                    <a:gd name="T9" fmla="*/ 5 h 6"/>
                    <a:gd name="T10" fmla="*/ 8 w 8"/>
                    <a:gd name="T11" fmla="*/ 4 h 6"/>
                    <a:gd name="T12" fmla="*/ 6 w 8"/>
                    <a:gd name="T13" fmla="*/ 1 h 6"/>
                    <a:gd name="T14" fmla="*/ 3 w 8"/>
                    <a:gd name="T15" fmla="*/ 0 h 6"/>
                    <a:gd name="T16" fmla="*/ 0 w 8"/>
                    <a:gd name="T17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" h="6">
                      <a:moveTo>
                        <a:pt x="0" y="0"/>
                      </a:moveTo>
                      <a:lnTo>
                        <a:pt x="1" y="1"/>
                      </a:lnTo>
                      <a:lnTo>
                        <a:pt x="3" y="4"/>
                      </a:lnTo>
                      <a:lnTo>
                        <a:pt x="5" y="6"/>
                      </a:lnTo>
                      <a:lnTo>
                        <a:pt x="7" y="5"/>
                      </a:lnTo>
                      <a:lnTo>
                        <a:pt x="8" y="4"/>
                      </a:lnTo>
                      <a:lnTo>
                        <a:pt x="6" y="1"/>
                      </a:ln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8" name="Freeform 644">
                  <a:extLst>
                    <a:ext uri="{FF2B5EF4-FFF2-40B4-BE49-F238E27FC236}">
                      <a16:creationId xmlns:a16="http://schemas.microsoft.com/office/drawing/2014/main" id="{49D87DE5-5F1D-435A-AEAF-E10D596FF9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14137" y="5553808"/>
                  <a:ext cx="78349" cy="92823"/>
                </a:xfrm>
                <a:custGeom>
                  <a:avLst/>
                  <a:gdLst>
                    <a:gd name="T0" fmla="*/ 2 w 68"/>
                    <a:gd name="T1" fmla="*/ 12 h 70"/>
                    <a:gd name="T2" fmla="*/ 8 w 68"/>
                    <a:gd name="T3" fmla="*/ 16 h 70"/>
                    <a:gd name="T4" fmla="*/ 12 w 68"/>
                    <a:gd name="T5" fmla="*/ 17 h 70"/>
                    <a:gd name="T6" fmla="*/ 14 w 68"/>
                    <a:gd name="T7" fmla="*/ 17 h 70"/>
                    <a:gd name="T8" fmla="*/ 18 w 68"/>
                    <a:gd name="T9" fmla="*/ 11 h 70"/>
                    <a:gd name="T10" fmla="*/ 24 w 68"/>
                    <a:gd name="T11" fmla="*/ 11 h 70"/>
                    <a:gd name="T12" fmla="*/ 23 w 68"/>
                    <a:gd name="T13" fmla="*/ 13 h 70"/>
                    <a:gd name="T14" fmla="*/ 28 w 68"/>
                    <a:gd name="T15" fmla="*/ 14 h 70"/>
                    <a:gd name="T16" fmla="*/ 29 w 68"/>
                    <a:gd name="T17" fmla="*/ 12 h 70"/>
                    <a:gd name="T18" fmla="*/ 25 w 68"/>
                    <a:gd name="T19" fmla="*/ 12 h 70"/>
                    <a:gd name="T20" fmla="*/ 27 w 68"/>
                    <a:gd name="T21" fmla="*/ 4 h 70"/>
                    <a:gd name="T22" fmla="*/ 33 w 68"/>
                    <a:gd name="T23" fmla="*/ 1 h 70"/>
                    <a:gd name="T24" fmla="*/ 40 w 68"/>
                    <a:gd name="T25" fmla="*/ 0 h 70"/>
                    <a:gd name="T26" fmla="*/ 49 w 68"/>
                    <a:gd name="T27" fmla="*/ 1 h 70"/>
                    <a:gd name="T28" fmla="*/ 52 w 68"/>
                    <a:gd name="T29" fmla="*/ 6 h 70"/>
                    <a:gd name="T30" fmla="*/ 54 w 68"/>
                    <a:gd name="T31" fmla="*/ 11 h 70"/>
                    <a:gd name="T32" fmla="*/ 43 w 68"/>
                    <a:gd name="T33" fmla="*/ 13 h 70"/>
                    <a:gd name="T34" fmla="*/ 50 w 68"/>
                    <a:gd name="T35" fmla="*/ 11 h 70"/>
                    <a:gd name="T36" fmla="*/ 52 w 68"/>
                    <a:gd name="T37" fmla="*/ 13 h 70"/>
                    <a:gd name="T38" fmla="*/ 50 w 68"/>
                    <a:gd name="T39" fmla="*/ 17 h 70"/>
                    <a:gd name="T40" fmla="*/ 52 w 68"/>
                    <a:gd name="T41" fmla="*/ 16 h 70"/>
                    <a:gd name="T42" fmla="*/ 63 w 68"/>
                    <a:gd name="T43" fmla="*/ 16 h 70"/>
                    <a:gd name="T44" fmla="*/ 68 w 68"/>
                    <a:gd name="T45" fmla="*/ 19 h 70"/>
                    <a:gd name="T46" fmla="*/ 65 w 68"/>
                    <a:gd name="T47" fmla="*/ 25 h 70"/>
                    <a:gd name="T48" fmla="*/ 60 w 68"/>
                    <a:gd name="T49" fmla="*/ 27 h 70"/>
                    <a:gd name="T50" fmla="*/ 56 w 68"/>
                    <a:gd name="T51" fmla="*/ 28 h 70"/>
                    <a:gd name="T52" fmla="*/ 54 w 68"/>
                    <a:gd name="T53" fmla="*/ 24 h 70"/>
                    <a:gd name="T54" fmla="*/ 51 w 68"/>
                    <a:gd name="T55" fmla="*/ 32 h 70"/>
                    <a:gd name="T56" fmla="*/ 49 w 68"/>
                    <a:gd name="T57" fmla="*/ 35 h 70"/>
                    <a:gd name="T58" fmla="*/ 45 w 68"/>
                    <a:gd name="T59" fmla="*/ 38 h 70"/>
                    <a:gd name="T60" fmla="*/ 45 w 68"/>
                    <a:gd name="T61" fmla="*/ 41 h 70"/>
                    <a:gd name="T62" fmla="*/ 40 w 68"/>
                    <a:gd name="T63" fmla="*/ 43 h 70"/>
                    <a:gd name="T64" fmla="*/ 41 w 68"/>
                    <a:gd name="T65" fmla="*/ 44 h 70"/>
                    <a:gd name="T66" fmla="*/ 36 w 68"/>
                    <a:gd name="T67" fmla="*/ 47 h 70"/>
                    <a:gd name="T68" fmla="*/ 38 w 68"/>
                    <a:gd name="T69" fmla="*/ 54 h 70"/>
                    <a:gd name="T70" fmla="*/ 35 w 68"/>
                    <a:gd name="T71" fmla="*/ 57 h 70"/>
                    <a:gd name="T72" fmla="*/ 31 w 68"/>
                    <a:gd name="T73" fmla="*/ 62 h 70"/>
                    <a:gd name="T74" fmla="*/ 39 w 68"/>
                    <a:gd name="T75" fmla="*/ 66 h 70"/>
                    <a:gd name="T76" fmla="*/ 36 w 68"/>
                    <a:gd name="T77" fmla="*/ 67 h 70"/>
                    <a:gd name="T78" fmla="*/ 34 w 68"/>
                    <a:gd name="T79" fmla="*/ 67 h 70"/>
                    <a:gd name="T80" fmla="*/ 25 w 68"/>
                    <a:gd name="T81" fmla="*/ 68 h 70"/>
                    <a:gd name="T82" fmla="*/ 17 w 68"/>
                    <a:gd name="T83" fmla="*/ 66 h 70"/>
                    <a:gd name="T84" fmla="*/ 13 w 68"/>
                    <a:gd name="T85" fmla="*/ 61 h 70"/>
                    <a:gd name="T86" fmla="*/ 8 w 68"/>
                    <a:gd name="T87" fmla="*/ 59 h 70"/>
                    <a:gd name="T88" fmla="*/ 13 w 68"/>
                    <a:gd name="T89" fmla="*/ 56 h 70"/>
                    <a:gd name="T90" fmla="*/ 12 w 68"/>
                    <a:gd name="T91" fmla="*/ 52 h 70"/>
                    <a:gd name="T92" fmla="*/ 6 w 68"/>
                    <a:gd name="T93" fmla="*/ 46 h 70"/>
                    <a:gd name="T94" fmla="*/ 3 w 68"/>
                    <a:gd name="T95" fmla="*/ 47 h 70"/>
                    <a:gd name="T96" fmla="*/ 1 w 68"/>
                    <a:gd name="T97" fmla="*/ 45 h 70"/>
                    <a:gd name="T98" fmla="*/ 1 w 68"/>
                    <a:gd name="T99" fmla="*/ 38 h 70"/>
                    <a:gd name="T100" fmla="*/ 1 w 68"/>
                    <a:gd name="T101" fmla="*/ 35 h 70"/>
                    <a:gd name="T102" fmla="*/ 4 w 68"/>
                    <a:gd name="T103" fmla="*/ 38 h 70"/>
                    <a:gd name="T104" fmla="*/ 6 w 68"/>
                    <a:gd name="T105" fmla="*/ 33 h 70"/>
                    <a:gd name="T106" fmla="*/ 1 w 68"/>
                    <a:gd name="T107" fmla="*/ 29 h 70"/>
                    <a:gd name="T108" fmla="*/ 1 w 68"/>
                    <a:gd name="T109" fmla="*/ 32 h 70"/>
                    <a:gd name="T110" fmla="*/ 0 w 68"/>
                    <a:gd name="T111" fmla="*/ 23 h 70"/>
                    <a:gd name="T112" fmla="*/ 1 w 68"/>
                    <a:gd name="T113" fmla="*/ 14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8" h="70">
                      <a:moveTo>
                        <a:pt x="1" y="14"/>
                      </a:moveTo>
                      <a:lnTo>
                        <a:pt x="2" y="12"/>
                      </a:lnTo>
                      <a:lnTo>
                        <a:pt x="6" y="14"/>
                      </a:lnTo>
                      <a:lnTo>
                        <a:pt x="8" y="16"/>
                      </a:lnTo>
                      <a:lnTo>
                        <a:pt x="11" y="14"/>
                      </a:lnTo>
                      <a:lnTo>
                        <a:pt x="12" y="17"/>
                      </a:lnTo>
                      <a:lnTo>
                        <a:pt x="13" y="18"/>
                      </a:lnTo>
                      <a:lnTo>
                        <a:pt x="14" y="17"/>
                      </a:lnTo>
                      <a:lnTo>
                        <a:pt x="16" y="14"/>
                      </a:lnTo>
                      <a:lnTo>
                        <a:pt x="18" y="11"/>
                      </a:lnTo>
                      <a:lnTo>
                        <a:pt x="22" y="9"/>
                      </a:lnTo>
                      <a:lnTo>
                        <a:pt x="24" y="11"/>
                      </a:lnTo>
                      <a:lnTo>
                        <a:pt x="24" y="12"/>
                      </a:lnTo>
                      <a:lnTo>
                        <a:pt x="23" y="13"/>
                      </a:lnTo>
                      <a:lnTo>
                        <a:pt x="27" y="13"/>
                      </a:lnTo>
                      <a:lnTo>
                        <a:pt x="28" y="14"/>
                      </a:lnTo>
                      <a:lnTo>
                        <a:pt x="29" y="16"/>
                      </a:lnTo>
                      <a:lnTo>
                        <a:pt x="29" y="12"/>
                      </a:lnTo>
                      <a:lnTo>
                        <a:pt x="28" y="12"/>
                      </a:lnTo>
                      <a:lnTo>
                        <a:pt x="25" y="12"/>
                      </a:lnTo>
                      <a:lnTo>
                        <a:pt x="25" y="7"/>
                      </a:lnTo>
                      <a:lnTo>
                        <a:pt x="27" y="4"/>
                      </a:lnTo>
                      <a:lnTo>
                        <a:pt x="28" y="2"/>
                      </a:lnTo>
                      <a:lnTo>
                        <a:pt x="33" y="1"/>
                      </a:lnTo>
                      <a:lnTo>
                        <a:pt x="36" y="1"/>
                      </a:lnTo>
                      <a:lnTo>
                        <a:pt x="40" y="0"/>
                      </a:lnTo>
                      <a:lnTo>
                        <a:pt x="45" y="1"/>
                      </a:lnTo>
                      <a:lnTo>
                        <a:pt x="49" y="1"/>
                      </a:lnTo>
                      <a:lnTo>
                        <a:pt x="51" y="3"/>
                      </a:lnTo>
                      <a:lnTo>
                        <a:pt x="52" y="6"/>
                      </a:lnTo>
                      <a:lnTo>
                        <a:pt x="52" y="8"/>
                      </a:lnTo>
                      <a:lnTo>
                        <a:pt x="54" y="11"/>
                      </a:lnTo>
                      <a:lnTo>
                        <a:pt x="47" y="11"/>
                      </a:lnTo>
                      <a:lnTo>
                        <a:pt x="43" y="13"/>
                      </a:lnTo>
                      <a:lnTo>
                        <a:pt x="47" y="12"/>
                      </a:lnTo>
                      <a:lnTo>
                        <a:pt x="50" y="11"/>
                      </a:lnTo>
                      <a:lnTo>
                        <a:pt x="52" y="12"/>
                      </a:lnTo>
                      <a:lnTo>
                        <a:pt x="52" y="13"/>
                      </a:lnTo>
                      <a:lnTo>
                        <a:pt x="51" y="14"/>
                      </a:lnTo>
                      <a:lnTo>
                        <a:pt x="50" y="17"/>
                      </a:lnTo>
                      <a:lnTo>
                        <a:pt x="50" y="18"/>
                      </a:lnTo>
                      <a:lnTo>
                        <a:pt x="52" y="16"/>
                      </a:lnTo>
                      <a:lnTo>
                        <a:pt x="57" y="16"/>
                      </a:lnTo>
                      <a:lnTo>
                        <a:pt x="63" y="16"/>
                      </a:lnTo>
                      <a:lnTo>
                        <a:pt x="67" y="18"/>
                      </a:lnTo>
                      <a:lnTo>
                        <a:pt x="68" y="19"/>
                      </a:lnTo>
                      <a:lnTo>
                        <a:pt x="67" y="23"/>
                      </a:lnTo>
                      <a:lnTo>
                        <a:pt x="65" y="25"/>
                      </a:lnTo>
                      <a:lnTo>
                        <a:pt x="62" y="27"/>
                      </a:lnTo>
                      <a:lnTo>
                        <a:pt x="60" y="27"/>
                      </a:lnTo>
                      <a:lnTo>
                        <a:pt x="59" y="29"/>
                      </a:lnTo>
                      <a:lnTo>
                        <a:pt x="56" y="28"/>
                      </a:lnTo>
                      <a:lnTo>
                        <a:pt x="57" y="24"/>
                      </a:lnTo>
                      <a:lnTo>
                        <a:pt x="54" y="24"/>
                      </a:lnTo>
                      <a:lnTo>
                        <a:pt x="52" y="25"/>
                      </a:lnTo>
                      <a:lnTo>
                        <a:pt x="51" y="32"/>
                      </a:lnTo>
                      <a:lnTo>
                        <a:pt x="51" y="34"/>
                      </a:lnTo>
                      <a:lnTo>
                        <a:pt x="49" y="35"/>
                      </a:lnTo>
                      <a:lnTo>
                        <a:pt x="43" y="36"/>
                      </a:lnTo>
                      <a:lnTo>
                        <a:pt x="45" y="38"/>
                      </a:lnTo>
                      <a:lnTo>
                        <a:pt x="46" y="39"/>
                      </a:lnTo>
                      <a:lnTo>
                        <a:pt x="45" y="41"/>
                      </a:lnTo>
                      <a:lnTo>
                        <a:pt x="43" y="43"/>
                      </a:lnTo>
                      <a:lnTo>
                        <a:pt x="40" y="43"/>
                      </a:lnTo>
                      <a:lnTo>
                        <a:pt x="35" y="41"/>
                      </a:lnTo>
                      <a:lnTo>
                        <a:pt x="41" y="44"/>
                      </a:lnTo>
                      <a:lnTo>
                        <a:pt x="39" y="46"/>
                      </a:lnTo>
                      <a:lnTo>
                        <a:pt x="36" y="47"/>
                      </a:lnTo>
                      <a:lnTo>
                        <a:pt x="36" y="50"/>
                      </a:lnTo>
                      <a:lnTo>
                        <a:pt x="38" y="54"/>
                      </a:lnTo>
                      <a:lnTo>
                        <a:pt x="38" y="56"/>
                      </a:lnTo>
                      <a:lnTo>
                        <a:pt x="35" y="57"/>
                      </a:lnTo>
                      <a:lnTo>
                        <a:pt x="33" y="60"/>
                      </a:lnTo>
                      <a:lnTo>
                        <a:pt x="31" y="62"/>
                      </a:lnTo>
                      <a:lnTo>
                        <a:pt x="38" y="63"/>
                      </a:lnTo>
                      <a:lnTo>
                        <a:pt x="39" y="66"/>
                      </a:lnTo>
                      <a:lnTo>
                        <a:pt x="39" y="68"/>
                      </a:lnTo>
                      <a:lnTo>
                        <a:pt x="36" y="67"/>
                      </a:lnTo>
                      <a:lnTo>
                        <a:pt x="35" y="67"/>
                      </a:lnTo>
                      <a:lnTo>
                        <a:pt x="34" y="67"/>
                      </a:lnTo>
                      <a:lnTo>
                        <a:pt x="29" y="70"/>
                      </a:lnTo>
                      <a:lnTo>
                        <a:pt x="25" y="68"/>
                      </a:lnTo>
                      <a:lnTo>
                        <a:pt x="20" y="67"/>
                      </a:lnTo>
                      <a:lnTo>
                        <a:pt x="17" y="66"/>
                      </a:lnTo>
                      <a:lnTo>
                        <a:pt x="13" y="65"/>
                      </a:lnTo>
                      <a:lnTo>
                        <a:pt x="13" y="61"/>
                      </a:lnTo>
                      <a:lnTo>
                        <a:pt x="9" y="61"/>
                      </a:lnTo>
                      <a:lnTo>
                        <a:pt x="8" y="59"/>
                      </a:lnTo>
                      <a:lnTo>
                        <a:pt x="12" y="57"/>
                      </a:lnTo>
                      <a:lnTo>
                        <a:pt x="13" y="56"/>
                      </a:lnTo>
                      <a:lnTo>
                        <a:pt x="13" y="55"/>
                      </a:lnTo>
                      <a:lnTo>
                        <a:pt x="12" y="52"/>
                      </a:lnTo>
                      <a:lnTo>
                        <a:pt x="7" y="49"/>
                      </a:lnTo>
                      <a:lnTo>
                        <a:pt x="6" y="46"/>
                      </a:lnTo>
                      <a:lnTo>
                        <a:pt x="4" y="45"/>
                      </a:lnTo>
                      <a:lnTo>
                        <a:pt x="3" y="47"/>
                      </a:lnTo>
                      <a:lnTo>
                        <a:pt x="2" y="47"/>
                      </a:lnTo>
                      <a:lnTo>
                        <a:pt x="1" y="45"/>
                      </a:lnTo>
                      <a:lnTo>
                        <a:pt x="1" y="43"/>
                      </a:lnTo>
                      <a:lnTo>
                        <a:pt x="1" y="38"/>
                      </a:lnTo>
                      <a:lnTo>
                        <a:pt x="0" y="33"/>
                      </a:lnTo>
                      <a:lnTo>
                        <a:pt x="1" y="35"/>
                      </a:lnTo>
                      <a:lnTo>
                        <a:pt x="3" y="36"/>
                      </a:lnTo>
                      <a:lnTo>
                        <a:pt x="4" y="38"/>
                      </a:lnTo>
                      <a:lnTo>
                        <a:pt x="7" y="35"/>
                      </a:lnTo>
                      <a:lnTo>
                        <a:pt x="6" y="33"/>
                      </a:lnTo>
                      <a:lnTo>
                        <a:pt x="3" y="30"/>
                      </a:lnTo>
                      <a:lnTo>
                        <a:pt x="1" y="29"/>
                      </a:lnTo>
                      <a:lnTo>
                        <a:pt x="1" y="30"/>
                      </a:lnTo>
                      <a:lnTo>
                        <a:pt x="1" y="32"/>
                      </a:lnTo>
                      <a:lnTo>
                        <a:pt x="0" y="28"/>
                      </a:lnTo>
                      <a:lnTo>
                        <a:pt x="0" y="23"/>
                      </a:lnTo>
                      <a:lnTo>
                        <a:pt x="0" y="18"/>
                      </a:lnTo>
                      <a:lnTo>
                        <a:pt x="1" y="14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9" name="Freeform 645">
                  <a:extLst>
                    <a:ext uri="{FF2B5EF4-FFF2-40B4-BE49-F238E27FC236}">
                      <a16:creationId xmlns:a16="http://schemas.microsoft.com/office/drawing/2014/main" id="{3B95B2F1-96AD-4310-9B46-33C3846072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7567" y="5559111"/>
                  <a:ext cx="6716" cy="10609"/>
                </a:xfrm>
                <a:custGeom>
                  <a:avLst/>
                  <a:gdLst>
                    <a:gd name="T0" fmla="*/ 2 w 7"/>
                    <a:gd name="T1" fmla="*/ 9 h 9"/>
                    <a:gd name="T2" fmla="*/ 7 w 7"/>
                    <a:gd name="T3" fmla="*/ 5 h 9"/>
                    <a:gd name="T4" fmla="*/ 7 w 7"/>
                    <a:gd name="T5" fmla="*/ 3 h 9"/>
                    <a:gd name="T6" fmla="*/ 7 w 7"/>
                    <a:gd name="T7" fmla="*/ 0 h 9"/>
                    <a:gd name="T8" fmla="*/ 3 w 7"/>
                    <a:gd name="T9" fmla="*/ 3 h 9"/>
                    <a:gd name="T10" fmla="*/ 1 w 7"/>
                    <a:gd name="T11" fmla="*/ 4 h 9"/>
                    <a:gd name="T12" fmla="*/ 0 w 7"/>
                    <a:gd name="T13" fmla="*/ 6 h 9"/>
                    <a:gd name="T14" fmla="*/ 2 w 7"/>
                    <a:gd name="T15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" h="9">
                      <a:moveTo>
                        <a:pt x="2" y="9"/>
                      </a:moveTo>
                      <a:lnTo>
                        <a:pt x="7" y="5"/>
                      </a:lnTo>
                      <a:lnTo>
                        <a:pt x="7" y="3"/>
                      </a:lnTo>
                      <a:lnTo>
                        <a:pt x="7" y="0"/>
                      </a:lnTo>
                      <a:lnTo>
                        <a:pt x="3" y="3"/>
                      </a:lnTo>
                      <a:lnTo>
                        <a:pt x="1" y="4"/>
                      </a:lnTo>
                      <a:lnTo>
                        <a:pt x="0" y="6"/>
                      </a:lnTo>
                      <a:lnTo>
                        <a:pt x="2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0" name="Freeform 646">
                  <a:extLst>
                    <a:ext uri="{FF2B5EF4-FFF2-40B4-BE49-F238E27FC236}">
                      <a16:creationId xmlns:a16="http://schemas.microsoft.com/office/drawing/2014/main" id="{EA53817A-64D8-494B-908D-4DBBD3DBD1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56667" y="5612153"/>
                  <a:ext cx="31340" cy="26521"/>
                </a:xfrm>
                <a:custGeom>
                  <a:avLst/>
                  <a:gdLst>
                    <a:gd name="T0" fmla="*/ 0 w 27"/>
                    <a:gd name="T1" fmla="*/ 3 h 18"/>
                    <a:gd name="T2" fmla="*/ 1 w 27"/>
                    <a:gd name="T3" fmla="*/ 7 h 18"/>
                    <a:gd name="T4" fmla="*/ 3 w 27"/>
                    <a:gd name="T5" fmla="*/ 10 h 18"/>
                    <a:gd name="T6" fmla="*/ 6 w 27"/>
                    <a:gd name="T7" fmla="*/ 12 h 18"/>
                    <a:gd name="T8" fmla="*/ 7 w 27"/>
                    <a:gd name="T9" fmla="*/ 16 h 18"/>
                    <a:gd name="T10" fmla="*/ 8 w 27"/>
                    <a:gd name="T11" fmla="*/ 13 h 18"/>
                    <a:gd name="T12" fmla="*/ 9 w 27"/>
                    <a:gd name="T13" fmla="*/ 13 h 18"/>
                    <a:gd name="T14" fmla="*/ 11 w 27"/>
                    <a:gd name="T15" fmla="*/ 16 h 18"/>
                    <a:gd name="T16" fmla="*/ 12 w 27"/>
                    <a:gd name="T17" fmla="*/ 17 h 18"/>
                    <a:gd name="T18" fmla="*/ 16 w 27"/>
                    <a:gd name="T19" fmla="*/ 18 h 18"/>
                    <a:gd name="T20" fmla="*/ 19 w 27"/>
                    <a:gd name="T21" fmla="*/ 18 h 18"/>
                    <a:gd name="T22" fmla="*/ 21 w 27"/>
                    <a:gd name="T23" fmla="*/ 18 h 18"/>
                    <a:gd name="T24" fmla="*/ 25 w 27"/>
                    <a:gd name="T25" fmla="*/ 16 h 18"/>
                    <a:gd name="T26" fmla="*/ 27 w 27"/>
                    <a:gd name="T27" fmla="*/ 12 h 18"/>
                    <a:gd name="T28" fmla="*/ 25 w 27"/>
                    <a:gd name="T29" fmla="*/ 7 h 18"/>
                    <a:gd name="T30" fmla="*/ 22 w 27"/>
                    <a:gd name="T31" fmla="*/ 5 h 18"/>
                    <a:gd name="T32" fmla="*/ 24 w 27"/>
                    <a:gd name="T33" fmla="*/ 3 h 18"/>
                    <a:gd name="T34" fmla="*/ 22 w 27"/>
                    <a:gd name="T35" fmla="*/ 0 h 18"/>
                    <a:gd name="T36" fmla="*/ 21 w 27"/>
                    <a:gd name="T37" fmla="*/ 3 h 18"/>
                    <a:gd name="T38" fmla="*/ 19 w 27"/>
                    <a:gd name="T39" fmla="*/ 5 h 18"/>
                    <a:gd name="T40" fmla="*/ 17 w 27"/>
                    <a:gd name="T41" fmla="*/ 5 h 18"/>
                    <a:gd name="T42" fmla="*/ 18 w 27"/>
                    <a:gd name="T43" fmla="*/ 3 h 18"/>
                    <a:gd name="T44" fmla="*/ 17 w 27"/>
                    <a:gd name="T45" fmla="*/ 2 h 18"/>
                    <a:gd name="T46" fmla="*/ 14 w 27"/>
                    <a:gd name="T47" fmla="*/ 2 h 18"/>
                    <a:gd name="T48" fmla="*/ 12 w 27"/>
                    <a:gd name="T49" fmla="*/ 2 h 18"/>
                    <a:gd name="T50" fmla="*/ 5 w 27"/>
                    <a:gd name="T51" fmla="*/ 3 h 18"/>
                    <a:gd name="T52" fmla="*/ 2 w 27"/>
                    <a:gd name="T53" fmla="*/ 3 h 18"/>
                    <a:gd name="T54" fmla="*/ 0 w 27"/>
                    <a:gd name="T55" fmla="*/ 3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27" h="18">
                      <a:moveTo>
                        <a:pt x="0" y="3"/>
                      </a:moveTo>
                      <a:lnTo>
                        <a:pt x="1" y="7"/>
                      </a:lnTo>
                      <a:lnTo>
                        <a:pt x="3" y="10"/>
                      </a:lnTo>
                      <a:lnTo>
                        <a:pt x="6" y="12"/>
                      </a:lnTo>
                      <a:lnTo>
                        <a:pt x="7" y="16"/>
                      </a:lnTo>
                      <a:lnTo>
                        <a:pt x="8" y="13"/>
                      </a:lnTo>
                      <a:lnTo>
                        <a:pt x="9" y="13"/>
                      </a:lnTo>
                      <a:lnTo>
                        <a:pt x="11" y="16"/>
                      </a:lnTo>
                      <a:lnTo>
                        <a:pt x="12" y="17"/>
                      </a:lnTo>
                      <a:lnTo>
                        <a:pt x="16" y="18"/>
                      </a:lnTo>
                      <a:lnTo>
                        <a:pt x="19" y="18"/>
                      </a:lnTo>
                      <a:lnTo>
                        <a:pt x="21" y="18"/>
                      </a:lnTo>
                      <a:lnTo>
                        <a:pt x="25" y="16"/>
                      </a:lnTo>
                      <a:lnTo>
                        <a:pt x="27" y="12"/>
                      </a:lnTo>
                      <a:lnTo>
                        <a:pt x="25" y="7"/>
                      </a:lnTo>
                      <a:lnTo>
                        <a:pt x="22" y="5"/>
                      </a:lnTo>
                      <a:lnTo>
                        <a:pt x="24" y="3"/>
                      </a:lnTo>
                      <a:lnTo>
                        <a:pt x="22" y="0"/>
                      </a:lnTo>
                      <a:lnTo>
                        <a:pt x="21" y="3"/>
                      </a:lnTo>
                      <a:lnTo>
                        <a:pt x="19" y="5"/>
                      </a:lnTo>
                      <a:lnTo>
                        <a:pt x="17" y="5"/>
                      </a:lnTo>
                      <a:lnTo>
                        <a:pt x="18" y="3"/>
                      </a:lnTo>
                      <a:lnTo>
                        <a:pt x="17" y="2"/>
                      </a:lnTo>
                      <a:lnTo>
                        <a:pt x="14" y="2"/>
                      </a:lnTo>
                      <a:lnTo>
                        <a:pt x="12" y="2"/>
                      </a:lnTo>
                      <a:lnTo>
                        <a:pt x="5" y="3"/>
                      </a:lnTo>
                      <a:lnTo>
                        <a:pt x="2" y="3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1" name="Freeform 647">
                  <a:extLst>
                    <a:ext uri="{FF2B5EF4-FFF2-40B4-BE49-F238E27FC236}">
                      <a16:creationId xmlns:a16="http://schemas.microsoft.com/office/drawing/2014/main" id="{8F18553E-2A1D-4622-831E-A2E1FB21BC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70099" y="5638673"/>
                  <a:ext cx="6716" cy="7957"/>
                </a:xfrm>
                <a:custGeom>
                  <a:avLst/>
                  <a:gdLst>
                    <a:gd name="T0" fmla="*/ 5 w 5"/>
                    <a:gd name="T1" fmla="*/ 7 h 7"/>
                    <a:gd name="T2" fmla="*/ 5 w 5"/>
                    <a:gd name="T3" fmla="*/ 4 h 7"/>
                    <a:gd name="T4" fmla="*/ 4 w 5"/>
                    <a:gd name="T5" fmla="*/ 3 h 7"/>
                    <a:gd name="T6" fmla="*/ 0 w 5"/>
                    <a:gd name="T7" fmla="*/ 0 h 7"/>
                    <a:gd name="T8" fmla="*/ 5 w 5"/>
                    <a:gd name="T9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7">
                      <a:moveTo>
                        <a:pt x="5" y="7"/>
                      </a:moveTo>
                      <a:lnTo>
                        <a:pt x="5" y="4"/>
                      </a:lnTo>
                      <a:lnTo>
                        <a:pt x="4" y="3"/>
                      </a:lnTo>
                      <a:lnTo>
                        <a:pt x="0" y="0"/>
                      </a:lnTo>
                      <a:lnTo>
                        <a:pt x="5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2" name="Freeform 648">
                  <a:extLst>
                    <a:ext uri="{FF2B5EF4-FFF2-40B4-BE49-F238E27FC236}">
                      <a16:creationId xmlns:a16="http://schemas.microsoft.com/office/drawing/2014/main" id="{3189C05F-A959-4561-B043-0E4DB08CF0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79052" y="5638673"/>
                  <a:ext cx="4477" cy="2653"/>
                </a:xfrm>
                <a:custGeom>
                  <a:avLst/>
                  <a:gdLst>
                    <a:gd name="T0" fmla="*/ 0 w 4"/>
                    <a:gd name="T1" fmla="*/ 1 h 3"/>
                    <a:gd name="T2" fmla="*/ 4 w 4"/>
                    <a:gd name="T3" fmla="*/ 3 h 3"/>
                    <a:gd name="T4" fmla="*/ 4 w 4"/>
                    <a:gd name="T5" fmla="*/ 0 h 3"/>
                    <a:gd name="T6" fmla="*/ 3 w 4"/>
                    <a:gd name="T7" fmla="*/ 0 h 3"/>
                    <a:gd name="T8" fmla="*/ 0 w 4"/>
                    <a:gd name="T9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3">
                      <a:moveTo>
                        <a:pt x="0" y="1"/>
                      </a:move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3" name="Freeform 649">
                  <a:extLst>
                    <a:ext uri="{FF2B5EF4-FFF2-40B4-BE49-F238E27FC236}">
                      <a16:creationId xmlns:a16="http://schemas.microsoft.com/office/drawing/2014/main" id="{22555FC9-90D8-4D07-AF25-836BF9A576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79052" y="5598892"/>
                  <a:ext cx="4477" cy="7957"/>
                </a:xfrm>
                <a:custGeom>
                  <a:avLst/>
                  <a:gdLst>
                    <a:gd name="T0" fmla="*/ 4 w 4"/>
                    <a:gd name="T1" fmla="*/ 2 h 6"/>
                    <a:gd name="T2" fmla="*/ 3 w 4"/>
                    <a:gd name="T3" fmla="*/ 2 h 6"/>
                    <a:gd name="T4" fmla="*/ 2 w 4"/>
                    <a:gd name="T5" fmla="*/ 0 h 6"/>
                    <a:gd name="T6" fmla="*/ 3 w 4"/>
                    <a:gd name="T7" fmla="*/ 3 h 6"/>
                    <a:gd name="T8" fmla="*/ 0 w 4"/>
                    <a:gd name="T9" fmla="*/ 6 h 6"/>
                    <a:gd name="T10" fmla="*/ 3 w 4"/>
                    <a:gd name="T11" fmla="*/ 5 h 6"/>
                    <a:gd name="T12" fmla="*/ 4 w 4"/>
                    <a:gd name="T13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6">
                      <a:moveTo>
                        <a:pt x="4" y="2"/>
                      </a:moveTo>
                      <a:lnTo>
                        <a:pt x="3" y="2"/>
                      </a:lnTo>
                      <a:lnTo>
                        <a:pt x="2" y="0"/>
                      </a:lnTo>
                      <a:lnTo>
                        <a:pt x="3" y="3"/>
                      </a:lnTo>
                      <a:lnTo>
                        <a:pt x="0" y="6"/>
                      </a:lnTo>
                      <a:lnTo>
                        <a:pt x="3" y="5"/>
                      </a:lnTo>
                      <a:lnTo>
                        <a:pt x="4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4" name="Freeform 650">
                  <a:extLst>
                    <a:ext uri="{FF2B5EF4-FFF2-40B4-BE49-F238E27FC236}">
                      <a16:creationId xmlns:a16="http://schemas.microsoft.com/office/drawing/2014/main" id="{F258FC81-165E-4B17-A3EE-7EC28E014D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83530" y="5636021"/>
                  <a:ext cx="6716" cy="15912"/>
                </a:xfrm>
                <a:custGeom>
                  <a:avLst/>
                  <a:gdLst>
                    <a:gd name="T0" fmla="*/ 1 w 6"/>
                    <a:gd name="T1" fmla="*/ 5 h 11"/>
                    <a:gd name="T2" fmla="*/ 0 w 6"/>
                    <a:gd name="T3" fmla="*/ 7 h 11"/>
                    <a:gd name="T4" fmla="*/ 2 w 6"/>
                    <a:gd name="T5" fmla="*/ 11 h 11"/>
                    <a:gd name="T6" fmla="*/ 5 w 6"/>
                    <a:gd name="T7" fmla="*/ 5 h 11"/>
                    <a:gd name="T8" fmla="*/ 6 w 6"/>
                    <a:gd name="T9" fmla="*/ 2 h 11"/>
                    <a:gd name="T10" fmla="*/ 5 w 6"/>
                    <a:gd name="T11" fmla="*/ 0 h 11"/>
                    <a:gd name="T12" fmla="*/ 1 w 6"/>
                    <a:gd name="T13" fmla="*/ 5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11">
                      <a:moveTo>
                        <a:pt x="1" y="5"/>
                      </a:moveTo>
                      <a:lnTo>
                        <a:pt x="0" y="7"/>
                      </a:lnTo>
                      <a:lnTo>
                        <a:pt x="2" y="11"/>
                      </a:lnTo>
                      <a:lnTo>
                        <a:pt x="5" y="5"/>
                      </a:lnTo>
                      <a:lnTo>
                        <a:pt x="6" y="2"/>
                      </a:lnTo>
                      <a:lnTo>
                        <a:pt x="5" y="0"/>
                      </a:lnTo>
                      <a:lnTo>
                        <a:pt x="1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5" name="Freeform 651">
                  <a:extLst>
                    <a:ext uri="{FF2B5EF4-FFF2-40B4-BE49-F238E27FC236}">
                      <a16:creationId xmlns:a16="http://schemas.microsoft.com/office/drawing/2014/main" id="{09A00003-2D09-43CA-92FE-2D9751F03C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88007" y="5545850"/>
                  <a:ext cx="8954" cy="2653"/>
                </a:xfrm>
                <a:custGeom>
                  <a:avLst/>
                  <a:gdLst>
                    <a:gd name="T0" fmla="*/ 2 w 6"/>
                    <a:gd name="T1" fmla="*/ 3 h 3"/>
                    <a:gd name="T2" fmla="*/ 6 w 6"/>
                    <a:gd name="T3" fmla="*/ 0 h 3"/>
                    <a:gd name="T4" fmla="*/ 2 w 6"/>
                    <a:gd name="T5" fmla="*/ 0 h 3"/>
                    <a:gd name="T6" fmla="*/ 0 w 6"/>
                    <a:gd name="T7" fmla="*/ 1 h 3"/>
                    <a:gd name="T8" fmla="*/ 2 w 6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3">
                      <a:moveTo>
                        <a:pt x="2" y="3"/>
                      </a:move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6" name="Freeform 652">
                  <a:extLst>
                    <a:ext uri="{FF2B5EF4-FFF2-40B4-BE49-F238E27FC236}">
                      <a16:creationId xmlns:a16="http://schemas.microsoft.com/office/drawing/2014/main" id="{64875166-3D85-474A-B87A-5950853D8E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0245" y="5593587"/>
                  <a:ext cx="44770" cy="63650"/>
                </a:xfrm>
                <a:custGeom>
                  <a:avLst/>
                  <a:gdLst>
                    <a:gd name="T0" fmla="*/ 8 w 41"/>
                    <a:gd name="T1" fmla="*/ 26 h 48"/>
                    <a:gd name="T2" fmla="*/ 12 w 41"/>
                    <a:gd name="T3" fmla="*/ 28 h 48"/>
                    <a:gd name="T4" fmla="*/ 20 w 41"/>
                    <a:gd name="T5" fmla="*/ 28 h 48"/>
                    <a:gd name="T6" fmla="*/ 21 w 41"/>
                    <a:gd name="T7" fmla="*/ 32 h 48"/>
                    <a:gd name="T8" fmla="*/ 21 w 41"/>
                    <a:gd name="T9" fmla="*/ 33 h 48"/>
                    <a:gd name="T10" fmla="*/ 24 w 41"/>
                    <a:gd name="T11" fmla="*/ 34 h 48"/>
                    <a:gd name="T12" fmla="*/ 21 w 41"/>
                    <a:gd name="T13" fmla="*/ 36 h 48"/>
                    <a:gd name="T14" fmla="*/ 22 w 41"/>
                    <a:gd name="T15" fmla="*/ 42 h 48"/>
                    <a:gd name="T16" fmla="*/ 25 w 41"/>
                    <a:gd name="T17" fmla="*/ 48 h 48"/>
                    <a:gd name="T18" fmla="*/ 30 w 41"/>
                    <a:gd name="T19" fmla="*/ 42 h 48"/>
                    <a:gd name="T20" fmla="*/ 30 w 41"/>
                    <a:gd name="T21" fmla="*/ 38 h 48"/>
                    <a:gd name="T22" fmla="*/ 26 w 41"/>
                    <a:gd name="T23" fmla="*/ 36 h 48"/>
                    <a:gd name="T24" fmla="*/ 31 w 41"/>
                    <a:gd name="T25" fmla="*/ 34 h 48"/>
                    <a:gd name="T26" fmla="*/ 31 w 41"/>
                    <a:gd name="T27" fmla="*/ 30 h 48"/>
                    <a:gd name="T28" fmla="*/ 36 w 41"/>
                    <a:gd name="T29" fmla="*/ 27 h 48"/>
                    <a:gd name="T30" fmla="*/ 37 w 41"/>
                    <a:gd name="T31" fmla="*/ 23 h 48"/>
                    <a:gd name="T32" fmla="*/ 33 w 41"/>
                    <a:gd name="T33" fmla="*/ 21 h 48"/>
                    <a:gd name="T34" fmla="*/ 33 w 41"/>
                    <a:gd name="T35" fmla="*/ 17 h 48"/>
                    <a:gd name="T36" fmla="*/ 38 w 41"/>
                    <a:gd name="T37" fmla="*/ 14 h 48"/>
                    <a:gd name="T38" fmla="*/ 41 w 41"/>
                    <a:gd name="T39" fmla="*/ 9 h 48"/>
                    <a:gd name="T40" fmla="*/ 41 w 41"/>
                    <a:gd name="T41" fmla="*/ 3 h 48"/>
                    <a:gd name="T42" fmla="*/ 33 w 41"/>
                    <a:gd name="T43" fmla="*/ 0 h 48"/>
                    <a:gd name="T44" fmla="*/ 25 w 41"/>
                    <a:gd name="T45" fmla="*/ 4 h 48"/>
                    <a:gd name="T46" fmla="*/ 28 w 41"/>
                    <a:gd name="T47" fmla="*/ 10 h 48"/>
                    <a:gd name="T48" fmla="*/ 25 w 41"/>
                    <a:gd name="T49" fmla="*/ 15 h 48"/>
                    <a:gd name="T50" fmla="*/ 26 w 41"/>
                    <a:gd name="T51" fmla="*/ 6 h 48"/>
                    <a:gd name="T52" fmla="*/ 24 w 41"/>
                    <a:gd name="T53" fmla="*/ 11 h 48"/>
                    <a:gd name="T54" fmla="*/ 21 w 41"/>
                    <a:gd name="T55" fmla="*/ 14 h 48"/>
                    <a:gd name="T56" fmla="*/ 19 w 41"/>
                    <a:gd name="T57" fmla="*/ 10 h 48"/>
                    <a:gd name="T58" fmla="*/ 20 w 41"/>
                    <a:gd name="T59" fmla="*/ 6 h 48"/>
                    <a:gd name="T60" fmla="*/ 11 w 41"/>
                    <a:gd name="T61" fmla="*/ 5 h 48"/>
                    <a:gd name="T62" fmla="*/ 15 w 41"/>
                    <a:gd name="T63" fmla="*/ 6 h 48"/>
                    <a:gd name="T64" fmla="*/ 9 w 41"/>
                    <a:gd name="T65" fmla="*/ 11 h 48"/>
                    <a:gd name="T66" fmla="*/ 0 w 41"/>
                    <a:gd name="T67" fmla="*/ 12 h 48"/>
                    <a:gd name="T68" fmla="*/ 6 w 41"/>
                    <a:gd name="T69" fmla="*/ 18 h 48"/>
                    <a:gd name="T70" fmla="*/ 6 w 41"/>
                    <a:gd name="T71" fmla="*/ 23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41" h="48">
                      <a:moveTo>
                        <a:pt x="5" y="23"/>
                      </a:moveTo>
                      <a:lnTo>
                        <a:pt x="8" y="26"/>
                      </a:lnTo>
                      <a:lnTo>
                        <a:pt x="10" y="28"/>
                      </a:lnTo>
                      <a:lnTo>
                        <a:pt x="12" y="28"/>
                      </a:lnTo>
                      <a:lnTo>
                        <a:pt x="16" y="28"/>
                      </a:lnTo>
                      <a:lnTo>
                        <a:pt x="20" y="28"/>
                      </a:lnTo>
                      <a:lnTo>
                        <a:pt x="21" y="31"/>
                      </a:lnTo>
                      <a:lnTo>
                        <a:pt x="21" y="32"/>
                      </a:lnTo>
                      <a:lnTo>
                        <a:pt x="19" y="32"/>
                      </a:lnTo>
                      <a:lnTo>
                        <a:pt x="21" y="33"/>
                      </a:lnTo>
                      <a:lnTo>
                        <a:pt x="22" y="34"/>
                      </a:lnTo>
                      <a:lnTo>
                        <a:pt x="24" y="34"/>
                      </a:lnTo>
                      <a:lnTo>
                        <a:pt x="22" y="36"/>
                      </a:lnTo>
                      <a:lnTo>
                        <a:pt x="21" y="36"/>
                      </a:lnTo>
                      <a:lnTo>
                        <a:pt x="21" y="38"/>
                      </a:lnTo>
                      <a:lnTo>
                        <a:pt x="22" y="42"/>
                      </a:lnTo>
                      <a:lnTo>
                        <a:pt x="24" y="46"/>
                      </a:lnTo>
                      <a:lnTo>
                        <a:pt x="25" y="48"/>
                      </a:lnTo>
                      <a:lnTo>
                        <a:pt x="28" y="44"/>
                      </a:lnTo>
                      <a:lnTo>
                        <a:pt x="30" y="42"/>
                      </a:lnTo>
                      <a:lnTo>
                        <a:pt x="30" y="39"/>
                      </a:lnTo>
                      <a:lnTo>
                        <a:pt x="30" y="38"/>
                      </a:lnTo>
                      <a:lnTo>
                        <a:pt x="27" y="37"/>
                      </a:lnTo>
                      <a:lnTo>
                        <a:pt x="26" y="36"/>
                      </a:lnTo>
                      <a:lnTo>
                        <a:pt x="25" y="34"/>
                      </a:lnTo>
                      <a:lnTo>
                        <a:pt x="31" y="34"/>
                      </a:lnTo>
                      <a:lnTo>
                        <a:pt x="30" y="32"/>
                      </a:lnTo>
                      <a:lnTo>
                        <a:pt x="31" y="30"/>
                      </a:lnTo>
                      <a:lnTo>
                        <a:pt x="32" y="28"/>
                      </a:lnTo>
                      <a:lnTo>
                        <a:pt x="36" y="27"/>
                      </a:lnTo>
                      <a:lnTo>
                        <a:pt x="37" y="26"/>
                      </a:lnTo>
                      <a:lnTo>
                        <a:pt x="37" y="23"/>
                      </a:lnTo>
                      <a:lnTo>
                        <a:pt x="35" y="22"/>
                      </a:lnTo>
                      <a:lnTo>
                        <a:pt x="33" y="21"/>
                      </a:lnTo>
                      <a:lnTo>
                        <a:pt x="32" y="18"/>
                      </a:lnTo>
                      <a:lnTo>
                        <a:pt x="33" y="17"/>
                      </a:lnTo>
                      <a:lnTo>
                        <a:pt x="37" y="15"/>
                      </a:lnTo>
                      <a:lnTo>
                        <a:pt x="38" y="14"/>
                      </a:lnTo>
                      <a:lnTo>
                        <a:pt x="41" y="11"/>
                      </a:lnTo>
                      <a:lnTo>
                        <a:pt x="41" y="9"/>
                      </a:lnTo>
                      <a:lnTo>
                        <a:pt x="40" y="5"/>
                      </a:lnTo>
                      <a:lnTo>
                        <a:pt x="41" y="3"/>
                      </a:lnTo>
                      <a:lnTo>
                        <a:pt x="37" y="0"/>
                      </a:lnTo>
                      <a:lnTo>
                        <a:pt x="33" y="0"/>
                      </a:lnTo>
                      <a:lnTo>
                        <a:pt x="28" y="1"/>
                      </a:lnTo>
                      <a:lnTo>
                        <a:pt x="25" y="4"/>
                      </a:lnTo>
                      <a:lnTo>
                        <a:pt x="27" y="6"/>
                      </a:lnTo>
                      <a:lnTo>
                        <a:pt x="28" y="10"/>
                      </a:lnTo>
                      <a:lnTo>
                        <a:pt x="28" y="12"/>
                      </a:lnTo>
                      <a:lnTo>
                        <a:pt x="25" y="15"/>
                      </a:lnTo>
                      <a:lnTo>
                        <a:pt x="27" y="11"/>
                      </a:lnTo>
                      <a:lnTo>
                        <a:pt x="26" y="6"/>
                      </a:lnTo>
                      <a:lnTo>
                        <a:pt x="25" y="9"/>
                      </a:lnTo>
                      <a:lnTo>
                        <a:pt x="24" y="11"/>
                      </a:lnTo>
                      <a:lnTo>
                        <a:pt x="22" y="12"/>
                      </a:lnTo>
                      <a:lnTo>
                        <a:pt x="21" y="14"/>
                      </a:lnTo>
                      <a:lnTo>
                        <a:pt x="20" y="11"/>
                      </a:lnTo>
                      <a:lnTo>
                        <a:pt x="19" y="10"/>
                      </a:lnTo>
                      <a:lnTo>
                        <a:pt x="20" y="7"/>
                      </a:lnTo>
                      <a:lnTo>
                        <a:pt x="20" y="6"/>
                      </a:lnTo>
                      <a:lnTo>
                        <a:pt x="16" y="5"/>
                      </a:lnTo>
                      <a:lnTo>
                        <a:pt x="11" y="5"/>
                      </a:lnTo>
                      <a:lnTo>
                        <a:pt x="14" y="5"/>
                      </a:lnTo>
                      <a:lnTo>
                        <a:pt x="15" y="6"/>
                      </a:lnTo>
                      <a:lnTo>
                        <a:pt x="12" y="9"/>
                      </a:lnTo>
                      <a:lnTo>
                        <a:pt x="9" y="11"/>
                      </a:lnTo>
                      <a:lnTo>
                        <a:pt x="4" y="11"/>
                      </a:lnTo>
                      <a:lnTo>
                        <a:pt x="0" y="12"/>
                      </a:lnTo>
                      <a:lnTo>
                        <a:pt x="3" y="15"/>
                      </a:lnTo>
                      <a:lnTo>
                        <a:pt x="6" y="18"/>
                      </a:lnTo>
                      <a:lnTo>
                        <a:pt x="8" y="22"/>
                      </a:lnTo>
                      <a:lnTo>
                        <a:pt x="6" y="23"/>
                      </a:lnTo>
                      <a:lnTo>
                        <a:pt x="5" y="23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7" name="Freeform 653">
                  <a:extLst>
                    <a:ext uri="{FF2B5EF4-FFF2-40B4-BE49-F238E27FC236}">
                      <a16:creationId xmlns:a16="http://schemas.microsoft.com/office/drawing/2014/main" id="{7A8473DE-E09B-4A3A-9D72-45A4E78AA7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2484" y="5641326"/>
                  <a:ext cx="24625" cy="13261"/>
                </a:xfrm>
                <a:custGeom>
                  <a:avLst/>
                  <a:gdLst>
                    <a:gd name="T0" fmla="*/ 0 w 21"/>
                    <a:gd name="T1" fmla="*/ 5 h 11"/>
                    <a:gd name="T2" fmla="*/ 3 w 21"/>
                    <a:gd name="T3" fmla="*/ 7 h 11"/>
                    <a:gd name="T4" fmla="*/ 9 w 21"/>
                    <a:gd name="T5" fmla="*/ 10 h 11"/>
                    <a:gd name="T6" fmla="*/ 16 w 21"/>
                    <a:gd name="T7" fmla="*/ 11 h 11"/>
                    <a:gd name="T8" fmla="*/ 19 w 21"/>
                    <a:gd name="T9" fmla="*/ 8 h 11"/>
                    <a:gd name="T10" fmla="*/ 21 w 21"/>
                    <a:gd name="T11" fmla="*/ 6 h 11"/>
                    <a:gd name="T12" fmla="*/ 19 w 21"/>
                    <a:gd name="T13" fmla="*/ 3 h 11"/>
                    <a:gd name="T14" fmla="*/ 16 w 21"/>
                    <a:gd name="T15" fmla="*/ 3 h 11"/>
                    <a:gd name="T16" fmla="*/ 13 w 21"/>
                    <a:gd name="T17" fmla="*/ 3 h 11"/>
                    <a:gd name="T18" fmla="*/ 9 w 21"/>
                    <a:gd name="T19" fmla="*/ 3 h 11"/>
                    <a:gd name="T20" fmla="*/ 7 w 21"/>
                    <a:gd name="T21" fmla="*/ 1 h 11"/>
                    <a:gd name="T22" fmla="*/ 3 w 21"/>
                    <a:gd name="T23" fmla="*/ 0 h 11"/>
                    <a:gd name="T24" fmla="*/ 1 w 21"/>
                    <a:gd name="T25" fmla="*/ 1 h 11"/>
                    <a:gd name="T26" fmla="*/ 2 w 21"/>
                    <a:gd name="T27" fmla="*/ 5 h 11"/>
                    <a:gd name="T28" fmla="*/ 0 w 21"/>
                    <a:gd name="T29" fmla="*/ 5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1" h="11">
                      <a:moveTo>
                        <a:pt x="0" y="5"/>
                      </a:moveTo>
                      <a:lnTo>
                        <a:pt x="3" y="7"/>
                      </a:lnTo>
                      <a:lnTo>
                        <a:pt x="9" y="10"/>
                      </a:lnTo>
                      <a:lnTo>
                        <a:pt x="16" y="11"/>
                      </a:lnTo>
                      <a:lnTo>
                        <a:pt x="19" y="8"/>
                      </a:lnTo>
                      <a:lnTo>
                        <a:pt x="21" y="6"/>
                      </a:lnTo>
                      <a:lnTo>
                        <a:pt x="19" y="3"/>
                      </a:lnTo>
                      <a:lnTo>
                        <a:pt x="16" y="3"/>
                      </a:lnTo>
                      <a:lnTo>
                        <a:pt x="13" y="3"/>
                      </a:lnTo>
                      <a:lnTo>
                        <a:pt x="9" y="3"/>
                      </a:lnTo>
                      <a:lnTo>
                        <a:pt x="7" y="1"/>
                      </a:lnTo>
                      <a:lnTo>
                        <a:pt x="3" y="0"/>
                      </a:lnTo>
                      <a:lnTo>
                        <a:pt x="1" y="1"/>
                      </a:lnTo>
                      <a:lnTo>
                        <a:pt x="2" y="5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8" name="Freeform 654">
                  <a:extLst>
                    <a:ext uri="{FF2B5EF4-FFF2-40B4-BE49-F238E27FC236}">
                      <a16:creationId xmlns:a16="http://schemas.microsoft.com/office/drawing/2014/main" id="{8446E924-CB91-466A-8A15-7DCF9E62A7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23823" y="5638673"/>
                  <a:ext cx="11193" cy="5304"/>
                </a:xfrm>
                <a:custGeom>
                  <a:avLst/>
                  <a:gdLst>
                    <a:gd name="T0" fmla="*/ 0 w 9"/>
                    <a:gd name="T1" fmla="*/ 1 h 5"/>
                    <a:gd name="T2" fmla="*/ 0 w 9"/>
                    <a:gd name="T3" fmla="*/ 5 h 5"/>
                    <a:gd name="T4" fmla="*/ 1 w 9"/>
                    <a:gd name="T5" fmla="*/ 5 h 5"/>
                    <a:gd name="T6" fmla="*/ 5 w 9"/>
                    <a:gd name="T7" fmla="*/ 4 h 5"/>
                    <a:gd name="T8" fmla="*/ 7 w 9"/>
                    <a:gd name="T9" fmla="*/ 3 h 5"/>
                    <a:gd name="T10" fmla="*/ 9 w 9"/>
                    <a:gd name="T11" fmla="*/ 1 h 5"/>
                    <a:gd name="T12" fmla="*/ 7 w 9"/>
                    <a:gd name="T13" fmla="*/ 0 h 5"/>
                    <a:gd name="T14" fmla="*/ 5 w 9"/>
                    <a:gd name="T15" fmla="*/ 1 h 5"/>
                    <a:gd name="T16" fmla="*/ 2 w 9"/>
                    <a:gd name="T17" fmla="*/ 1 h 5"/>
                    <a:gd name="T18" fmla="*/ 0 w 9"/>
                    <a:gd name="T19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9" h="5">
                      <a:moveTo>
                        <a:pt x="0" y="1"/>
                      </a:move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5" y="4"/>
                      </a:lnTo>
                      <a:lnTo>
                        <a:pt x="7" y="3"/>
                      </a:lnTo>
                      <a:lnTo>
                        <a:pt x="9" y="1"/>
                      </a:lnTo>
                      <a:lnTo>
                        <a:pt x="7" y="0"/>
                      </a:lnTo>
                      <a:lnTo>
                        <a:pt x="5" y="1"/>
                      </a:lnTo>
                      <a:lnTo>
                        <a:pt x="2" y="1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9" name="Freeform 655">
                  <a:extLst>
                    <a:ext uri="{FF2B5EF4-FFF2-40B4-BE49-F238E27FC236}">
                      <a16:creationId xmlns:a16="http://schemas.microsoft.com/office/drawing/2014/main" id="{448FC3E4-DFDA-42E8-A917-F95988E21C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5016" y="5612153"/>
                  <a:ext cx="2240" cy="5304"/>
                </a:xfrm>
                <a:custGeom>
                  <a:avLst/>
                  <a:gdLst>
                    <a:gd name="T0" fmla="*/ 0 w 2"/>
                    <a:gd name="T1" fmla="*/ 0 h 2"/>
                    <a:gd name="T2" fmla="*/ 1 w 2"/>
                    <a:gd name="T3" fmla="*/ 2 h 2"/>
                    <a:gd name="T4" fmla="*/ 1 w 2"/>
                    <a:gd name="T5" fmla="*/ 2 h 2"/>
                    <a:gd name="T6" fmla="*/ 2 w 2"/>
                    <a:gd name="T7" fmla="*/ 1 h 2"/>
                    <a:gd name="T8" fmla="*/ 2 w 2"/>
                    <a:gd name="T9" fmla="*/ 0 h 2"/>
                    <a:gd name="T10" fmla="*/ 0 w 2"/>
                    <a:gd name="T1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0" name="Freeform 656">
                  <a:extLst>
                    <a:ext uri="{FF2B5EF4-FFF2-40B4-BE49-F238E27FC236}">
                      <a16:creationId xmlns:a16="http://schemas.microsoft.com/office/drawing/2014/main" id="{48C13CBD-9357-4A6A-A4E8-7B6870082C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3218" y="5630717"/>
                  <a:ext cx="11193" cy="7957"/>
                </a:xfrm>
                <a:custGeom>
                  <a:avLst/>
                  <a:gdLst>
                    <a:gd name="T0" fmla="*/ 8 w 10"/>
                    <a:gd name="T1" fmla="*/ 1 h 7"/>
                    <a:gd name="T2" fmla="*/ 4 w 10"/>
                    <a:gd name="T3" fmla="*/ 0 h 7"/>
                    <a:gd name="T4" fmla="*/ 2 w 10"/>
                    <a:gd name="T5" fmla="*/ 1 h 7"/>
                    <a:gd name="T6" fmla="*/ 0 w 10"/>
                    <a:gd name="T7" fmla="*/ 3 h 7"/>
                    <a:gd name="T8" fmla="*/ 2 w 10"/>
                    <a:gd name="T9" fmla="*/ 5 h 7"/>
                    <a:gd name="T10" fmla="*/ 5 w 10"/>
                    <a:gd name="T11" fmla="*/ 6 h 7"/>
                    <a:gd name="T12" fmla="*/ 7 w 10"/>
                    <a:gd name="T13" fmla="*/ 7 h 7"/>
                    <a:gd name="T14" fmla="*/ 10 w 10"/>
                    <a:gd name="T15" fmla="*/ 6 h 7"/>
                    <a:gd name="T16" fmla="*/ 10 w 10"/>
                    <a:gd name="T17" fmla="*/ 3 h 7"/>
                    <a:gd name="T18" fmla="*/ 8 w 10"/>
                    <a:gd name="T19" fmla="*/ 1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0" h="7">
                      <a:moveTo>
                        <a:pt x="8" y="1"/>
                      </a:moveTo>
                      <a:lnTo>
                        <a:pt x="4" y="0"/>
                      </a:lnTo>
                      <a:lnTo>
                        <a:pt x="2" y="1"/>
                      </a:lnTo>
                      <a:lnTo>
                        <a:pt x="0" y="3"/>
                      </a:lnTo>
                      <a:lnTo>
                        <a:pt x="2" y="5"/>
                      </a:lnTo>
                      <a:lnTo>
                        <a:pt x="5" y="6"/>
                      </a:lnTo>
                      <a:lnTo>
                        <a:pt x="7" y="7"/>
                      </a:lnTo>
                      <a:lnTo>
                        <a:pt x="10" y="6"/>
                      </a:lnTo>
                      <a:lnTo>
                        <a:pt x="10" y="3"/>
                      </a:lnTo>
                      <a:lnTo>
                        <a:pt x="8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1" name="Freeform 657">
                  <a:extLst>
                    <a:ext uri="{FF2B5EF4-FFF2-40B4-BE49-F238E27FC236}">
                      <a16:creationId xmlns:a16="http://schemas.microsoft.com/office/drawing/2014/main" id="{6BDDD92A-386B-480D-B001-4D0947D680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0851" y="5527287"/>
                  <a:ext cx="60441" cy="47737"/>
                </a:xfrm>
                <a:custGeom>
                  <a:avLst/>
                  <a:gdLst>
                    <a:gd name="T0" fmla="*/ 3 w 56"/>
                    <a:gd name="T1" fmla="*/ 33 h 35"/>
                    <a:gd name="T2" fmla="*/ 0 w 56"/>
                    <a:gd name="T3" fmla="*/ 30 h 35"/>
                    <a:gd name="T4" fmla="*/ 2 w 56"/>
                    <a:gd name="T5" fmla="*/ 27 h 35"/>
                    <a:gd name="T6" fmla="*/ 3 w 56"/>
                    <a:gd name="T7" fmla="*/ 23 h 35"/>
                    <a:gd name="T8" fmla="*/ 7 w 56"/>
                    <a:gd name="T9" fmla="*/ 21 h 35"/>
                    <a:gd name="T10" fmla="*/ 10 w 56"/>
                    <a:gd name="T11" fmla="*/ 18 h 35"/>
                    <a:gd name="T12" fmla="*/ 15 w 56"/>
                    <a:gd name="T13" fmla="*/ 18 h 35"/>
                    <a:gd name="T14" fmla="*/ 26 w 56"/>
                    <a:gd name="T15" fmla="*/ 18 h 35"/>
                    <a:gd name="T16" fmla="*/ 30 w 56"/>
                    <a:gd name="T17" fmla="*/ 17 h 35"/>
                    <a:gd name="T18" fmla="*/ 32 w 56"/>
                    <a:gd name="T19" fmla="*/ 14 h 35"/>
                    <a:gd name="T20" fmla="*/ 37 w 56"/>
                    <a:gd name="T21" fmla="*/ 8 h 35"/>
                    <a:gd name="T22" fmla="*/ 41 w 56"/>
                    <a:gd name="T23" fmla="*/ 6 h 35"/>
                    <a:gd name="T24" fmla="*/ 46 w 56"/>
                    <a:gd name="T25" fmla="*/ 3 h 35"/>
                    <a:gd name="T26" fmla="*/ 51 w 56"/>
                    <a:gd name="T27" fmla="*/ 1 h 35"/>
                    <a:gd name="T28" fmla="*/ 56 w 56"/>
                    <a:gd name="T29" fmla="*/ 0 h 35"/>
                    <a:gd name="T30" fmla="*/ 53 w 56"/>
                    <a:gd name="T31" fmla="*/ 2 h 35"/>
                    <a:gd name="T32" fmla="*/ 53 w 56"/>
                    <a:gd name="T33" fmla="*/ 3 h 35"/>
                    <a:gd name="T34" fmla="*/ 53 w 56"/>
                    <a:gd name="T35" fmla="*/ 7 h 35"/>
                    <a:gd name="T36" fmla="*/ 55 w 56"/>
                    <a:gd name="T37" fmla="*/ 11 h 35"/>
                    <a:gd name="T38" fmla="*/ 53 w 56"/>
                    <a:gd name="T39" fmla="*/ 16 h 35"/>
                    <a:gd name="T40" fmla="*/ 51 w 56"/>
                    <a:gd name="T41" fmla="*/ 19 h 35"/>
                    <a:gd name="T42" fmla="*/ 47 w 56"/>
                    <a:gd name="T43" fmla="*/ 22 h 35"/>
                    <a:gd name="T44" fmla="*/ 43 w 56"/>
                    <a:gd name="T45" fmla="*/ 22 h 35"/>
                    <a:gd name="T46" fmla="*/ 39 w 56"/>
                    <a:gd name="T47" fmla="*/ 21 h 35"/>
                    <a:gd name="T48" fmla="*/ 34 w 56"/>
                    <a:gd name="T49" fmla="*/ 21 h 35"/>
                    <a:gd name="T50" fmla="*/ 29 w 56"/>
                    <a:gd name="T51" fmla="*/ 21 h 35"/>
                    <a:gd name="T52" fmla="*/ 24 w 56"/>
                    <a:gd name="T53" fmla="*/ 22 h 35"/>
                    <a:gd name="T54" fmla="*/ 19 w 56"/>
                    <a:gd name="T55" fmla="*/ 21 h 35"/>
                    <a:gd name="T56" fmla="*/ 14 w 56"/>
                    <a:gd name="T57" fmla="*/ 23 h 35"/>
                    <a:gd name="T58" fmla="*/ 9 w 56"/>
                    <a:gd name="T59" fmla="*/ 25 h 35"/>
                    <a:gd name="T60" fmla="*/ 8 w 56"/>
                    <a:gd name="T61" fmla="*/ 27 h 35"/>
                    <a:gd name="T62" fmla="*/ 7 w 56"/>
                    <a:gd name="T63" fmla="*/ 29 h 35"/>
                    <a:gd name="T64" fmla="*/ 5 w 56"/>
                    <a:gd name="T65" fmla="*/ 32 h 35"/>
                    <a:gd name="T66" fmla="*/ 3 w 56"/>
                    <a:gd name="T67" fmla="*/ 32 h 35"/>
                    <a:gd name="T68" fmla="*/ 7 w 56"/>
                    <a:gd name="T69" fmla="*/ 33 h 35"/>
                    <a:gd name="T70" fmla="*/ 7 w 56"/>
                    <a:gd name="T71" fmla="*/ 35 h 35"/>
                    <a:gd name="T72" fmla="*/ 3 w 56"/>
                    <a:gd name="T73" fmla="*/ 33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56" h="35">
                      <a:moveTo>
                        <a:pt x="3" y="33"/>
                      </a:moveTo>
                      <a:lnTo>
                        <a:pt x="0" y="30"/>
                      </a:lnTo>
                      <a:lnTo>
                        <a:pt x="2" y="27"/>
                      </a:lnTo>
                      <a:lnTo>
                        <a:pt x="3" y="23"/>
                      </a:lnTo>
                      <a:lnTo>
                        <a:pt x="7" y="21"/>
                      </a:lnTo>
                      <a:lnTo>
                        <a:pt x="10" y="18"/>
                      </a:lnTo>
                      <a:lnTo>
                        <a:pt x="15" y="18"/>
                      </a:lnTo>
                      <a:lnTo>
                        <a:pt x="26" y="18"/>
                      </a:lnTo>
                      <a:lnTo>
                        <a:pt x="30" y="17"/>
                      </a:lnTo>
                      <a:lnTo>
                        <a:pt x="32" y="14"/>
                      </a:lnTo>
                      <a:lnTo>
                        <a:pt x="37" y="8"/>
                      </a:lnTo>
                      <a:lnTo>
                        <a:pt x="41" y="6"/>
                      </a:lnTo>
                      <a:lnTo>
                        <a:pt x="46" y="3"/>
                      </a:lnTo>
                      <a:lnTo>
                        <a:pt x="51" y="1"/>
                      </a:lnTo>
                      <a:lnTo>
                        <a:pt x="56" y="0"/>
                      </a:lnTo>
                      <a:lnTo>
                        <a:pt x="53" y="2"/>
                      </a:lnTo>
                      <a:lnTo>
                        <a:pt x="53" y="3"/>
                      </a:lnTo>
                      <a:lnTo>
                        <a:pt x="53" y="7"/>
                      </a:lnTo>
                      <a:lnTo>
                        <a:pt x="55" y="11"/>
                      </a:lnTo>
                      <a:lnTo>
                        <a:pt x="53" y="16"/>
                      </a:lnTo>
                      <a:lnTo>
                        <a:pt x="51" y="19"/>
                      </a:lnTo>
                      <a:lnTo>
                        <a:pt x="47" y="22"/>
                      </a:lnTo>
                      <a:lnTo>
                        <a:pt x="43" y="22"/>
                      </a:lnTo>
                      <a:lnTo>
                        <a:pt x="39" y="21"/>
                      </a:lnTo>
                      <a:lnTo>
                        <a:pt x="34" y="21"/>
                      </a:lnTo>
                      <a:lnTo>
                        <a:pt x="29" y="21"/>
                      </a:lnTo>
                      <a:lnTo>
                        <a:pt x="24" y="22"/>
                      </a:lnTo>
                      <a:lnTo>
                        <a:pt x="19" y="21"/>
                      </a:lnTo>
                      <a:lnTo>
                        <a:pt x="14" y="23"/>
                      </a:lnTo>
                      <a:lnTo>
                        <a:pt x="9" y="25"/>
                      </a:lnTo>
                      <a:lnTo>
                        <a:pt x="8" y="27"/>
                      </a:lnTo>
                      <a:lnTo>
                        <a:pt x="7" y="29"/>
                      </a:lnTo>
                      <a:lnTo>
                        <a:pt x="5" y="32"/>
                      </a:lnTo>
                      <a:lnTo>
                        <a:pt x="3" y="32"/>
                      </a:lnTo>
                      <a:lnTo>
                        <a:pt x="7" y="33"/>
                      </a:lnTo>
                      <a:lnTo>
                        <a:pt x="7" y="35"/>
                      </a:lnTo>
                      <a:lnTo>
                        <a:pt x="3" y="33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2" name="Freeform 658">
                  <a:extLst>
                    <a:ext uri="{FF2B5EF4-FFF2-40B4-BE49-F238E27FC236}">
                      <a16:creationId xmlns:a16="http://schemas.microsoft.com/office/drawing/2014/main" id="{F39CC476-D551-49D2-920A-6F5AF46078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1105" y="5514026"/>
                  <a:ext cx="196989" cy="98128"/>
                </a:xfrm>
                <a:custGeom>
                  <a:avLst/>
                  <a:gdLst>
                    <a:gd name="T0" fmla="*/ 2 w 176"/>
                    <a:gd name="T1" fmla="*/ 50 h 74"/>
                    <a:gd name="T2" fmla="*/ 2 w 176"/>
                    <a:gd name="T3" fmla="*/ 39 h 74"/>
                    <a:gd name="T4" fmla="*/ 7 w 176"/>
                    <a:gd name="T5" fmla="*/ 34 h 74"/>
                    <a:gd name="T6" fmla="*/ 9 w 176"/>
                    <a:gd name="T7" fmla="*/ 27 h 74"/>
                    <a:gd name="T8" fmla="*/ 15 w 176"/>
                    <a:gd name="T9" fmla="*/ 17 h 74"/>
                    <a:gd name="T10" fmla="*/ 25 w 176"/>
                    <a:gd name="T11" fmla="*/ 12 h 74"/>
                    <a:gd name="T12" fmla="*/ 32 w 176"/>
                    <a:gd name="T13" fmla="*/ 10 h 74"/>
                    <a:gd name="T14" fmla="*/ 41 w 176"/>
                    <a:gd name="T15" fmla="*/ 16 h 74"/>
                    <a:gd name="T16" fmla="*/ 53 w 176"/>
                    <a:gd name="T17" fmla="*/ 28 h 74"/>
                    <a:gd name="T18" fmla="*/ 61 w 176"/>
                    <a:gd name="T19" fmla="*/ 33 h 74"/>
                    <a:gd name="T20" fmla="*/ 68 w 176"/>
                    <a:gd name="T21" fmla="*/ 33 h 74"/>
                    <a:gd name="T22" fmla="*/ 78 w 176"/>
                    <a:gd name="T23" fmla="*/ 26 h 74"/>
                    <a:gd name="T24" fmla="*/ 79 w 176"/>
                    <a:gd name="T25" fmla="*/ 18 h 74"/>
                    <a:gd name="T26" fmla="*/ 77 w 176"/>
                    <a:gd name="T27" fmla="*/ 10 h 74"/>
                    <a:gd name="T28" fmla="*/ 79 w 176"/>
                    <a:gd name="T29" fmla="*/ 5 h 74"/>
                    <a:gd name="T30" fmla="*/ 85 w 176"/>
                    <a:gd name="T31" fmla="*/ 2 h 74"/>
                    <a:gd name="T32" fmla="*/ 94 w 176"/>
                    <a:gd name="T33" fmla="*/ 0 h 74"/>
                    <a:gd name="T34" fmla="*/ 102 w 176"/>
                    <a:gd name="T35" fmla="*/ 2 h 74"/>
                    <a:gd name="T36" fmla="*/ 115 w 176"/>
                    <a:gd name="T37" fmla="*/ 7 h 74"/>
                    <a:gd name="T38" fmla="*/ 127 w 176"/>
                    <a:gd name="T39" fmla="*/ 15 h 74"/>
                    <a:gd name="T40" fmla="*/ 133 w 176"/>
                    <a:gd name="T41" fmla="*/ 15 h 74"/>
                    <a:gd name="T42" fmla="*/ 142 w 176"/>
                    <a:gd name="T43" fmla="*/ 15 h 74"/>
                    <a:gd name="T44" fmla="*/ 149 w 176"/>
                    <a:gd name="T45" fmla="*/ 16 h 74"/>
                    <a:gd name="T46" fmla="*/ 158 w 176"/>
                    <a:gd name="T47" fmla="*/ 21 h 74"/>
                    <a:gd name="T48" fmla="*/ 163 w 176"/>
                    <a:gd name="T49" fmla="*/ 27 h 74"/>
                    <a:gd name="T50" fmla="*/ 162 w 176"/>
                    <a:gd name="T51" fmla="*/ 32 h 74"/>
                    <a:gd name="T52" fmla="*/ 159 w 176"/>
                    <a:gd name="T53" fmla="*/ 37 h 74"/>
                    <a:gd name="T54" fmla="*/ 165 w 176"/>
                    <a:gd name="T55" fmla="*/ 38 h 74"/>
                    <a:gd name="T56" fmla="*/ 168 w 176"/>
                    <a:gd name="T57" fmla="*/ 40 h 74"/>
                    <a:gd name="T58" fmla="*/ 173 w 176"/>
                    <a:gd name="T59" fmla="*/ 50 h 74"/>
                    <a:gd name="T60" fmla="*/ 176 w 176"/>
                    <a:gd name="T61" fmla="*/ 60 h 74"/>
                    <a:gd name="T62" fmla="*/ 173 w 176"/>
                    <a:gd name="T63" fmla="*/ 60 h 74"/>
                    <a:gd name="T64" fmla="*/ 169 w 176"/>
                    <a:gd name="T65" fmla="*/ 60 h 74"/>
                    <a:gd name="T66" fmla="*/ 164 w 176"/>
                    <a:gd name="T67" fmla="*/ 66 h 74"/>
                    <a:gd name="T68" fmla="*/ 162 w 176"/>
                    <a:gd name="T69" fmla="*/ 70 h 74"/>
                    <a:gd name="T70" fmla="*/ 154 w 176"/>
                    <a:gd name="T71" fmla="*/ 70 h 74"/>
                    <a:gd name="T72" fmla="*/ 147 w 176"/>
                    <a:gd name="T73" fmla="*/ 70 h 74"/>
                    <a:gd name="T74" fmla="*/ 139 w 176"/>
                    <a:gd name="T75" fmla="*/ 74 h 74"/>
                    <a:gd name="T76" fmla="*/ 132 w 176"/>
                    <a:gd name="T77" fmla="*/ 71 h 74"/>
                    <a:gd name="T78" fmla="*/ 112 w 176"/>
                    <a:gd name="T79" fmla="*/ 60 h 74"/>
                    <a:gd name="T80" fmla="*/ 105 w 176"/>
                    <a:gd name="T81" fmla="*/ 58 h 74"/>
                    <a:gd name="T82" fmla="*/ 96 w 176"/>
                    <a:gd name="T83" fmla="*/ 51 h 74"/>
                    <a:gd name="T84" fmla="*/ 90 w 176"/>
                    <a:gd name="T85" fmla="*/ 51 h 74"/>
                    <a:gd name="T86" fmla="*/ 82 w 176"/>
                    <a:gd name="T87" fmla="*/ 55 h 74"/>
                    <a:gd name="T88" fmla="*/ 74 w 176"/>
                    <a:gd name="T89" fmla="*/ 55 h 74"/>
                    <a:gd name="T90" fmla="*/ 62 w 176"/>
                    <a:gd name="T91" fmla="*/ 53 h 74"/>
                    <a:gd name="T92" fmla="*/ 56 w 176"/>
                    <a:gd name="T93" fmla="*/ 53 h 74"/>
                    <a:gd name="T94" fmla="*/ 50 w 176"/>
                    <a:gd name="T95" fmla="*/ 51 h 74"/>
                    <a:gd name="T96" fmla="*/ 42 w 176"/>
                    <a:gd name="T97" fmla="*/ 50 h 74"/>
                    <a:gd name="T98" fmla="*/ 34 w 176"/>
                    <a:gd name="T99" fmla="*/ 51 h 74"/>
                    <a:gd name="T100" fmla="*/ 19 w 176"/>
                    <a:gd name="T101" fmla="*/ 54 h 74"/>
                    <a:gd name="T102" fmla="*/ 10 w 176"/>
                    <a:gd name="T103" fmla="*/ 56 h 74"/>
                    <a:gd name="T104" fmla="*/ 5 w 176"/>
                    <a:gd name="T105" fmla="*/ 61 h 74"/>
                    <a:gd name="T106" fmla="*/ 0 w 176"/>
                    <a:gd name="T107" fmla="*/ 58 h 74"/>
                    <a:gd name="T108" fmla="*/ 0 w 176"/>
                    <a:gd name="T109" fmla="*/ 48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76" h="74">
                      <a:moveTo>
                        <a:pt x="0" y="48"/>
                      </a:moveTo>
                      <a:lnTo>
                        <a:pt x="2" y="50"/>
                      </a:lnTo>
                      <a:lnTo>
                        <a:pt x="2" y="43"/>
                      </a:lnTo>
                      <a:lnTo>
                        <a:pt x="2" y="39"/>
                      </a:lnTo>
                      <a:lnTo>
                        <a:pt x="4" y="37"/>
                      </a:lnTo>
                      <a:lnTo>
                        <a:pt x="7" y="34"/>
                      </a:lnTo>
                      <a:lnTo>
                        <a:pt x="8" y="32"/>
                      </a:lnTo>
                      <a:lnTo>
                        <a:pt x="9" y="27"/>
                      </a:lnTo>
                      <a:lnTo>
                        <a:pt x="10" y="23"/>
                      </a:lnTo>
                      <a:lnTo>
                        <a:pt x="15" y="17"/>
                      </a:lnTo>
                      <a:lnTo>
                        <a:pt x="23" y="13"/>
                      </a:lnTo>
                      <a:lnTo>
                        <a:pt x="25" y="12"/>
                      </a:lnTo>
                      <a:lnTo>
                        <a:pt x="29" y="11"/>
                      </a:lnTo>
                      <a:lnTo>
                        <a:pt x="32" y="10"/>
                      </a:lnTo>
                      <a:lnTo>
                        <a:pt x="36" y="11"/>
                      </a:lnTo>
                      <a:lnTo>
                        <a:pt x="41" y="16"/>
                      </a:lnTo>
                      <a:lnTo>
                        <a:pt x="47" y="21"/>
                      </a:lnTo>
                      <a:lnTo>
                        <a:pt x="53" y="28"/>
                      </a:lnTo>
                      <a:lnTo>
                        <a:pt x="56" y="31"/>
                      </a:lnTo>
                      <a:lnTo>
                        <a:pt x="61" y="33"/>
                      </a:lnTo>
                      <a:lnTo>
                        <a:pt x="64" y="33"/>
                      </a:lnTo>
                      <a:lnTo>
                        <a:pt x="68" y="33"/>
                      </a:lnTo>
                      <a:lnTo>
                        <a:pt x="75" y="29"/>
                      </a:lnTo>
                      <a:lnTo>
                        <a:pt x="78" y="26"/>
                      </a:lnTo>
                      <a:lnTo>
                        <a:pt x="79" y="22"/>
                      </a:lnTo>
                      <a:lnTo>
                        <a:pt x="79" y="18"/>
                      </a:lnTo>
                      <a:lnTo>
                        <a:pt x="78" y="13"/>
                      </a:lnTo>
                      <a:lnTo>
                        <a:pt x="77" y="10"/>
                      </a:lnTo>
                      <a:lnTo>
                        <a:pt x="75" y="6"/>
                      </a:lnTo>
                      <a:lnTo>
                        <a:pt x="79" y="5"/>
                      </a:lnTo>
                      <a:lnTo>
                        <a:pt x="83" y="4"/>
                      </a:lnTo>
                      <a:lnTo>
                        <a:pt x="85" y="2"/>
                      </a:lnTo>
                      <a:lnTo>
                        <a:pt x="90" y="1"/>
                      </a:lnTo>
                      <a:lnTo>
                        <a:pt x="94" y="0"/>
                      </a:lnTo>
                      <a:lnTo>
                        <a:pt x="98" y="1"/>
                      </a:lnTo>
                      <a:lnTo>
                        <a:pt x="102" y="2"/>
                      </a:lnTo>
                      <a:lnTo>
                        <a:pt x="109" y="4"/>
                      </a:lnTo>
                      <a:lnTo>
                        <a:pt x="115" y="7"/>
                      </a:lnTo>
                      <a:lnTo>
                        <a:pt x="122" y="11"/>
                      </a:lnTo>
                      <a:lnTo>
                        <a:pt x="127" y="15"/>
                      </a:lnTo>
                      <a:lnTo>
                        <a:pt x="131" y="16"/>
                      </a:lnTo>
                      <a:lnTo>
                        <a:pt x="133" y="15"/>
                      </a:lnTo>
                      <a:lnTo>
                        <a:pt x="137" y="13"/>
                      </a:lnTo>
                      <a:lnTo>
                        <a:pt x="142" y="15"/>
                      </a:lnTo>
                      <a:lnTo>
                        <a:pt x="146" y="15"/>
                      </a:lnTo>
                      <a:lnTo>
                        <a:pt x="149" y="16"/>
                      </a:lnTo>
                      <a:lnTo>
                        <a:pt x="154" y="17"/>
                      </a:lnTo>
                      <a:lnTo>
                        <a:pt x="158" y="21"/>
                      </a:lnTo>
                      <a:lnTo>
                        <a:pt x="162" y="24"/>
                      </a:lnTo>
                      <a:lnTo>
                        <a:pt x="163" y="27"/>
                      </a:lnTo>
                      <a:lnTo>
                        <a:pt x="163" y="29"/>
                      </a:lnTo>
                      <a:lnTo>
                        <a:pt x="162" y="32"/>
                      </a:lnTo>
                      <a:lnTo>
                        <a:pt x="160" y="34"/>
                      </a:lnTo>
                      <a:lnTo>
                        <a:pt x="159" y="37"/>
                      </a:lnTo>
                      <a:lnTo>
                        <a:pt x="163" y="37"/>
                      </a:lnTo>
                      <a:lnTo>
                        <a:pt x="165" y="38"/>
                      </a:lnTo>
                      <a:lnTo>
                        <a:pt x="165" y="39"/>
                      </a:lnTo>
                      <a:lnTo>
                        <a:pt x="168" y="40"/>
                      </a:lnTo>
                      <a:lnTo>
                        <a:pt x="170" y="44"/>
                      </a:lnTo>
                      <a:lnTo>
                        <a:pt x="173" y="50"/>
                      </a:lnTo>
                      <a:lnTo>
                        <a:pt x="175" y="56"/>
                      </a:lnTo>
                      <a:lnTo>
                        <a:pt x="176" y="60"/>
                      </a:lnTo>
                      <a:lnTo>
                        <a:pt x="175" y="61"/>
                      </a:lnTo>
                      <a:lnTo>
                        <a:pt x="173" y="60"/>
                      </a:lnTo>
                      <a:lnTo>
                        <a:pt x="171" y="60"/>
                      </a:lnTo>
                      <a:lnTo>
                        <a:pt x="169" y="60"/>
                      </a:lnTo>
                      <a:lnTo>
                        <a:pt x="166" y="63"/>
                      </a:lnTo>
                      <a:lnTo>
                        <a:pt x="164" y="66"/>
                      </a:lnTo>
                      <a:lnTo>
                        <a:pt x="163" y="69"/>
                      </a:lnTo>
                      <a:lnTo>
                        <a:pt x="162" y="70"/>
                      </a:lnTo>
                      <a:lnTo>
                        <a:pt x="158" y="70"/>
                      </a:lnTo>
                      <a:lnTo>
                        <a:pt x="154" y="70"/>
                      </a:lnTo>
                      <a:lnTo>
                        <a:pt x="150" y="69"/>
                      </a:lnTo>
                      <a:lnTo>
                        <a:pt x="147" y="70"/>
                      </a:lnTo>
                      <a:lnTo>
                        <a:pt x="143" y="71"/>
                      </a:lnTo>
                      <a:lnTo>
                        <a:pt x="139" y="74"/>
                      </a:lnTo>
                      <a:lnTo>
                        <a:pt x="136" y="74"/>
                      </a:lnTo>
                      <a:lnTo>
                        <a:pt x="132" y="71"/>
                      </a:lnTo>
                      <a:lnTo>
                        <a:pt x="116" y="61"/>
                      </a:lnTo>
                      <a:lnTo>
                        <a:pt x="112" y="60"/>
                      </a:lnTo>
                      <a:lnTo>
                        <a:pt x="109" y="59"/>
                      </a:lnTo>
                      <a:lnTo>
                        <a:pt x="105" y="58"/>
                      </a:lnTo>
                      <a:lnTo>
                        <a:pt x="100" y="56"/>
                      </a:lnTo>
                      <a:lnTo>
                        <a:pt x="96" y="51"/>
                      </a:lnTo>
                      <a:lnTo>
                        <a:pt x="94" y="50"/>
                      </a:lnTo>
                      <a:lnTo>
                        <a:pt x="90" y="51"/>
                      </a:lnTo>
                      <a:lnTo>
                        <a:pt x="84" y="54"/>
                      </a:lnTo>
                      <a:lnTo>
                        <a:pt x="82" y="55"/>
                      </a:lnTo>
                      <a:lnTo>
                        <a:pt x="78" y="55"/>
                      </a:lnTo>
                      <a:lnTo>
                        <a:pt x="74" y="55"/>
                      </a:lnTo>
                      <a:lnTo>
                        <a:pt x="69" y="54"/>
                      </a:lnTo>
                      <a:lnTo>
                        <a:pt x="62" y="53"/>
                      </a:lnTo>
                      <a:lnTo>
                        <a:pt x="58" y="53"/>
                      </a:lnTo>
                      <a:lnTo>
                        <a:pt x="56" y="53"/>
                      </a:lnTo>
                      <a:lnTo>
                        <a:pt x="53" y="53"/>
                      </a:lnTo>
                      <a:lnTo>
                        <a:pt x="50" y="51"/>
                      </a:lnTo>
                      <a:lnTo>
                        <a:pt x="46" y="50"/>
                      </a:lnTo>
                      <a:lnTo>
                        <a:pt x="42" y="50"/>
                      </a:lnTo>
                      <a:lnTo>
                        <a:pt x="37" y="51"/>
                      </a:lnTo>
                      <a:lnTo>
                        <a:pt x="34" y="51"/>
                      </a:lnTo>
                      <a:lnTo>
                        <a:pt x="26" y="51"/>
                      </a:lnTo>
                      <a:lnTo>
                        <a:pt x="19" y="54"/>
                      </a:lnTo>
                      <a:lnTo>
                        <a:pt x="13" y="55"/>
                      </a:lnTo>
                      <a:lnTo>
                        <a:pt x="10" y="56"/>
                      </a:lnTo>
                      <a:lnTo>
                        <a:pt x="8" y="59"/>
                      </a:lnTo>
                      <a:lnTo>
                        <a:pt x="5" y="61"/>
                      </a:lnTo>
                      <a:lnTo>
                        <a:pt x="3" y="60"/>
                      </a:lnTo>
                      <a:lnTo>
                        <a:pt x="0" y="58"/>
                      </a:lnTo>
                      <a:lnTo>
                        <a:pt x="0" y="54"/>
                      </a:lnTo>
                      <a:lnTo>
                        <a:pt x="0" y="48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3" name="Freeform 659">
                  <a:extLst>
                    <a:ext uri="{FF2B5EF4-FFF2-40B4-BE49-F238E27FC236}">
                      <a16:creationId xmlns:a16="http://schemas.microsoft.com/office/drawing/2014/main" id="{FAEC487A-93E6-441B-9636-7638E50B3B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3345" y="5922445"/>
                  <a:ext cx="275338" cy="198906"/>
                </a:xfrm>
                <a:custGeom>
                  <a:avLst/>
                  <a:gdLst>
                    <a:gd name="T0" fmla="*/ 7 w 246"/>
                    <a:gd name="T1" fmla="*/ 68 h 149"/>
                    <a:gd name="T2" fmla="*/ 13 w 246"/>
                    <a:gd name="T3" fmla="*/ 64 h 149"/>
                    <a:gd name="T4" fmla="*/ 23 w 246"/>
                    <a:gd name="T5" fmla="*/ 62 h 149"/>
                    <a:gd name="T6" fmla="*/ 32 w 246"/>
                    <a:gd name="T7" fmla="*/ 47 h 149"/>
                    <a:gd name="T8" fmla="*/ 39 w 246"/>
                    <a:gd name="T9" fmla="*/ 34 h 149"/>
                    <a:gd name="T10" fmla="*/ 43 w 246"/>
                    <a:gd name="T11" fmla="*/ 24 h 149"/>
                    <a:gd name="T12" fmla="*/ 49 w 246"/>
                    <a:gd name="T13" fmla="*/ 18 h 149"/>
                    <a:gd name="T14" fmla="*/ 58 w 246"/>
                    <a:gd name="T15" fmla="*/ 15 h 149"/>
                    <a:gd name="T16" fmla="*/ 68 w 246"/>
                    <a:gd name="T17" fmla="*/ 7 h 149"/>
                    <a:gd name="T18" fmla="*/ 80 w 246"/>
                    <a:gd name="T19" fmla="*/ 8 h 149"/>
                    <a:gd name="T20" fmla="*/ 104 w 246"/>
                    <a:gd name="T21" fmla="*/ 10 h 149"/>
                    <a:gd name="T22" fmla="*/ 117 w 246"/>
                    <a:gd name="T23" fmla="*/ 16 h 149"/>
                    <a:gd name="T24" fmla="*/ 129 w 246"/>
                    <a:gd name="T25" fmla="*/ 10 h 149"/>
                    <a:gd name="T26" fmla="*/ 145 w 246"/>
                    <a:gd name="T27" fmla="*/ 9 h 149"/>
                    <a:gd name="T28" fmla="*/ 151 w 246"/>
                    <a:gd name="T29" fmla="*/ 3 h 149"/>
                    <a:gd name="T30" fmla="*/ 167 w 246"/>
                    <a:gd name="T31" fmla="*/ 2 h 149"/>
                    <a:gd name="T32" fmla="*/ 183 w 246"/>
                    <a:gd name="T33" fmla="*/ 25 h 149"/>
                    <a:gd name="T34" fmla="*/ 199 w 246"/>
                    <a:gd name="T35" fmla="*/ 43 h 149"/>
                    <a:gd name="T36" fmla="*/ 205 w 246"/>
                    <a:gd name="T37" fmla="*/ 59 h 149"/>
                    <a:gd name="T38" fmla="*/ 203 w 246"/>
                    <a:gd name="T39" fmla="*/ 74 h 149"/>
                    <a:gd name="T40" fmla="*/ 206 w 246"/>
                    <a:gd name="T41" fmla="*/ 88 h 149"/>
                    <a:gd name="T42" fmla="*/ 216 w 246"/>
                    <a:gd name="T43" fmla="*/ 96 h 149"/>
                    <a:gd name="T44" fmla="*/ 224 w 246"/>
                    <a:gd name="T45" fmla="*/ 96 h 149"/>
                    <a:gd name="T46" fmla="*/ 238 w 246"/>
                    <a:gd name="T47" fmla="*/ 91 h 149"/>
                    <a:gd name="T48" fmla="*/ 246 w 246"/>
                    <a:gd name="T49" fmla="*/ 95 h 149"/>
                    <a:gd name="T50" fmla="*/ 238 w 246"/>
                    <a:gd name="T51" fmla="*/ 112 h 149"/>
                    <a:gd name="T52" fmla="*/ 231 w 246"/>
                    <a:gd name="T53" fmla="*/ 109 h 149"/>
                    <a:gd name="T54" fmla="*/ 227 w 246"/>
                    <a:gd name="T55" fmla="*/ 106 h 149"/>
                    <a:gd name="T56" fmla="*/ 225 w 246"/>
                    <a:gd name="T57" fmla="*/ 116 h 149"/>
                    <a:gd name="T58" fmla="*/ 225 w 246"/>
                    <a:gd name="T59" fmla="*/ 118 h 149"/>
                    <a:gd name="T60" fmla="*/ 227 w 246"/>
                    <a:gd name="T61" fmla="*/ 121 h 149"/>
                    <a:gd name="T62" fmla="*/ 222 w 246"/>
                    <a:gd name="T63" fmla="*/ 129 h 149"/>
                    <a:gd name="T64" fmla="*/ 222 w 246"/>
                    <a:gd name="T65" fmla="*/ 142 h 149"/>
                    <a:gd name="T66" fmla="*/ 218 w 246"/>
                    <a:gd name="T67" fmla="*/ 145 h 149"/>
                    <a:gd name="T68" fmla="*/ 210 w 246"/>
                    <a:gd name="T69" fmla="*/ 143 h 149"/>
                    <a:gd name="T70" fmla="*/ 195 w 246"/>
                    <a:gd name="T71" fmla="*/ 138 h 149"/>
                    <a:gd name="T72" fmla="*/ 178 w 246"/>
                    <a:gd name="T73" fmla="*/ 133 h 149"/>
                    <a:gd name="T74" fmla="*/ 161 w 246"/>
                    <a:gd name="T75" fmla="*/ 138 h 149"/>
                    <a:gd name="T76" fmla="*/ 143 w 246"/>
                    <a:gd name="T77" fmla="*/ 149 h 149"/>
                    <a:gd name="T78" fmla="*/ 117 w 246"/>
                    <a:gd name="T79" fmla="*/ 147 h 149"/>
                    <a:gd name="T80" fmla="*/ 102 w 246"/>
                    <a:gd name="T81" fmla="*/ 147 h 149"/>
                    <a:gd name="T82" fmla="*/ 88 w 246"/>
                    <a:gd name="T83" fmla="*/ 143 h 149"/>
                    <a:gd name="T84" fmla="*/ 75 w 246"/>
                    <a:gd name="T85" fmla="*/ 144 h 149"/>
                    <a:gd name="T86" fmla="*/ 71 w 246"/>
                    <a:gd name="T87" fmla="*/ 139 h 149"/>
                    <a:gd name="T88" fmla="*/ 75 w 246"/>
                    <a:gd name="T89" fmla="*/ 134 h 149"/>
                    <a:gd name="T90" fmla="*/ 65 w 246"/>
                    <a:gd name="T91" fmla="*/ 129 h 149"/>
                    <a:gd name="T92" fmla="*/ 60 w 246"/>
                    <a:gd name="T93" fmla="*/ 122 h 149"/>
                    <a:gd name="T94" fmla="*/ 68 w 246"/>
                    <a:gd name="T95" fmla="*/ 120 h 149"/>
                    <a:gd name="T96" fmla="*/ 58 w 246"/>
                    <a:gd name="T97" fmla="*/ 116 h 149"/>
                    <a:gd name="T98" fmla="*/ 54 w 246"/>
                    <a:gd name="T99" fmla="*/ 121 h 149"/>
                    <a:gd name="T100" fmla="*/ 47 w 246"/>
                    <a:gd name="T101" fmla="*/ 120 h 149"/>
                    <a:gd name="T102" fmla="*/ 36 w 246"/>
                    <a:gd name="T103" fmla="*/ 113 h 149"/>
                    <a:gd name="T104" fmla="*/ 33 w 246"/>
                    <a:gd name="T105" fmla="*/ 107 h 149"/>
                    <a:gd name="T106" fmla="*/ 32 w 246"/>
                    <a:gd name="T107" fmla="*/ 102 h 149"/>
                    <a:gd name="T108" fmla="*/ 28 w 246"/>
                    <a:gd name="T109" fmla="*/ 98 h 149"/>
                    <a:gd name="T110" fmla="*/ 13 w 246"/>
                    <a:gd name="T111" fmla="*/ 86 h 149"/>
                    <a:gd name="T112" fmla="*/ 5 w 246"/>
                    <a:gd name="T113" fmla="*/ 73 h 1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46" h="149">
                      <a:moveTo>
                        <a:pt x="0" y="69"/>
                      </a:moveTo>
                      <a:lnTo>
                        <a:pt x="4" y="67"/>
                      </a:lnTo>
                      <a:lnTo>
                        <a:pt x="7" y="68"/>
                      </a:lnTo>
                      <a:lnTo>
                        <a:pt x="10" y="68"/>
                      </a:lnTo>
                      <a:lnTo>
                        <a:pt x="11" y="67"/>
                      </a:lnTo>
                      <a:lnTo>
                        <a:pt x="13" y="64"/>
                      </a:lnTo>
                      <a:lnTo>
                        <a:pt x="17" y="63"/>
                      </a:lnTo>
                      <a:lnTo>
                        <a:pt x="21" y="63"/>
                      </a:lnTo>
                      <a:lnTo>
                        <a:pt x="23" y="62"/>
                      </a:lnTo>
                      <a:lnTo>
                        <a:pt x="24" y="59"/>
                      </a:lnTo>
                      <a:lnTo>
                        <a:pt x="26" y="54"/>
                      </a:lnTo>
                      <a:lnTo>
                        <a:pt x="32" y="47"/>
                      </a:lnTo>
                      <a:lnTo>
                        <a:pt x="34" y="42"/>
                      </a:lnTo>
                      <a:lnTo>
                        <a:pt x="36" y="37"/>
                      </a:lnTo>
                      <a:lnTo>
                        <a:pt x="39" y="34"/>
                      </a:lnTo>
                      <a:lnTo>
                        <a:pt x="42" y="29"/>
                      </a:lnTo>
                      <a:lnTo>
                        <a:pt x="42" y="25"/>
                      </a:lnTo>
                      <a:lnTo>
                        <a:pt x="43" y="24"/>
                      </a:lnTo>
                      <a:lnTo>
                        <a:pt x="44" y="23"/>
                      </a:lnTo>
                      <a:lnTo>
                        <a:pt x="47" y="20"/>
                      </a:lnTo>
                      <a:lnTo>
                        <a:pt x="49" y="18"/>
                      </a:lnTo>
                      <a:lnTo>
                        <a:pt x="52" y="16"/>
                      </a:lnTo>
                      <a:lnTo>
                        <a:pt x="54" y="16"/>
                      </a:lnTo>
                      <a:lnTo>
                        <a:pt x="58" y="15"/>
                      </a:lnTo>
                      <a:lnTo>
                        <a:pt x="60" y="14"/>
                      </a:lnTo>
                      <a:lnTo>
                        <a:pt x="64" y="10"/>
                      </a:lnTo>
                      <a:lnTo>
                        <a:pt x="68" y="7"/>
                      </a:lnTo>
                      <a:lnTo>
                        <a:pt x="70" y="5"/>
                      </a:lnTo>
                      <a:lnTo>
                        <a:pt x="74" y="7"/>
                      </a:lnTo>
                      <a:lnTo>
                        <a:pt x="80" y="8"/>
                      </a:lnTo>
                      <a:lnTo>
                        <a:pt x="92" y="10"/>
                      </a:lnTo>
                      <a:lnTo>
                        <a:pt x="101" y="10"/>
                      </a:lnTo>
                      <a:lnTo>
                        <a:pt x="104" y="10"/>
                      </a:lnTo>
                      <a:lnTo>
                        <a:pt x="108" y="11"/>
                      </a:lnTo>
                      <a:lnTo>
                        <a:pt x="113" y="14"/>
                      </a:lnTo>
                      <a:lnTo>
                        <a:pt x="117" y="16"/>
                      </a:lnTo>
                      <a:lnTo>
                        <a:pt x="119" y="16"/>
                      </a:lnTo>
                      <a:lnTo>
                        <a:pt x="124" y="13"/>
                      </a:lnTo>
                      <a:lnTo>
                        <a:pt x="129" y="10"/>
                      </a:lnTo>
                      <a:lnTo>
                        <a:pt x="134" y="9"/>
                      </a:lnTo>
                      <a:lnTo>
                        <a:pt x="140" y="9"/>
                      </a:lnTo>
                      <a:lnTo>
                        <a:pt x="145" y="9"/>
                      </a:lnTo>
                      <a:lnTo>
                        <a:pt x="147" y="8"/>
                      </a:lnTo>
                      <a:lnTo>
                        <a:pt x="149" y="7"/>
                      </a:lnTo>
                      <a:lnTo>
                        <a:pt x="151" y="3"/>
                      </a:lnTo>
                      <a:lnTo>
                        <a:pt x="156" y="0"/>
                      </a:lnTo>
                      <a:lnTo>
                        <a:pt x="161" y="0"/>
                      </a:lnTo>
                      <a:lnTo>
                        <a:pt x="167" y="2"/>
                      </a:lnTo>
                      <a:lnTo>
                        <a:pt x="171" y="5"/>
                      </a:lnTo>
                      <a:lnTo>
                        <a:pt x="177" y="15"/>
                      </a:lnTo>
                      <a:lnTo>
                        <a:pt x="183" y="25"/>
                      </a:lnTo>
                      <a:lnTo>
                        <a:pt x="190" y="32"/>
                      </a:lnTo>
                      <a:lnTo>
                        <a:pt x="195" y="38"/>
                      </a:lnTo>
                      <a:lnTo>
                        <a:pt x="199" y="43"/>
                      </a:lnTo>
                      <a:lnTo>
                        <a:pt x="203" y="50"/>
                      </a:lnTo>
                      <a:lnTo>
                        <a:pt x="205" y="56"/>
                      </a:lnTo>
                      <a:lnTo>
                        <a:pt x="205" y="59"/>
                      </a:lnTo>
                      <a:lnTo>
                        <a:pt x="205" y="62"/>
                      </a:lnTo>
                      <a:lnTo>
                        <a:pt x="203" y="68"/>
                      </a:lnTo>
                      <a:lnTo>
                        <a:pt x="203" y="74"/>
                      </a:lnTo>
                      <a:lnTo>
                        <a:pt x="204" y="80"/>
                      </a:lnTo>
                      <a:lnTo>
                        <a:pt x="205" y="84"/>
                      </a:lnTo>
                      <a:lnTo>
                        <a:pt x="206" y="88"/>
                      </a:lnTo>
                      <a:lnTo>
                        <a:pt x="209" y="91"/>
                      </a:lnTo>
                      <a:lnTo>
                        <a:pt x="211" y="94"/>
                      </a:lnTo>
                      <a:lnTo>
                        <a:pt x="216" y="96"/>
                      </a:lnTo>
                      <a:lnTo>
                        <a:pt x="220" y="98"/>
                      </a:lnTo>
                      <a:lnTo>
                        <a:pt x="222" y="98"/>
                      </a:lnTo>
                      <a:lnTo>
                        <a:pt x="224" y="96"/>
                      </a:lnTo>
                      <a:lnTo>
                        <a:pt x="227" y="95"/>
                      </a:lnTo>
                      <a:lnTo>
                        <a:pt x="235" y="91"/>
                      </a:lnTo>
                      <a:lnTo>
                        <a:pt x="238" y="91"/>
                      </a:lnTo>
                      <a:lnTo>
                        <a:pt x="241" y="91"/>
                      </a:lnTo>
                      <a:lnTo>
                        <a:pt x="245" y="93"/>
                      </a:lnTo>
                      <a:lnTo>
                        <a:pt x="246" y="95"/>
                      </a:lnTo>
                      <a:lnTo>
                        <a:pt x="246" y="104"/>
                      </a:lnTo>
                      <a:lnTo>
                        <a:pt x="243" y="110"/>
                      </a:lnTo>
                      <a:lnTo>
                        <a:pt x="238" y="112"/>
                      </a:lnTo>
                      <a:lnTo>
                        <a:pt x="230" y="113"/>
                      </a:lnTo>
                      <a:lnTo>
                        <a:pt x="231" y="111"/>
                      </a:lnTo>
                      <a:lnTo>
                        <a:pt x="231" y="109"/>
                      </a:lnTo>
                      <a:lnTo>
                        <a:pt x="231" y="106"/>
                      </a:lnTo>
                      <a:lnTo>
                        <a:pt x="230" y="105"/>
                      </a:lnTo>
                      <a:lnTo>
                        <a:pt x="227" y="106"/>
                      </a:lnTo>
                      <a:lnTo>
                        <a:pt x="226" y="110"/>
                      </a:lnTo>
                      <a:lnTo>
                        <a:pt x="226" y="113"/>
                      </a:lnTo>
                      <a:lnTo>
                        <a:pt x="225" y="116"/>
                      </a:lnTo>
                      <a:lnTo>
                        <a:pt x="230" y="115"/>
                      </a:lnTo>
                      <a:lnTo>
                        <a:pt x="226" y="117"/>
                      </a:lnTo>
                      <a:lnTo>
                        <a:pt x="225" y="118"/>
                      </a:lnTo>
                      <a:lnTo>
                        <a:pt x="226" y="121"/>
                      </a:lnTo>
                      <a:lnTo>
                        <a:pt x="229" y="117"/>
                      </a:lnTo>
                      <a:lnTo>
                        <a:pt x="227" y="121"/>
                      </a:lnTo>
                      <a:lnTo>
                        <a:pt x="225" y="123"/>
                      </a:lnTo>
                      <a:lnTo>
                        <a:pt x="224" y="126"/>
                      </a:lnTo>
                      <a:lnTo>
                        <a:pt x="222" y="129"/>
                      </a:lnTo>
                      <a:lnTo>
                        <a:pt x="222" y="133"/>
                      </a:lnTo>
                      <a:lnTo>
                        <a:pt x="222" y="138"/>
                      </a:lnTo>
                      <a:lnTo>
                        <a:pt x="222" y="142"/>
                      </a:lnTo>
                      <a:lnTo>
                        <a:pt x="221" y="147"/>
                      </a:lnTo>
                      <a:lnTo>
                        <a:pt x="220" y="145"/>
                      </a:lnTo>
                      <a:lnTo>
                        <a:pt x="218" y="145"/>
                      </a:lnTo>
                      <a:lnTo>
                        <a:pt x="214" y="145"/>
                      </a:lnTo>
                      <a:lnTo>
                        <a:pt x="213" y="144"/>
                      </a:lnTo>
                      <a:lnTo>
                        <a:pt x="210" y="143"/>
                      </a:lnTo>
                      <a:lnTo>
                        <a:pt x="204" y="138"/>
                      </a:lnTo>
                      <a:lnTo>
                        <a:pt x="199" y="138"/>
                      </a:lnTo>
                      <a:lnTo>
                        <a:pt x="195" y="138"/>
                      </a:lnTo>
                      <a:lnTo>
                        <a:pt x="192" y="137"/>
                      </a:lnTo>
                      <a:lnTo>
                        <a:pt x="183" y="133"/>
                      </a:lnTo>
                      <a:lnTo>
                        <a:pt x="178" y="133"/>
                      </a:lnTo>
                      <a:lnTo>
                        <a:pt x="172" y="134"/>
                      </a:lnTo>
                      <a:lnTo>
                        <a:pt x="166" y="136"/>
                      </a:lnTo>
                      <a:lnTo>
                        <a:pt x="161" y="138"/>
                      </a:lnTo>
                      <a:lnTo>
                        <a:pt x="154" y="142"/>
                      </a:lnTo>
                      <a:lnTo>
                        <a:pt x="147" y="145"/>
                      </a:lnTo>
                      <a:lnTo>
                        <a:pt x="143" y="149"/>
                      </a:lnTo>
                      <a:lnTo>
                        <a:pt x="134" y="148"/>
                      </a:lnTo>
                      <a:lnTo>
                        <a:pt x="123" y="147"/>
                      </a:lnTo>
                      <a:lnTo>
                        <a:pt x="117" y="147"/>
                      </a:lnTo>
                      <a:lnTo>
                        <a:pt x="112" y="147"/>
                      </a:lnTo>
                      <a:lnTo>
                        <a:pt x="104" y="148"/>
                      </a:lnTo>
                      <a:lnTo>
                        <a:pt x="102" y="147"/>
                      </a:lnTo>
                      <a:lnTo>
                        <a:pt x="98" y="145"/>
                      </a:lnTo>
                      <a:lnTo>
                        <a:pt x="93" y="144"/>
                      </a:lnTo>
                      <a:lnTo>
                        <a:pt x="88" y="143"/>
                      </a:lnTo>
                      <a:lnTo>
                        <a:pt x="85" y="143"/>
                      </a:lnTo>
                      <a:lnTo>
                        <a:pt x="80" y="144"/>
                      </a:lnTo>
                      <a:lnTo>
                        <a:pt x="75" y="144"/>
                      </a:lnTo>
                      <a:lnTo>
                        <a:pt x="71" y="142"/>
                      </a:lnTo>
                      <a:lnTo>
                        <a:pt x="71" y="141"/>
                      </a:lnTo>
                      <a:lnTo>
                        <a:pt x="71" y="139"/>
                      </a:lnTo>
                      <a:lnTo>
                        <a:pt x="74" y="137"/>
                      </a:lnTo>
                      <a:lnTo>
                        <a:pt x="75" y="136"/>
                      </a:lnTo>
                      <a:lnTo>
                        <a:pt x="75" y="134"/>
                      </a:lnTo>
                      <a:lnTo>
                        <a:pt x="72" y="133"/>
                      </a:lnTo>
                      <a:lnTo>
                        <a:pt x="69" y="132"/>
                      </a:lnTo>
                      <a:lnTo>
                        <a:pt x="65" y="129"/>
                      </a:lnTo>
                      <a:lnTo>
                        <a:pt x="63" y="128"/>
                      </a:lnTo>
                      <a:lnTo>
                        <a:pt x="60" y="125"/>
                      </a:lnTo>
                      <a:lnTo>
                        <a:pt x="60" y="122"/>
                      </a:lnTo>
                      <a:lnTo>
                        <a:pt x="61" y="121"/>
                      </a:lnTo>
                      <a:lnTo>
                        <a:pt x="65" y="120"/>
                      </a:lnTo>
                      <a:lnTo>
                        <a:pt x="68" y="120"/>
                      </a:lnTo>
                      <a:lnTo>
                        <a:pt x="63" y="116"/>
                      </a:lnTo>
                      <a:lnTo>
                        <a:pt x="60" y="115"/>
                      </a:lnTo>
                      <a:lnTo>
                        <a:pt x="58" y="116"/>
                      </a:lnTo>
                      <a:lnTo>
                        <a:pt x="56" y="117"/>
                      </a:lnTo>
                      <a:lnTo>
                        <a:pt x="55" y="120"/>
                      </a:lnTo>
                      <a:lnTo>
                        <a:pt x="54" y="121"/>
                      </a:lnTo>
                      <a:lnTo>
                        <a:pt x="52" y="122"/>
                      </a:lnTo>
                      <a:lnTo>
                        <a:pt x="49" y="121"/>
                      </a:lnTo>
                      <a:lnTo>
                        <a:pt x="47" y="120"/>
                      </a:lnTo>
                      <a:lnTo>
                        <a:pt x="44" y="117"/>
                      </a:lnTo>
                      <a:lnTo>
                        <a:pt x="42" y="116"/>
                      </a:lnTo>
                      <a:lnTo>
                        <a:pt x="36" y="113"/>
                      </a:lnTo>
                      <a:lnTo>
                        <a:pt x="31" y="111"/>
                      </a:lnTo>
                      <a:lnTo>
                        <a:pt x="32" y="110"/>
                      </a:lnTo>
                      <a:lnTo>
                        <a:pt x="33" y="107"/>
                      </a:lnTo>
                      <a:lnTo>
                        <a:pt x="33" y="106"/>
                      </a:lnTo>
                      <a:lnTo>
                        <a:pt x="31" y="105"/>
                      </a:lnTo>
                      <a:lnTo>
                        <a:pt x="32" y="102"/>
                      </a:lnTo>
                      <a:lnTo>
                        <a:pt x="32" y="101"/>
                      </a:lnTo>
                      <a:lnTo>
                        <a:pt x="31" y="99"/>
                      </a:lnTo>
                      <a:lnTo>
                        <a:pt x="28" y="98"/>
                      </a:lnTo>
                      <a:lnTo>
                        <a:pt x="20" y="94"/>
                      </a:lnTo>
                      <a:lnTo>
                        <a:pt x="12" y="89"/>
                      </a:lnTo>
                      <a:lnTo>
                        <a:pt x="13" y="86"/>
                      </a:lnTo>
                      <a:lnTo>
                        <a:pt x="13" y="83"/>
                      </a:lnTo>
                      <a:lnTo>
                        <a:pt x="10" y="78"/>
                      </a:lnTo>
                      <a:lnTo>
                        <a:pt x="5" y="73"/>
                      </a:lnTo>
                      <a:lnTo>
                        <a:pt x="0" y="69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4" name="Freeform 685">
                  <a:extLst>
                    <a:ext uri="{FF2B5EF4-FFF2-40B4-BE49-F238E27FC236}">
                      <a16:creationId xmlns:a16="http://schemas.microsoft.com/office/drawing/2014/main" id="{ED902709-0C4D-4E08-821C-DA9A74D03C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23823" y="5805753"/>
                  <a:ext cx="196989" cy="103432"/>
                </a:xfrm>
                <a:custGeom>
                  <a:avLst/>
                  <a:gdLst>
                    <a:gd name="T0" fmla="*/ 4 w 175"/>
                    <a:gd name="T1" fmla="*/ 23 h 77"/>
                    <a:gd name="T2" fmla="*/ 7 w 175"/>
                    <a:gd name="T3" fmla="*/ 23 h 77"/>
                    <a:gd name="T4" fmla="*/ 15 w 175"/>
                    <a:gd name="T5" fmla="*/ 20 h 77"/>
                    <a:gd name="T6" fmla="*/ 23 w 175"/>
                    <a:gd name="T7" fmla="*/ 17 h 77"/>
                    <a:gd name="T8" fmla="*/ 40 w 175"/>
                    <a:gd name="T9" fmla="*/ 8 h 77"/>
                    <a:gd name="T10" fmla="*/ 54 w 175"/>
                    <a:gd name="T11" fmla="*/ 0 h 77"/>
                    <a:gd name="T12" fmla="*/ 61 w 175"/>
                    <a:gd name="T13" fmla="*/ 1 h 77"/>
                    <a:gd name="T14" fmla="*/ 65 w 175"/>
                    <a:gd name="T15" fmla="*/ 5 h 77"/>
                    <a:gd name="T16" fmla="*/ 71 w 175"/>
                    <a:gd name="T17" fmla="*/ 5 h 77"/>
                    <a:gd name="T18" fmla="*/ 74 w 175"/>
                    <a:gd name="T19" fmla="*/ 1 h 77"/>
                    <a:gd name="T20" fmla="*/ 76 w 175"/>
                    <a:gd name="T21" fmla="*/ 1 h 77"/>
                    <a:gd name="T22" fmla="*/ 81 w 175"/>
                    <a:gd name="T23" fmla="*/ 5 h 77"/>
                    <a:gd name="T24" fmla="*/ 85 w 175"/>
                    <a:gd name="T25" fmla="*/ 8 h 77"/>
                    <a:gd name="T26" fmla="*/ 96 w 175"/>
                    <a:gd name="T27" fmla="*/ 8 h 77"/>
                    <a:gd name="T28" fmla="*/ 100 w 175"/>
                    <a:gd name="T29" fmla="*/ 13 h 77"/>
                    <a:gd name="T30" fmla="*/ 106 w 175"/>
                    <a:gd name="T31" fmla="*/ 11 h 77"/>
                    <a:gd name="T32" fmla="*/ 109 w 175"/>
                    <a:gd name="T33" fmla="*/ 12 h 77"/>
                    <a:gd name="T34" fmla="*/ 106 w 175"/>
                    <a:gd name="T35" fmla="*/ 17 h 77"/>
                    <a:gd name="T36" fmla="*/ 109 w 175"/>
                    <a:gd name="T37" fmla="*/ 22 h 77"/>
                    <a:gd name="T38" fmla="*/ 115 w 175"/>
                    <a:gd name="T39" fmla="*/ 28 h 77"/>
                    <a:gd name="T40" fmla="*/ 122 w 175"/>
                    <a:gd name="T41" fmla="*/ 26 h 77"/>
                    <a:gd name="T42" fmla="*/ 123 w 175"/>
                    <a:gd name="T43" fmla="*/ 21 h 77"/>
                    <a:gd name="T44" fmla="*/ 127 w 175"/>
                    <a:gd name="T45" fmla="*/ 20 h 77"/>
                    <a:gd name="T46" fmla="*/ 138 w 175"/>
                    <a:gd name="T47" fmla="*/ 23 h 77"/>
                    <a:gd name="T48" fmla="*/ 144 w 175"/>
                    <a:gd name="T49" fmla="*/ 29 h 77"/>
                    <a:gd name="T50" fmla="*/ 146 w 175"/>
                    <a:gd name="T51" fmla="*/ 32 h 77"/>
                    <a:gd name="T52" fmla="*/ 157 w 175"/>
                    <a:gd name="T53" fmla="*/ 33 h 77"/>
                    <a:gd name="T54" fmla="*/ 162 w 175"/>
                    <a:gd name="T55" fmla="*/ 36 h 77"/>
                    <a:gd name="T56" fmla="*/ 166 w 175"/>
                    <a:gd name="T57" fmla="*/ 39 h 77"/>
                    <a:gd name="T58" fmla="*/ 165 w 175"/>
                    <a:gd name="T59" fmla="*/ 38 h 77"/>
                    <a:gd name="T60" fmla="*/ 171 w 175"/>
                    <a:gd name="T61" fmla="*/ 43 h 77"/>
                    <a:gd name="T62" fmla="*/ 166 w 175"/>
                    <a:gd name="T63" fmla="*/ 52 h 77"/>
                    <a:gd name="T64" fmla="*/ 157 w 175"/>
                    <a:gd name="T65" fmla="*/ 55 h 77"/>
                    <a:gd name="T66" fmla="*/ 155 w 175"/>
                    <a:gd name="T67" fmla="*/ 60 h 77"/>
                    <a:gd name="T68" fmla="*/ 151 w 175"/>
                    <a:gd name="T69" fmla="*/ 64 h 77"/>
                    <a:gd name="T70" fmla="*/ 141 w 175"/>
                    <a:gd name="T71" fmla="*/ 70 h 77"/>
                    <a:gd name="T72" fmla="*/ 129 w 175"/>
                    <a:gd name="T73" fmla="*/ 71 h 77"/>
                    <a:gd name="T74" fmla="*/ 124 w 175"/>
                    <a:gd name="T75" fmla="*/ 76 h 77"/>
                    <a:gd name="T76" fmla="*/ 122 w 175"/>
                    <a:gd name="T77" fmla="*/ 72 h 77"/>
                    <a:gd name="T78" fmla="*/ 109 w 175"/>
                    <a:gd name="T79" fmla="*/ 72 h 77"/>
                    <a:gd name="T80" fmla="*/ 90 w 175"/>
                    <a:gd name="T81" fmla="*/ 66 h 77"/>
                    <a:gd name="T82" fmla="*/ 82 w 175"/>
                    <a:gd name="T83" fmla="*/ 65 h 77"/>
                    <a:gd name="T84" fmla="*/ 75 w 175"/>
                    <a:gd name="T85" fmla="*/ 64 h 77"/>
                    <a:gd name="T86" fmla="*/ 74 w 175"/>
                    <a:gd name="T87" fmla="*/ 71 h 77"/>
                    <a:gd name="T88" fmla="*/ 69 w 175"/>
                    <a:gd name="T89" fmla="*/ 72 h 77"/>
                    <a:gd name="T90" fmla="*/ 64 w 175"/>
                    <a:gd name="T91" fmla="*/ 76 h 77"/>
                    <a:gd name="T92" fmla="*/ 59 w 175"/>
                    <a:gd name="T93" fmla="*/ 77 h 77"/>
                    <a:gd name="T94" fmla="*/ 53 w 175"/>
                    <a:gd name="T95" fmla="*/ 76 h 77"/>
                    <a:gd name="T96" fmla="*/ 45 w 175"/>
                    <a:gd name="T97" fmla="*/ 71 h 77"/>
                    <a:gd name="T98" fmla="*/ 28 w 175"/>
                    <a:gd name="T99" fmla="*/ 59 h 77"/>
                    <a:gd name="T100" fmla="*/ 22 w 175"/>
                    <a:gd name="T101" fmla="*/ 55 h 77"/>
                    <a:gd name="T102" fmla="*/ 15 w 175"/>
                    <a:gd name="T103" fmla="*/ 48 h 77"/>
                    <a:gd name="T104" fmla="*/ 9 w 175"/>
                    <a:gd name="T105" fmla="*/ 40 h 77"/>
                    <a:gd name="T106" fmla="*/ 11 w 175"/>
                    <a:gd name="T107" fmla="*/ 36 h 77"/>
                    <a:gd name="T108" fmla="*/ 7 w 175"/>
                    <a:gd name="T109" fmla="*/ 32 h 77"/>
                    <a:gd name="T110" fmla="*/ 1 w 175"/>
                    <a:gd name="T111" fmla="*/ 26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75" h="77">
                      <a:moveTo>
                        <a:pt x="0" y="22"/>
                      </a:moveTo>
                      <a:lnTo>
                        <a:pt x="4" y="23"/>
                      </a:lnTo>
                      <a:lnTo>
                        <a:pt x="6" y="27"/>
                      </a:lnTo>
                      <a:lnTo>
                        <a:pt x="7" y="23"/>
                      </a:lnTo>
                      <a:lnTo>
                        <a:pt x="9" y="22"/>
                      </a:lnTo>
                      <a:lnTo>
                        <a:pt x="15" y="20"/>
                      </a:lnTo>
                      <a:lnTo>
                        <a:pt x="20" y="18"/>
                      </a:lnTo>
                      <a:lnTo>
                        <a:pt x="23" y="17"/>
                      </a:lnTo>
                      <a:lnTo>
                        <a:pt x="32" y="12"/>
                      </a:lnTo>
                      <a:lnTo>
                        <a:pt x="40" y="8"/>
                      </a:lnTo>
                      <a:lnTo>
                        <a:pt x="58" y="2"/>
                      </a:lnTo>
                      <a:lnTo>
                        <a:pt x="54" y="0"/>
                      </a:lnTo>
                      <a:lnTo>
                        <a:pt x="58" y="0"/>
                      </a:lnTo>
                      <a:lnTo>
                        <a:pt x="61" y="1"/>
                      </a:lnTo>
                      <a:lnTo>
                        <a:pt x="64" y="4"/>
                      </a:lnTo>
                      <a:lnTo>
                        <a:pt x="65" y="5"/>
                      </a:lnTo>
                      <a:lnTo>
                        <a:pt x="68" y="5"/>
                      </a:lnTo>
                      <a:lnTo>
                        <a:pt x="71" y="5"/>
                      </a:lnTo>
                      <a:lnTo>
                        <a:pt x="72" y="2"/>
                      </a:lnTo>
                      <a:lnTo>
                        <a:pt x="74" y="1"/>
                      </a:lnTo>
                      <a:lnTo>
                        <a:pt x="74" y="0"/>
                      </a:lnTo>
                      <a:lnTo>
                        <a:pt x="76" y="1"/>
                      </a:lnTo>
                      <a:lnTo>
                        <a:pt x="80" y="2"/>
                      </a:lnTo>
                      <a:lnTo>
                        <a:pt x="81" y="5"/>
                      </a:lnTo>
                      <a:lnTo>
                        <a:pt x="82" y="7"/>
                      </a:lnTo>
                      <a:lnTo>
                        <a:pt x="85" y="8"/>
                      </a:lnTo>
                      <a:lnTo>
                        <a:pt x="91" y="8"/>
                      </a:lnTo>
                      <a:lnTo>
                        <a:pt x="96" y="8"/>
                      </a:lnTo>
                      <a:lnTo>
                        <a:pt x="98" y="11"/>
                      </a:lnTo>
                      <a:lnTo>
                        <a:pt x="100" y="13"/>
                      </a:lnTo>
                      <a:lnTo>
                        <a:pt x="102" y="11"/>
                      </a:lnTo>
                      <a:lnTo>
                        <a:pt x="106" y="11"/>
                      </a:lnTo>
                      <a:lnTo>
                        <a:pt x="108" y="12"/>
                      </a:lnTo>
                      <a:lnTo>
                        <a:pt x="109" y="12"/>
                      </a:lnTo>
                      <a:lnTo>
                        <a:pt x="108" y="15"/>
                      </a:lnTo>
                      <a:lnTo>
                        <a:pt x="106" y="17"/>
                      </a:lnTo>
                      <a:lnTo>
                        <a:pt x="103" y="18"/>
                      </a:lnTo>
                      <a:lnTo>
                        <a:pt x="109" y="22"/>
                      </a:lnTo>
                      <a:lnTo>
                        <a:pt x="113" y="27"/>
                      </a:lnTo>
                      <a:lnTo>
                        <a:pt x="115" y="28"/>
                      </a:lnTo>
                      <a:lnTo>
                        <a:pt x="119" y="28"/>
                      </a:lnTo>
                      <a:lnTo>
                        <a:pt x="122" y="26"/>
                      </a:lnTo>
                      <a:lnTo>
                        <a:pt x="124" y="23"/>
                      </a:lnTo>
                      <a:lnTo>
                        <a:pt x="123" y="21"/>
                      </a:lnTo>
                      <a:lnTo>
                        <a:pt x="122" y="18"/>
                      </a:lnTo>
                      <a:lnTo>
                        <a:pt x="127" y="20"/>
                      </a:lnTo>
                      <a:lnTo>
                        <a:pt x="131" y="22"/>
                      </a:lnTo>
                      <a:lnTo>
                        <a:pt x="138" y="23"/>
                      </a:lnTo>
                      <a:lnTo>
                        <a:pt x="143" y="23"/>
                      </a:lnTo>
                      <a:lnTo>
                        <a:pt x="144" y="29"/>
                      </a:lnTo>
                      <a:lnTo>
                        <a:pt x="144" y="32"/>
                      </a:lnTo>
                      <a:lnTo>
                        <a:pt x="146" y="32"/>
                      </a:lnTo>
                      <a:lnTo>
                        <a:pt x="151" y="32"/>
                      </a:lnTo>
                      <a:lnTo>
                        <a:pt x="157" y="33"/>
                      </a:lnTo>
                      <a:lnTo>
                        <a:pt x="160" y="34"/>
                      </a:lnTo>
                      <a:lnTo>
                        <a:pt x="162" y="36"/>
                      </a:lnTo>
                      <a:lnTo>
                        <a:pt x="163" y="37"/>
                      </a:lnTo>
                      <a:lnTo>
                        <a:pt x="166" y="39"/>
                      </a:lnTo>
                      <a:lnTo>
                        <a:pt x="165" y="38"/>
                      </a:lnTo>
                      <a:lnTo>
                        <a:pt x="165" y="38"/>
                      </a:lnTo>
                      <a:lnTo>
                        <a:pt x="167" y="39"/>
                      </a:lnTo>
                      <a:lnTo>
                        <a:pt x="171" y="43"/>
                      </a:lnTo>
                      <a:lnTo>
                        <a:pt x="175" y="49"/>
                      </a:lnTo>
                      <a:lnTo>
                        <a:pt x="166" y="52"/>
                      </a:lnTo>
                      <a:lnTo>
                        <a:pt x="161" y="53"/>
                      </a:lnTo>
                      <a:lnTo>
                        <a:pt x="157" y="55"/>
                      </a:lnTo>
                      <a:lnTo>
                        <a:pt x="156" y="56"/>
                      </a:lnTo>
                      <a:lnTo>
                        <a:pt x="155" y="60"/>
                      </a:lnTo>
                      <a:lnTo>
                        <a:pt x="154" y="63"/>
                      </a:lnTo>
                      <a:lnTo>
                        <a:pt x="151" y="64"/>
                      </a:lnTo>
                      <a:lnTo>
                        <a:pt x="145" y="67"/>
                      </a:lnTo>
                      <a:lnTo>
                        <a:pt x="141" y="70"/>
                      </a:lnTo>
                      <a:lnTo>
                        <a:pt x="136" y="70"/>
                      </a:lnTo>
                      <a:lnTo>
                        <a:pt x="129" y="71"/>
                      </a:lnTo>
                      <a:lnTo>
                        <a:pt x="127" y="72"/>
                      </a:lnTo>
                      <a:lnTo>
                        <a:pt x="124" y="76"/>
                      </a:lnTo>
                      <a:lnTo>
                        <a:pt x="123" y="74"/>
                      </a:lnTo>
                      <a:lnTo>
                        <a:pt x="122" y="72"/>
                      </a:lnTo>
                      <a:lnTo>
                        <a:pt x="115" y="71"/>
                      </a:lnTo>
                      <a:lnTo>
                        <a:pt x="109" y="72"/>
                      </a:lnTo>
                      <a:lnTo>
                        <a:pt x="103" y="71"/>
                      </a:lnTo>
                      <a:lnTo>
                        <a:pt x="90" y="66"/>
                      </a:lnTo>
                      <a:lnTo>
                        <a:pt x="86" y="66"/>
                      </a:lnTo>
                      <a:lnTo>
                        <a:pt x="82" y="65"/>
                      </a:lnTo>
                      <a:lnTo>
                        <a:pt x="79" y="64"/>
                      </a:lnTo>
                      <a:lnTo>
                        <a:pt x="75" y="64"/>
                      </a:lnTo>
                      <a:lnTo>
                        <a:pt x="74" y="67"/>
                      </a:lnTo>
                      <a:lnTo>
                        <a:pt x="74" y="71"/>
                      </a:lnTo>
                      <a:lnTo>
                        <a:pt x="71" y="71"/>
                      </a:lnTo>
                      <a:lnTo>
                        <a:pt x="69" y="72"/>
                      </a:lnTo>
                      <a:lnTo>
                        <a:pt x="68" y="77"/>
                      </a:lnTo>
                      <a:lnTo>
                        <a:pt x="64" y="76"/>
                      </a:lnTo>
                      <a:lnTo>
                        <a:pt x="61" y="77"/>
                      </a:lnTo>
                      <a:lnTo>
                        <a:pt x="59" y="77"/>
                      </a:lnTo>
                      <a:lnTo>
                        <a:pt x="55" y="77"/>
                      </a:lnTo>
                      <a:lnTo>
                        <a:pt x="53" y="76"/>
                      </a:lnTo>
                      <a:lnTo>
                        <a:pt x="50" y="75"/>
                      </a:lnTo>
                      <a:lnTo>
                        <a:pt x="45" y="71"/>
                      </a:lnTo>
                      <a:lnTo>
                        <a:pt x="34" y="64"/>
                      </a:lnTo>
                      <a:lnTo>
                        <a:pt x="28" y="59"/>
                      </a:lnTo>
                      <a:lnTo>
                        <a:pt x="24" y="56"/>
                      </a:lnTo>
                      <a:lnTo>
                        <a:pt x="22" y="55"/>
                      </a:lnTo>
                      <a:lnTo>
                        <a:pt x="18" y="52"/>
                      </a:lnTo>
                      <a:lnTo>
                        <a:pt x="15" y="48"/>
                      </a:lnTo>
                      <a:lnTo>
                        <a:pt x="12" y="43"/>
                      </a:lnTo>
                      <a:lnTo>
                        <a:pt x="9" y="40"/>
                      </a:lnTo>
                      <a:lnTo>
                        <a:pt x="10" y="38"/>
                      </a:lnTo>
                      <a:lnTo>
                        <a:pt x="11" y="36"/>
                      </a:lnTo>
                      <a:lnTo>
                        <a:pt x="10" y="34"/>
                      </a:lnTo>
                      <a:lnTo>
                        <a:pt x="7" y="32"/>
                      </a:lnTo>
                      <a:lnTo>
                        <a:pt x="2" y="28"/>
                      </a:lnTo>
                      <a:lnTo>
                        <a:pt x="1" y="26"/>
                      </a:lnTo>
                      <a:lnTo>
                        <a:pt x="0" y="22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5" name="Freeform 687">
                  <a:extLst>
                    <a:ext uri="{FF2B5EF4-FFF2-40B4-BE49-F238E27FC236}">
                      <a16:creationId xmlns:a16="http://schemas.microsoft.com/office/drawing/2014/main" id="{13CA1EBC-ED1F-4BE9-BAA5-E6F25CC7B2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43197" y="6163784"/>
                  <a:ext cx="53725" cy="129953"/>
                </a:xfrm>
                <a:custGeom>
                  <a:avLst/>
                  <a:gdLst>
                    <a:gd name="T0" fmla="*/ 3 w 48"/>
                    <a:gd name="T1" fmla="*/ 62 h 98"/>
                    <a:gd name="T2" fmla="*/ 5 w 48"/>
                    <a:gd name="T3" fmla="*/ 57 h 98"/>
                    <a:gd name="T4" fmla="*/ 5 w 48"/>
                    <a:gd name="T5" fmla="*/ 49 h 98"/>
                    <a:gd name="T6" fmla="*/ 5 w 48"/>
                    <a:gd name="T7" fmla="*/ 44 h 98"/>
                    <a:gd name="T8" fmla="*/ 4 w 48"/>
                    <a:gd name="T9" fmla="*/ 42 h 98"/>
                    <a:gd name="T10" fmla="*/ 7 w 48"/>
                    <a:gd name="T11" fmla="*/ 33 h 98"/>
                    <a:gd name="T12" fmla="*/ 4 w 48"/>
                    <a:gd name="T13" fmla="*/ 26 h 98"/>
                    <a:gd name="T14" fmla="*/ 0 w 48"/>
                    <a:gd name="T15" fmla="*/ 16 h 98"/>
                    <a:gd name="T16" fmla="*/ 3 w 48"/>
                    <a:gd name="T17" fmla="*/ 7 h 98"/>
                    <a:gd name="T18" fmla="*/ 7 w 48"/>
                    <a:gd name="T19" fmla="*/ 1 h 98"/>
                    <a:gd name="T20" fmla="*/ 10 w 48"/>
                    <a:gd name="T21" fmla="*/ 1 h 98"/>
                    <a:gd name="T22" fmla="*/ 13 w 48"/>
                    <a:gd name="T23" fmla="*/ 5 h 98"/>
                    <a:gd name="T24" fmla="*/ 16 w 48"/>
                    <a:gd name="T25" fmla="*/ 4 h 98"/>
                    <a:gd name="T26" fmla="*/ 21 w 48"/>
                    <a:gd name="T27" fmla="*/ 4 h 98"/>
                    <a:gd name="T28" fmla="*/ 24 w 48"/>
                    <a:gd name="T29" fmla="*/ 9 h 98"/>
                    <a:gd name="T30" fmla="*/ 26 w 48"/>
                    <a:gd name="T31" fmla="*/ 11 h 98"/>
                    <a:gd name="T32" fmla="*/ 31 w 48"/>
                    <a:gd name="T33" fmla="*/ 14 h 98"/>
                    <a:gd name="T34" fmla="*/ 34 w 48"/>
                    <a:gd name="T35" fmla="*/ 17 h 98"/>
                    <a:gd name="T36" fmla="*/ 35 w 48"/>
                    <a:gd name="T37" fmla="*/ 27 h 98"/>
                    <a:gd name="T38" fmla="*/ 32 w 48"/>
                    <a:gd name="T39" fmla="*/ 32 h 98"/>
                    <a:gd name="T40" fmla="*/ 31 w 48"/>
                    <a:gd name="T41" fmla="*/ 37 h 98"/>
                    <a:gd name="T42" fmla="*/ 34 w 48"/>
                    <a:gd name="T43" fmla="*/ 41 h 98"/>
                    <a:gd name="T44" fmla="*/ 34 w 48"/>
                    <a:gd name="T45" fmla="*/ 44 h 98"/>
                    <a:gd name="T46" fmla="*/ 36 w 48"/>
                    <a:gd name="T47" fmla="*/ 52 h 98"/>
                    <a:gd name="T48" fmla="*/ 40 w 48"/>
                    <a:gd name="T49" fmla="*/ 57 h 98"/>
                    <a:gd name="T50" fmla="*/ 45 w 48"/>
                    <a:gd name="T51" fmla="*/ 57 h 98"/>
                    <a:gd name="T52" fmla="*/ 47 w 48"/>
                    <a:gd name="T53" fmla="*/ 62 h 98"/>
                    <a:gd name="T54" fmla="*/ 47 w 48"/>
                    <a:gd name="T55" fmla="*/ 70 h 98"/>
                    <a:gd name="T56" fmla="*/ 41 w 48"/>
                    <a:gd name="T57" fmla="*/ 75 h 98"/>
                    <a:gd name="T58" fmla="*/ 37 w 48"/>
                    <a:gd name="T59" fmla="*/ 82 h 98"/>
                    <a:gd name="T60" fmla="*/ 32 w 48"/>
                    <a:gd name="T61" fmla="*/ 86 h 98"/>
                    <a:gd name="T62" fmla="*/ 31 w 48"/>
                    <a:gd name="T63" fmla="*/ 90 h 98"/>
                    <a:gd name="T64" fmla="*/ 31 w 48"/>
                    <a:gd name="T65" fmla="*/ 94 h 98"/>
                    <a:gd name="T66" fmla="*/ 30 w 48"/>
                    <a:gd name="T67" fmla="*/ 95 h 98"/>
                    <a:gd name="T68" fmla="*/ 29 w 48"/>
                    <a:gd name="T69" fmla="*/ 97 h 98"/>
                    <a:gd name="T70" fmla="*/ 24 w 48"/>
                    <a:gd name="T71" fmla="*/ 98 h 98"/>
                    <a:gd name="T72" fmla="*/ 20 w 48"/>
                    <a:gd name="T73" fmla="*/ 94 h 98"/>
                    <a:gd name="T74" fmla="*/ 13 w 48"/>
                    <a:gd name="T75" fmla="*/ 82 h 98"/>
                    <a:gd name="T76" fmla="*/ 2 w 48"/>
                    <a:gd name="T77" fmla="*/ 74 h 98"/>
                    <a:gd name="T78" fmla="*/ 5 w 48"/>
                    <a:gd name="T79" fmla="*/ 76 h 98"/>
                    <a:gd name="T80" fmla="*/ 5 w 48"/>
                    <a:gd name="T81" fmla="*/ 73 h 98"/>
                    <a:gd name="T82" fmla="*/ 5 w 48"/>
                    <a:gd name="T83" fmla="*/ 70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48" h="98">
                      <a:moveTo>
                        <a:pt x="2" y="66"/>
                      </a:moveTo>
                      <a:lnTo>
                        <a:pt x="3" y="62"/>
                      </a:lnTo>
                      <a:lnTo>
                        <a:pt x="3" y="58"/>
                      </a:lnTo>
                      <a:lnTo>
                        <a:pt x="5" y="57"/>
                      </a:lnTo>
                      <a:lnTo>
                        <a:pt x="5" y="53"/>
                      </a:lnTo>
                      <a:lnTo>
                        <a:pt x="5" y="49"/>
                      </a:lnTo>
                      <a:lnTo>
                        <a:pt x="5" y="46"/>
                      </a:lnTo>
                      <a:lnTo>
                        <a:pt x="5" y="44"/>
                      </a:lnTo>
                      <a:lnTo>
                        <a:pt x="5" y="43"/>
                      </a:lnTo>
                      <a:lnTo>
                        <a:pt x="4" y="42"/>
                      </a:lnTo>
                      <a:lnTo>
                        <a:pt x="4" y="41"/>
                      </a:lnTo>
                      <a:lnTo>
                        <a:pt x="7" y="33"/>
                      </a:lnTo>
                      <a:lnTo>
                        <a:pt x="7" y="28"/>
                      </a:lnTo>
                      <a:lnTo>
                        <a:pt x="4" y="26"/>
                      </a:lnTo>
                      <a:lnTo>
                        <a:pt x="2" y="26"/>
                      </a:lnTo>
                      <a:lnTo>
                        <a:pt x="0" y="16"/>
                      </a:lnTo>
                      <a:lnTo>
                        <a:pt x="2" y="11"/>
                      </a:lnTo>
                      <a:lnTo>
                        <a:pt x="3" y="7"/>
                      </a:lnTo>
                      <a:lnTo>
                        <a:pt x="5" y="4"/>
                      </a:ln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10" y="1"/>
                      </a:lnTo>
                      <a:lnTo>
                        <a:pt x="11" y="4"/>
                      </a:lnTo>
                      <a:lnTo>
                        <a:pt x="13" y="5"/>
                      </a:lnTo>
                      <a:lnTo>
                        <a:pt x="14" y="5"/>
                      </a:lnTo>
                      <a:lnTo>
                        <a:pt x="16" y="4"/>
                      </a:lnTo>
                      <a:lnTo>
                        <a:pt x="20" y="3"/>
                      </a:lnTo>
                      <a:lnTo>
                        <a:pt x="21" y="4"/>
                      </a:lnTo>
                      <a:lnTo>
                        <a:pt x="23" y="6"/>
                      </a:lnTo>
                      <a:lnTo>
                        <a:pt x="24" y="9"/>
                      </a:lnTo>
                      <a:lnTo>
                        <a:pt x="25" y="10"/>
                      </a:lnTo>
                      <a:lnTo>
                        <a:pt x="26" y="11"/>
                      </a:lnTo>
                      <a:lnTo>
                        <a:pt x="29" y="12"/>
                      </a:lnTo>
                      <a:lnTo>
                        <a:pt x="31" y="14"/>
                      </a:lnTo>
                      <a:lnTo>
                        <a:pt x="34" y="16"/>
                      </a:lnTo>
                      <a:lnTo>
                        <a:pt x="34" y="17"/>
                      </a:lnTo>
                      <a:lnTo>
                        <a:pt x="34" y="20"/>
                      </a:lnTo>
                      <a:lnTo>
                        <a:pt x="35" y="27"/>
                      </a:lnTo>
                      <a:lnTo>
                        <a:pt x="32" y="30"/>
                      </a:lnTo>
                      <a:lnTo>
                        <a:pt x="32" y="32"/>
                      </a:lnTo>
                      <a:lnTo>
                        <a:pt x="32" y="35"/>
                      </a:lnTo>
                      <a:lnTo>
                        <a:pt x="31" y="37"/>
                      </a:lnTo>
                      <a:lnTo>
                        <a:pt x="32" y="39"/>
                      </a:lnTo>
                      <a:lnTo>
                        <a:pt x="34" y="41"/>
                      </a:lnTo>
                      <a:lnTo>
                        <a:pt x="34" y="42"/>
                      </a:lnTo>
                      <a:lnTo>
                        <a:pt x="34" y="44"/>
                      </a:lnTo>
                      <a:lnTo>
                        <a:pt x="34" y="48"/>
                      </a:lnTo>
                      <a:lnTo>
                        <a:pt x="36" y="52"/>
                      </a:lnTo>
                      <a:lnTo>
                        <a:pt x="39" y="55"/>
                      </a:lnTo>
                      <a:lnTo>
                        <a:pt x="40" y="57"/>
                      </a:lnTo>
                      <a:lnTo>
                        <a:pt x="42" y="57"/>
                      </a:lnTo>
                      <a:lnTo>
                        <a:pt x="45" y="57"/>
                      </a:lnTo>
                      <a:lnTo>
                        <a:pt x="46" y="58"/>
                      </a:lnTo>
                      <a:lnTo>
                        <a:pt x="47" y="62"/>
                      </a:lnTo>
                      <a:lnTo>
                        <a:pt x="48" y="66"/>
                      </a:lnTo>
                      <a:lnTo>
                        <a:pt x="47" y="70"/>
                      </a:lnTo>
                      <a:lnTo>
                        <a:pt x="43" y="73"/>
                      </a:lnTo>
                      <a:lnTo>
                        <a:pt x="41" y="75"/>
                      </a:lnTo>
                      <a:lnTo>
                        <a:pt x="40" y="80"/>
                      </a:lnTo>
                      <a:lnTo>
                        <a:pt x="37" y="82"/>
                      </a:lnTo>
                      <a:lnTo>
                        <a:pt x="36" y="84"/>
                      </a:lnTo>
                      <a:lnTo>
                        <a:pt x="32" y="86"/>
                      </a:lnTo>
                      <a:lnTo>
                        <a:pt x="31" y="87"/>
                      </a:lnTo>
                      <a:lnTo>
                        <a:pt x="31" y="90"/>
                      </a:lnTo>
                      <a:lnTo>
                        <a:pt x="32" y="94"/>
                      </a:lnTo>
                      <a:lnTo>
                        <a:pt x="31" y="94"/>
                      </a:lnTo>
                      <a:lnTo>
                        <a:pt x="30" y="94"/>
                      </a:lnTo>
                      <a:lnTo>
                        <a:pt x="30" y="95"/>
                      </a:lnTo>
                      <a:lnTo>
                        <a:pt x="30" y="97"/>
                      </a:lnTo>
                      <a:lnTo>
                        <a:pt x="29" y="97"/>
                      </a:lnTo>
                      <a:lnTo>
                        <a:pt x="26" y="98"/>
                      </a:lnTo>
                      <a:lnTo>
                        <a:pt x="24" y="98"/>
                      </a:lnTo>
                      <a:lnTo>
                        <a:pt x="23" y="97"/>
                      </a:lnTo>
                      <a:lnTo>
                        <a:pt x="20" y="94"/>
                      </a:lnTo>
                      <a:lnTo>
                        <a:pt x="18" y="87"/>
                      </a:lnTo>
                      <a:lnTo>
                        <a:pt x="13" y="82"/>
                      </a:lnTo>
                      <a:lnTo>
                        <a:pt x="7" y="79"/>
                      </a:lnTo>
                      <a:lnTo>
                        <a:pt x="2" y="74"/>
                      </a:lnTo>
                      <a:lnTo>
                        <a:pt x="4" y="74"/>
                      </a:lnTo>
                      <a:lnTo>
                        <a:pt x="5" y="76"/>
                      </a:lnTo>
                      <a:lnTo>
                        <a:pt x="7" y="74"/>
                      </a:lnTo>
                      <a:lnTo>
                        <a:pt x="5" y="73"/>
                      </a:lnTo>
                      <a:lnTo>
                        <a:pt x="4" y="71"/>
                      </a:lnTo>
                      <a:lnTo>
                        <a:pt x="5" y="70"/>
                      </a:lnTo>
                      <a:lnTo>
                        <a:pt x="2" y="66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6" name="Freeform 688">
                  <a:extLst>
                    <a:ext uri="{FF2B5EF4-FFF2-40B4-BE49-F238E27FC236}">
                      <a16:creationId xmlns:a16="http://schemas.microsoft.com/office/drawing/2014/main" id="{6C45FEEF-206A-43B7-9D12-15C1849756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4097" y="5423855"/>
                  <a:ext cx="4477" cy="5304"/>
                </a:xfrm>
                <a:custGeom>
                  <a:avLst/>
                  <a:gdLst>
                    <a:gd name="T0" fmla="*/ 1 w 2"/>
                    <a:gd name="T1" fmla="*/ 0 h 4"/>
                    <a:gd name="T2" fmla="*/ 0 w 2"/>
                    <a:gd name="T3" fmla="*/ 3 h 4"/>
                    <a:gd name="T4" fmla="*/ 2 w 2"/>
                    <a:gd name="T5" fmla="*/ 4 h 4"/>
                    <a:gd name="T6" fmla="*/ 1 w 2"/>
                    <a:gd name="T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4">
                      <a:moveTo>
                        <a:pt x="1" y="0"/>
                      </a:moveTo>
                      <a:lnTo>
                        <a:pt x="0" y="3"/>
                      </a:lnTo>
                      <a:lnTo>
                        <a:pt x="2" y="4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7" name="Freeform 689">
                  <a:extLst>
                    <a:ext uri="{FF2B5EF4-FFF2-40B4-BE49-F238E27FC236}">
                      <a16:creationId xmlns:a16="http://schemas.microsoft.com/office/drawing/2014/main" id="{9C7AAE5E-8D52-4103-83C6-942B50B51F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8574" y="5418551"/>
                  <a:ext cx="13431" cy="13261"/>
                </a:xfrm>
                <a:custGeom>
                  <a:avLst/>
                  <a:gdLst>
                    <a:gd name="T0" fmla="*/ 5 w 14"/>
                    <a:gd name="T1" fmla="*/ 8 h 8"/>
                    <a:gd name="T2" fmla="*/ 7 w 14"/>
                    <a:gd name="T3" fmla="*/ 8 h 8"/>
                    <a:gd name="T4" fmla="*/ 9 w 14"/>
                    <a:gd name="T5" fmla="*/ 7 h 8"/>
                    <a:gd name="T6" fmla="*/ 7 w 14"/>
                    <a:gd name="T7" fmla="*/ 3 h 8"/>
                    <a:gd name="T8" fmla="*/ 9 w 14"/>
                    <a:gd name="T9" fmla="*/ 3 h 8"/>
                    <a:gd name="T10" fmla="*/ 10 w 14"/>
                    <a:gd name="T11" fmla="*/ 4 h 8"/>
                    <a:gd name="T12" fmla="*/ 11 w 14"/>
                    <a:gd name="T13" fmla="*/ 6 h 8"/>
                    <a:gd name="T14" fmla="*/ 14 w 14"/>
                    <a:gd name="T15" fmla="*/ 6 h 8"/>
                    <a:gd name="T16" fmla="*/ 14 w 14"/>
                    <a:gd name="T17" fmla="*/ 4 h 8"/>
                    <a:gd name="T18" fmla="*/ 14 w 14"/>
                    <a:gd name="T19" fmla="*/ 4 h 8"/>
                    <a:gd name="T20" fmla="*/ 10 w 14"/>
                    <a:gd name="T21" fmla="*/ 2 h 8"/>
                    <a:gd name="T22" fmla="*/ 6 w 14"/>
                    <a:gd name="T23" fmla="*/ 1 h 8"/>
                    <a:gd name="T24" fmla="*/ 4 w 14"/>
                    <a:gd name="T25" fmla="*/ 0 h 8"/>
                    <a:gd name="T26" fmla="*/ 5 w 14"/>
                    <a:gd name="T27" fmla="*/ 3 h 8"/>
                    <a:gd name="T28" fmla="*/ 4 w 14"/>
                    <a:gd name="T29" fmla="*/ 6 h 8"/>
                    <a:gd name="T30" fmla="*/ 3 w 14"/>
                    <a:gd name="T31" fmla="*/ 3 h 8"/>
                    <a:gd name="T32" fmla="*/ 0 w 14"/>
                    <a:gd name="T33" fmla="*/ 3 h 8"/>
                    <a:gd name="T34" fmla="*/ 1 w 14"/>
                    <a:gd name="T35" fmla="*/ 7 h 8"/>
                    <a:gd name="T36" fmla="*/ 3 w 14"/>
                    <a:gd name="T37" fmla="*/ 8 h 8"/>
                    <a:gd name="T38" fmla="*/ 5 w 14"/>
                    <a:gd name="T39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4" h="8">
                      <a:moveTo>
                        <a:pt x="5" y="8"/>
                      </a:moveTo>
                      <a:lnTo>
                        <a:pt x="7" y="8"/>
                      </a:lnTo>
                      <a:lnTo>
                        <a:pt x="9" y="7"/>
                      </a:lnTo>
                      <a:lnTo>
                        <a:pt x="7" y="3"/>
                      </a:lnTo>
                      <a:lnTo>
                        <a:pt x="9" y="3"/>
                      </a:lnTo>
                      <a:lnTo>
                        <a:pt x="10" y="4"/>
                      </a:lnTo>
                      <a:lnTo>
                        <a:pt x="11" y="6"/>
                      </a:lnTo>
                      <a:lnTo>
                        <a:pt x="14" y="6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0" y="2"/>
                      </a:lnTo>
                      <a:lnTo>
                        <a:pt x="6" y="1"/>
                      </a:lnTo>
                      <a:lnTo>
                        <a:pt x="4" y="0"/>
                      </a:lnTo>
                      <a:lnTo>
                        <a:pt x="5" y="3"/>
                      </a:lnTo>
                      <a:lnTo>
                        <a:pt x="4" y="6"/>
                      </a:lnTo>
                      <a:lnTo>
                        <a:pt x="3" y="3"/>
                      </a:lnTo>
                      <a:lnTo>
                        <a:pt x="0" y="3"/>
                      </a:lnTo>
                      <a:lnTo>
                        <a:pt x="1" y="7"/>
                      </a:lnTo>
                      <a:lnTo>
                        <a:pt x="3" y="8"/>
                      </a:lnTo>
                      <a:lnTo>
                        <a:pt x="5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8" name="Freeform 690">
                  <a:extLst>
                    <a:ext uri="{FF2B5EF4-FFF2-40B4-BE49-F238E27FC236}">
                      <a16:creationId xmlns:a16="http://schemas.microsoft.com/office/drawing/2014/main" id="{A7980167-D63D-44EF-801C-744AAACC2D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25289" y="5431812"/>
                  <a:ext cx="6716" cy="2653"/>
                </a:xfrm>
                <a:custGeom>
                  <a:avLst/>
                  <a:gdLst>
                    <a:gd name="T0" fmla="*/ 0 w 7"/>
                    <a:gd name="T1" fmla="*/ 0 h 2"/>
                    <a:gd name="T2" fmla="*/ 4 w 7"/>
                    <a:gd name="T3" fmla="*/ 2 h 2"/>
                    <a:gd name="T4" fmla="*/ 5 w 7"/>
                    <a:gd name="T5" fmla="*/ 2 h 2"/>
                    <a:gd name="T6" fmla="*/ 7 w 7"/>
                    <a:gd name="T7" fmla="*/ 2 h 2"/>
                    <a:gd name="T8" fmla="*/ 4 w 7"/>
                    <a:gd name="T9" fmla="*/ 0 h 2"/>
                    <a:gd name="T10" fmla="*/ 0 w 7"/>
                    <a:gd name="T1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" h="2">
                      <a:moveTo>
                        <a:pt x="0" y="0"/>
                      </a:moveTo>
                      <a:lnTo>
                        <a:pt x="4" y="2"/>
                      </a:lnTo>
                      <a:lnTo>
                        <a:pt x="5" y="2"/>
                      </a:lnTo>
                      <a:lnTo>
                        <a:pt x="7" y="2"/>
                      </a:lnTo>
                      <a:lnTo>
                        <a:pt x="4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9" name="Freeform 691">
                  <a:extLst>
                    <a:ext uri="{FF2B5EF4-FFF2-40B4-BE49-F238E27FC236}">
                      <a16:creationId xmlns:a16="http://schemas.microsoft.com/office/drawing/2014/main" id="{14F1FDAF-011A-463F-ADCE-2EF6A71DD8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36482" y="5434464"/>
                  <a:ext cx="2240" cy="0"/>
                </a:xfrm>
                <a:custGeom>
                  <a:avLst/>
                  <a:gdLst>
                    <a:gd name="T0" fmla="*/ 0 w 3"/>
                    <a:gd name="T1" fmla="*/ 3 w 3"/>
                    <a:gd name="T2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0" name="Freeform 692">
                  <a:extLst>
                    <a:ext uri="{FF2B5EF4-FFF2-40B4-BE49-F238E27FC236}">
                      <a16:creationId xmlns:a16="http://schemas.microsoft.com/office/drawing/2014/main" id="{980F27D1-7103-49D6-AC86-A4EA6CFA3BC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47674" y="5304512"/>
                  <a:ext cx="6716" cy="5304"/>
                </a:xfrm>
                <a:custGeom>
                  <a:avLst/>
                  <a:gdLst>
                    <a:gd name="T0" fmla="*/ 3 w 5"/>
                    <a:gd name="T1" fmla="*/ 4 h 4"/>
                    <a:gd name="T2" fmla="*/ 5 w 5"/>
                    <a:gd name="T3" fmla="*/ 3 h 4"/>
                    <a:gd name="T4" fmla="*/ 5 w 5"/>
                    <a:gd name="T5" fmla="*/ 2 h 4"/>
                    <a:gd name="T6" fmla="*/ 3 w 5"/>
                    <a:gd name="T7" fmla="*/ 0 h 4"/>
                    <a:gd name="T8" fmla="*/ 0 w 5"/>
                    <a:gd name="T9" fmla="*/ 2 h 4"/>
                    <a:gd name="T10" fmla="*/ 3 w 5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4">
                      <a:moveTo>
                        <a:pt x="3" y="4"/>
                      </a:moveTo>
                      <a:lnTo>
                        <a:pt x="5" y="3"/>
                      </a:lnTo>
                      <a:lnTo>
                        <a:pt x="5" y="2"/>
                      </a:ln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3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1" name="Freeform 693">
                  <a:extLst>
                    <a:ext uri="{FF2B5EF4-FFF2-40B4-BE49-F238E27FC236}">
                      <a16:creationId xmlns:a16="http://schemas.microsoft.com/office/drawing/2014/main" id="{A3140F13-C854-4710-9AB8-70C7ADDBAC1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1105" y="5413246"/>
                  <a:ext cx="2240" cy="0"/>
                </a:xfrm>
                <a:custGeom>
                  <a:avLst/>
                  <a:gdLst>
                    <a:gd name="T0" fmla="*/ 0 w 4"/>
                    <a:gd name="T1" fmla="*/ 1 h 1"/>
                    <a:gd name="T2" fmla="*/ 4 w 4"/>
                    <a:gd name="T3" fmla="*/ 1 h 1"/>
                    <a:gd name="T4" fmla="*/ 1 w 4"/>
                    <a:gd name="T5" fmla="*/ 0 h 1"/>
                    <a:gd name="T6" fmla="*/ 0 w 4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1">
                      <a:moveTo>
                        <a:pt x="0" y="1"/>
                      </a:moveTo>
                      <a:lnTo>
                        <a:pt x="4" y="1"/>
                      </a:lnTo>
                      <a:lnTo>
                        <a:pt x="1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2" name="Freeform 694">
                  <a:extLst>
                    <a:ext uri="{FF2B5EF4-FFF2-40B4-BE49-F238E27FC236}">
                      <a16:creationId xmlns:a16="http://schemas.microsoft.com/office/drawing/2014/main" id="{03566A4D-8235-4F75-B5A5-5EB90ACD4F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7822" y="5301860"/>
                  <a:ext cx="4477" cy="2653"/>
                </a:xfrm>
                <a:custGeom>
                  <a:avLst/>
                  <a:gdLst>
                    <a:gd name="T0" fmla="*/ 4 w 4"/>
                    <a:gd name="T1" fmla="*/ 0 h 1"/>
                    <a:gd name="T2" fmla="*/ 0 w 4"/>
                    <a:gd name="T3" fmla="*/ 1 h 1"/>
                    <a:gd name="T4" fmla="*/ 4 w 4"/>
                    <a:gd name="T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1">
                      <a:moveTo>
                        <a:pt x="4" y="0"/>
                      </a:moveTo>
                      <a:lnTo>
                        <a:pt x="0" y="1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3" name="Freeform 695">
                  <a:extLst>
                    <a:ext uri="{FF2B5EF4-FFF2-40B4-BE49-F238E27FC236}">
                      <a16:creationId xmlns:a16="http://schemas.microsoft.com/office/drawing/2014/main" id="{B4922C37-0427-44E7-904D-9997B19BA4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2299" y="5304512"/>
                  <a:ext cx="2240" cy="2653"/>
                </a:xfrm>
                <a:custGeom>
                  <a:avLst/>
                  <a:gdLst>
                    <a:gd name="T0" fmla="*/ 4 w 4"/>
                    <a:gd name="T1" fmla="*/ 0 h 3"/>
                    <a:gd name="T2" fmla="*/ 0 w 4"/>
                    <a:gd name="T3" fmla="*/ 0 h 3"/>
                    <a:gd name="T4" fmla="*/ 4 w 4"/>
                    <a:gd name="T5" fmla="*/ 3 h 3"/>
                    <a:gd name="T6" fmla="*/ 4 w 4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4" y="3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4" name="Freeform 696">
                  <a:extLst>
                    <a:ext uri="{FF2B5EF4-FFF2-40B4-BE49-F238E27FC236}">
                      <a16:creationId xmlns:a16="http://schemas.microsoft.com/office/drawing/2014/main" id="{B32870B4-7DE1-4662-8E8D-A87E8922C6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4537" y="5415900"/>
                  <a:ext cx="4477" cy="5304"/>
                </a:xfrm>
                <a:custGeom>
                  <a:avLst/>
                  <a:gdLst>
                    <a:gd name="T0" fmla="*/ 3 w 5"/>
                    <a:gd name="T1" fmla="*/ 3 h 5"/>
                    <a:gd name="T2" fmla="*/ 0 w 5"/>
                    <a:gd name="T3" fmla="*/ 0 h 5"/>
                    <a:gd name="T4" fmla="*/ 0 w 5"/>
                    <a:gd name="T5" fmla="*/ 3 h 5"/>
                    <a:gd name="T6" fmla="*/ 2 w 5"/>
                    <a:gd name="T7" fmla="*/ 4 h 5"/>
                    <a:gd name="T8" fmla="*/ 5 w 5"/>
                    <a:gd name="T9" fmla="*/ 5 h 5"/>
                    <a:gd name="T10" fmla="*/ 4 w 5"/>
                    <a:gd name="T11" fmla="*/ 4 h 5"/>
                    <a:gd name="T12" fmla="*/ 3 w 5"/>
                    <a:gd name="T13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5">
                      <a:moveTo>
                        <a:pt x="3" y="3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4"/>
                      </a:lnTo>
                      <a:lnTo>
                        <a:pt x="5" y="5"/>
                      </a:lnTo>
                      <a:lnTo>
                        <a:pt x="4" y="4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5" name="Freeform 697">
                  <a:extLst>
                    <a:ext uri="{FF2B5EF4-FFF2-40B4-BE49-F238E27FC236}">
                      <a16:creationId xmlns:a16="http://schemas.microsoft.com/office/drawing/2014/main" id="{0C86371F-AD19-450F-9DC0-703B5D9C24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4537" y="5426509"/>
                  <a:ext cx="2240" cy="2653"/>
                </a:xfrm>
                <a:custGeom>
                  <a:avLst/>
                  <a:gdLst>
                    <a:gd name="T0" fmla="*/ 3 w 3"/>
                    <a:gd name="T1" fmla="*/ 1 h 1"/>
                    <a:gd name="T2" fmla="*/ 0 w 3"/>
                    <a:gd name="T3" fmla="*/ 0 h 1"/>
                    <a:gd name="T4" fmla="*/ 3 w 3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1">
                      <a:moveTo>
                        <a:pt x="3" y="1"/>
                      </a:moveTo>
                      <a:lnTo>
                        <a:pt x="0" y="0"/>
                      </a:lnTo>
                      <a:lnTo>
                        <a:pt x="3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6" name="Freeform 698">
                  <a:extLst>
                    <a:ext uri="{FF2B5EF4-FFF2-40B4-BE49-F238E27FC236}">
                      <a16:creationId xmlns:a16="http://schemas.microsoft.com/office/drawing/2014/main" id="{8F7DFA99-316B-4AA1-A75A-5B4AA220C2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9014" y="5426509"/>
                  <a:ext cx="2240" cy="2653"/>
                </a:xfrm>
                <a:custGeom>
                  <a:avLst/>
                  <a:gdLst>
                    <a:gd name="T0" fmla="*/ 0 w 3"/>
                    <a:gd name="T1" fmla="*/ 1 h 1"/>
                    <a:gd name="T2" fmla="*/ 1 w 3"/>
                    <a:gd name="T3" fmla="*/ 1 h 1"/>
                    <a:gd name="T4" fmla="*/ 3 w 3"/>
                    <a:gd name="T5" fmla="*/ 0 h 1"/>
                    <a:gd name="T6" fmla="*/ 0 w 3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1">
                      <a:moveTo>
                        <a:pt x="0" y="1"/>
                      </a:moveTo>
                      <a:lnTo>
                        <a:pt x="1" y="1"/>
                      </a:lnTo>
                      <a:lnTo>
                        <a:pt x="3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7" name="Freeform 699">
                  <a:extLst>
                    <a:ext uri="{FF2B5EF4-FFF2-40B4-BE49-F238E27FC236}">
                      <a16:creationId xmlns:a16="http://schemas.microsoft.com/office/drawing/2014/main" id="{CDA77CFE-5040-4A03-AC6E-753E18057A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5730" y="5283296"/>
                  <a:ext cx="4477" cy="2653"/>
                </a:xfrm>
                <a:custGeom>
                  <a:avLst/>
                  <a:gdLst>
                    <a:gd name="T0" fmla="*/ 3 w 3"/>
                    <a:gd name="T1" fmla="*/ 0 h 3"/>
                    <a:gd name="T2" fmla="*/ 0 w 3"/>
                    <a:gd name="T3" fmla="*/ 0 h 3"/>
                    <a:gd name="T4" fmla="*/ 3 w 3"/>
                    <a:gd name="T5" fmla="*/ 3 h 3"/>
                    <a:gd name="T6" fmla="*/ 3 w 3"/>
                    <a:gd name="T7" fmla="*/ 2 h 3"/>
                    <a:gd name="T8" fmla="*/ 3 w 3"/>
                    <a:gd name="T9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8" name="Freeform 700">
                  <a:extLst>
                    <a:ext uri="{FF2B5EF4-FFF2-40B4-BE49-F238E27FC236}">
                      <a16:creationId xmlns:a16="http://schemas.microsoft.com/office/drawing/2014/main" id="{D514B262-7F8B-4F74-BD76-E07A235D88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7967" y="5421204"/>
                  <a:ext cx="2240" cy="0"/>
                </a:xfrm>
                <a:custGeom>
                  <a:avLst/>
                  <a:gdLst>
                    <a:gd name="T0" fmla="*/ 0 w 2"/>
                    <a:gd name="T1" fmla="*/ 1 h 1"/>
                    <a:gd name="T2" fmla="*/ 2 w 2"/>
                    <a:gd name="T3" fmla="*/ 1 h 1"/>
                    <a:gd name="T4" fmla="*/ 1 w 2"/>
                    <a:gd name="T5" fmla="*/ 0 h 1"/>
                    <a:gd name="T6" fmla="*/ 0 w 2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1">
                      <a:moveTo>
                        <a:pt x="0" y="1"/>
                      </a:move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9" name="Freeform 701">
                  <a:extLst>
                    <a:ext uri="{FF2B5EF4-FFF2-40B4-BE49-F238E27FC236}">
                      <a16:creationId xmlns:a16="http://schemas.microsoft.com/office/drawing/2014/main" id="{14CBEE58-77DB-4F44-A68A-AC28B29E92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90207" y="5423855"/>
                  <a:ext cx="13431" cy="10609"/>
                </a:xfrm>
                <a:custGeom>
                  <a:avLst/>
                  <a:gdLst>
                    <a:gd name="T0" fmla="*/ 0 w 12"/>
                    <a:gd name="T1" fmla="*/ 9 h 9"/>
                    <a:gd name="T2" fmla="*/ 6 w 12"/>
                    <a:gd name="T3" fmla="*/ 9 h 9"/>
                    <a:gd name="T4" fmla="*/ 9 w 12"/>
                    <a:gd name="T5" fmla="*/ 8 h 9"/>
                    <a:gd name="T6" fmla="*/ 10 w 12"/>
                    <a:gd name="T7" fmla="*/ 5 h 9"/>
                    <a:gd name="T8" fmla="*/ 11 w 12"/>
                    <a:gd name="T9" fmla="*/ 3 h 9"/>
                    <a:gd name="T10" fmla="*/ 12 w 12"/>
                    <a:gd name="T11" fmla="*/ 0 h 9"/>
                    <a:gd name="T12" fmla="*/ 7 w 12"/>
                    <a:gd name="T13" fmla="*/ 3 h 9"/>
                    <a:gd name="T14" fmla="*/ 1 w 12"/>
                    <a:gd name="T15" fmla="*/ 3 h 9"/>
                    <a:gd name="T16" fmla="*/ 2 w 12"/>
                    <a:gd name="T17" fmla="*/ 4 h 9"/>
                    <a:gd name="T18" fmla="*/ 4 w 12"/>
                    <a:gd name="T19" fmla="*/ 4 h 9"/>
                    <a:gd name="T20" fmla="*/ 2 w 12"/>
                    <a:gd name="T21" fmla="*/ 5 h 9"/>
                    <a:gd name="T22" fmla="*/ 0 w 12"/>
                    <a:gd name="T23" fmla="*/ 6 h 9"/>
                    <a:gd name="T24" fmla="*/ 0 w 12"/>
                    <a:gd name="T25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2" h="9">
                      <a:moveTo>
                        <a:pt x="0" y="9"/>
                      </a:moveTo>
                      <a:lnTo>
                        <a:pt x="6" y="9"/>
                      </a:lnTo>
                      <a:lnTo>
                        <a:pt x="9" y="8"/>
                      </a:lnTo>
                      <a:lnTo>
                        <a:pt x="10" y="5"/>
                      </a:lnTo>
                      <a:lnTo>
                        <a:pt x="11" y="3"/>
                      </a:lnTo>
                      <a:lnTo>
                        <a:pt x="12" y="0"/>
                      </a:lnTo>
                      <a:lnTo>
                        <a:pt x="7" y="3"/>
                      </a:lnTo>
                      <a:lnTo>
                        <a:pt x="1" y="3"/>
                      </a:lnTo>
                      <a:lnTo>
                        <a:pt x="2" y="4"/>
                      </a:lnTo>
                      <a:lnTo>
                        <a:pt x="4" y="4"/>
                      </a:lnTo>
                      <a:lnTo>
                        <a:pt x="2" y="5"/>
                      </a:lnTo>
                      <a:lnTo>
                        <a:pt x="0" y="6"/>
                      </a:lnTo>
                      <a:lnTo>
                        <a:pt x="0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0" name="Freeform 702">
                  <a:extLst>
                    <a:ext uri="{FF2B5EF4-FFF2-40B4-BE49-F238E27FC236}">
                      <a16:creationId xmlns:a16="http://schemas.microsoft.com/office/drawing/2014/main" id="{FD6CAF54-0B0B-413A-A252-67CB6F21A1C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99160" y="5434464"/>
                  <a:ext cx="6716" cy="5304"/>
                </a:xfrm>
                <a:custGeom>
                  <a:avLst/>
                  <a:gdLst>
                    <a:gd name="T0" fmla="*/ 0 w 6"/>
                    <a:gd name="T1" fmla="*/ 0 h 2"/>
                    <a:gd name="T2" fmla="*/ 1 w 6"/>
                    <a:gd name="T3" fmla="*/ 2 h 2"/>
                    <a:gd name="T4" fmla="*/ 4 w 6"/>
                    <a:gd name="T5" fmla="*/ 2 h 2"/>
                    <a:gd name="T6" fmla="*/ 6 w 6"/>
                    <a:gd name="T7" fmla="*/ 2 h 2"/>
                    <a:gd name="T8" fmla="*/ 6 w 6"/>
                    <a:gd name="T9" fmla="*/ 0 h 2"/>
                    <a:gd name="T10" fmla="*/ 0 w 6"/>
                    <a:gd name="T1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2">
                      <a:moveTo>
                        <a:pt x="0" y="0"/>
                      </a:moveTo>
                      <a:lnTo>
                        <a:pt x="1" y="2"/>
                      </a:lnTo>
                      <a:lnTo>
                        <a:pt x="4" y="2"/>
                      </a:lnTo>
                      <a:lnTo>
                        <a:pt x="6" y="2"/>
                      </a:lnTo>
                      <a:lnTo>
                        <a:pt x="6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1" name="Freeform 703">
                  <a:extLst>
                    <a:ext uri="{FF2B5EF4-FFF2-40B4-BE49-F238E27FC236}">
                      <a16:creationId xmlns:a16="http://schemas.microsoft.com/office/drawing/2014/main" id="{D66D52A9-790C-4B7A-AD32-B72A9EFB35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28260" y="5235559"/>
                  <a:ext cx="8954" cy="5304"/>
                </a:xfrm>
                <a:custGeom>
                  <a:avLst/>
                  <a:gdLst>
                    <a:gd name="T0" fmla="*/ 0 w 9"/>
                    <a:gd name="T1" fmla="*/ 2 h 2"/>
                    <a:gd name="T2" fmla="*/ 4 w 9"/>
                    <a:gd name="T3" fmla="*/ 2 h 2"/>
                    <a:gd name="T4" fmla="*/ 5 w 9"/>
                    <a:gd name="T5" fmla="*/ 2 h 2"/>
                    <a:gd name="T6" fmla="*/ 7 w 9"/>
                    <a:gd name="T7" fmla="*/ 1 h 2"/>
                    <a:gd name="T8" fmla="*/ 9 w 9"/>
                    <a:gd name="T9" fmla="*/ 1 h 2"/>
                    <a:gd name="T10" fmla="*/ 8 w 9"/>
                    <a:gd name="T11" fmla="*/ 0 h 2"/>
                    <a:gd name="T12" fmla="*/ 4 w 9"/>
                    <a:gd name="T13" fmla="*/ 0 h 2"/>
                    <a:gd name="T14" fmla="*/ 2 w 9"/>
                    <a:gd name="T15" fmla="*/ 0 h 2"/>
                    <a:gd name="T16" fmla="*/ 0 w 9"/>
                    <a:gd name="T1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" h="2">
                      <a:moveTo>
                        <a:pt x="0" y="2"/>
                      </a:moveTo>
                      <a:lnTo>
                        <a:pt x="4" y="2"/>
                      </a:lnTo>
                      <a:lnTo>
                        <a:pt x="5" y="2"/>
                      </a:lnTo>
                      <a:lnTo>
                        <a:pt x="7" y="1"/>
                      </a:lnTo>
                      <a:lnTo>
                        <a:pt x="9" y="1"/>
                      </a:lnTo>
                      <a:lnTo>
                        <a:pt x="8" y="0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2" name="Freeform 704">
                  <a:extLst>
                    <a:ext uri="{FF2B5EF4-FFF2-40B4-BE49-F238E27FC236}">
                      <a16:creationId xmlns:a16="http://schemas.microsoft.com/office/drawing/2014/main" id="{D93025B7-2009-4C72-A0F2-9984945D0E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8574" y="5049913"/>
                  <a:ext cx="293246" cy="392507"/>
                </a:xfrm>
                <a:custGeom>
                  <a:avLst/>
                  <a:gdLst>
                    <a:gd name="T0" fmla="*/ 11 w 263"/>
                    <a:gd name="T1" fmla="*/ 27 h 298"/>
                    <a:gd name="T2" fmla="*/ 31 w 263"/>
                    <a:gd name="T3" fmla="*/ 29 h 298"/>
                    <a:gd name="T4" fmla="*/ 59 w 263"/>
                    <a:gd name="T5" fmla="*/ 40 h 298"/>
                    <a:gd name="T6" fmla="*/ 81 w 263"/>
                    <a:gd name="T7" fmla="*/ 37 h 298"/>
                    <a:gd name="T8" fmla="*/ 94 w 263"/>
                    <a:gd name="T9" fmla="*/ 41 h 298"/>
                    <a:gd name="T10" fmla="*/ 108 w 263"/>
                    <a:gd name="T11" fmla="*/ 32 h 298"/>
                    <a:gd name="T12" fmla="*/ 123 w 263"/>
                    <a:gd name="T13" fmla="*/ 4 h 298"/>
                    <a:gd name="T14" fmla="*/ 148 w 263"/>
                    <a:gd name="T15" fmla="*/ 0 h 298"/>
                    <a:gd name="T16" fmla="*/ 182 w 263"/>
                    <a:gd name="T17" fmla="*/ 14 h 298"/>
                    <a:gd name="T18" fmla="*/ 178 w 263"/>
                    <a:gd name="T19" fmla="*/ 27 h 298"/>
                    <a:gd name="T20" fmla="*/ 172 w 263"/>
                    <a:gd name="T21" fmla="*/ 35 h 298"/>
                    <a:gd name="T22" fmla="*/ 170 w 263"/>
                    <a:gd name="T23" fmla="*/ 46 h 298"/>
                    <a:gd name="T24" fmla="*/ 203 w 263"/>
                    <a:gd name="T25" fmla="*/ 66 h 298"/>
                    <a:gd name="T26" fmla="*/ 196 w 263"/>
                    <a:gd name="T27" fmla="*/ 82 h 298"/>
                    <a:gd name="T28" fmla="*/ 205 w 263"/>
                    <a:gd name="T29" fmla="*/ 106 h 298"/>
                    <a:gd name="T30" fmla="*/ 212 w 263"/>
                    <a:gd name="T31" fmla="*/ 130 h 298"/>
                    <a:gd name="T32" fmla="*/ 213 w 263"/>
                    <a:gd name="T33" fmla="*/ 138 h 298"/>
                    <a:gd name="T34" fmla="*/ 213 w 263"/>
                    <a:gd name="T35" fmla="*/ 148 h 298"/>
                    <a:gd name="T36" fmla="*/ 221 w 263"/>
                    <a:gd name="T37" fmla="*/ 155 h 298"/>
                    <a:gd name="T38" fmla="*/ 232 w 263"/>
                    <a:gd name="T39" fmla="*/ 165 h 298"/>
                    <a:gd name="T40" fmla="*/ 229 w 263"/>
                    <a:gd name="T41" fmla="*/ 177 h 298"/>
                    <a:gd name="T42" fmla="*/ 263 w 263"/>
                    <a:gd name="T43" fmla="*/ 206 h 298"/>
                    <a:gd name="T44" fmla="*/ 228 w 263"/>
                    <a:gd name="T45" fmla="*/ 246 h 298"/>
                    <a:gd name="T46" fmla="*/ 186 w 263"/>
                    <a:gd name="T47" fmla="*/ 277 h 298"/>
                    <a:gd name="T48" fmla="*/ 173 w 263"/>
                    <a:gd name="T49" fmla="*/ 276 h 298"/>
                    <a:gd name="T50" fmla="*/ 155 w 263"/>
                    <a:gd name="T51" fmla="*/ 280 h 298"/>
                    <a:gd name="T52" fmla="*/ 144 w 263"/>
                    <a:gd name="T53" fmla="*/ 282 h 298"/>
                    <a:gd name="T54" fmla="*/ 132 w 263"/>
                    <a:gd name="T55" fmla="*/ 284 h 298"/>
                    <a:gd name="T56" fmla="*/ 112 w 263"/>
                    <a:gd name="T57" fmla="*/ 292 h 298"/>
                    <a:gd name="T58" fmla="*/ 96 w 263"/>
                    <a:gd name="T59" fmla="*/ 293 h 298"/>
                    <a:gd name="T60" fmla="*/ 80 w 263"/>
                    <a:gd name="T61" fmla="*/ 297 h 298"/>
                    <a:gd name="T62" fmla="*/ 81 w 263"/>
                    <a:gd name="T63" fmla="*/ 292 h 298"/>
                    <a:gd name="T64" fmla="*/ 78 w 263"/>
                    <a:gd name="T65" fmla="*/ 288 h 298"/>
                    <a:gd name="T66" fmla="*/ 76 w 263"/>
                    <a:gd name="T67" fmla="*/ 282 h 298"/>
                    <a:gd name="T68" fmla="*/ 59 w 263"/>
                    <a:gd name="T69" fmla="*/ 280 h 298"/>
                    <a:gd name="T70" fmla="*/ 46 w 263"/>
                    <a:gd name="T71" fmla="*/ 276 h 298"/>
                    <a:gd name="T72" fmla="*/ 39 w 263"/>
                    <a:gd name="T73" fmla="*/ 266 h 298"/>
                    <a:gd name="T74" fmla="*/ 41 w 263"/>
                    <a:gd name="T75" fmla="*/ 251 h 298"/>
                    <a:gd name="T76" fmla="*/ 38 w 263"/>
                    <a:gd name="T77" fmla="*/ 239 h 298"/>
                    <a:gd name="T78" fmla="*/ 34 w 263"/>
                    <a:gd name="T79" fmla="*/ 224 h 298"/>
                    <a:gd name="T80" fmla="*/ 30 w 263"/>
                    <a:gd name="T81" fmla="*/ 211 h 298"/>
                    <a:gd name="T82" fmla="*/ 37 w 263"/>
                    <a:gd name="T83" fmla="*/ 198 h 298"/>
                    <a:gd name="T84" fmla="*/ 50 w 263"/>
                    <a:gd name="T85" fmla="*/ 195 h 298"/>
                    <a:gd name="T86" fmla="*/ 55 w 263"/>
                    <a:gd name="T87" fmla="*/ 190 h 298"/>
                    <a:gd name="T88" fmla="*/ 60 w 263"/>
                    <a:gd name="T89" fmla="*/ 184 h 298"/>
                    <a:gd name="T90" fmla="*/ 76 w 263"/>
                    <a:gd name="T91" fmla="*/ 175 h 298"/>
                    <a:gd name="T92" fmla="*/ 95 w 263"/>
                    <a:gd name="T93" fmla="*/ 158 h 298"/>
                    <a:gd name="T94" fmla="*/ 116 w 263"/>
                    <a:gd name="T95" fmla="*/ 149 h 298"/>
                    <a:gd name="T96" fmla="*/ 112 w 263"/>
                    <a:gd name="T97" fmla="*/ 138 h 298"/>
                    <a:gd name="T98" fmla="*/ 102 w 263"/>
                    <a:gd name="T99" fmla="*/ 126 h 298"/>
                    <a:gd name="T100" fmla="*/ 85 w 263"/>
                    <a:gd name="T101" fmla="*/ 117 h 298"/>
                    <a:gd name="T102" fmla="*/ 76 w 263"/>
                    <a:gd name="T103" fmla="*/ 99 h 298"/>
                    <a:gd name="T104" fmla="*/ 71 w 263"/>
                    <a:gd name="T105" fmla="*/ 84 h 298"/>
                    <a:gd name="T106" fmla="*/ 73 w 263"/>
                    <a:gd name="T107" fmla="*/ 75 h 298"/>
                    <a:gd name="T108" fmla="*/ 65 w 263"/>
                    <a:gd name="T109" fmla="*/ 63 h 298"/>
                    <a:gd name="T110" fmla="*/ 66 w 263"/>
                    <a:gd name="T111" fmla="*/ 58 h 298"/>
                    <a:gd name="T112" fmla="*/ 52 w 263"/>
                    <a:gd name="T113" fmla="*/ 48 h 298"/>
                    <a:gd name="T114" fmla="*/ 20 w 263"/>
                    <a:gd name="T115" fmla="*/ 37 h 2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63" h="298">
                      <a:moveTo>
                        <a:pt x="0" y="29"/>
                      </a:moveTo>
                      <a:lnTo>
                        <a:pt x="3" y="27"/>
                      </a:lnTo>
                      <a:lnTo>
                        <a:pt x="6" y="27"/>
                      </a:lnTo>
                      <a:lnTo>
                        <a:pt x="9" y="27"/>
                      </a:lnTo>
                      <a:lnTo>
                        <a:pt x="11" y="27"/>
                      </a:lnTo>
                      <a:lnTo>
                        <a:pt x="9" y="25"/>
                      </a:lnTo>
                      <a:lnTo>
                        <a:pt x="12" y="24"/>
                      </a:lnTo>
                      <a:lnTo>
                        <a:pt x="16" y="23"/>
                      </a:lnTo>
                      <a:lnTo>
                        <a:pt x="23" y="24"/>
                      </a:lnTo>
                      <a:lnTo>
                        <a:pt x="31" y="29"/>
                      </a:lnTo>
                      <a:lnTo>
                        <a:pt x="36" y="34"/>
                      </a:lnTo>
                      <a:lnTo>
                        <a:pt x="41" y="37"/>
                      </a:lnTo>
                      <a:lnTo>
                        <a:pt x="47" y="40"/>
                      </a:lnTo>
                      <a:lnTo>
                        <a:pt x="53" y="41"/>
                      </a:lnTo>
                      <a:lnTo>
                        <a:pt x="59" y="40"/>
                      </a:lnTo>
                      <a:lnTo>
                        <a:pt x="64" y="39"/>
                      </a:lnTo>
                      <a:lnTo>
                        <a:pt x="69" y="36"/>
                      </a:lnTo>
                      <a:lnTo>
                        <a:pt x="73" y="35"/>
                      </a:lnTo>
                      <a:lnTo>
                        <a:pt x="76" y="36"/>
                      </a:lnTo>
                      <a:lnTo>
                        <a:pt x="81" y="37"/>
                      </a:lnTo>
                      <a:lnTo>
                        <a:pt x="84" y="37"/>
                      </a:lnTo>
                      <a:lnTo>
                        <a:pt x="86" y="39"/>
                      </a:lnTo>
                      <a:lnTo>
                        <a:pt x="89" y="40"/>
                      </a:lnTo>
                      <a:lnTo>
                        <a:pt x="91" y="41"/>
                      </a:lnTo>
                      <a:lnTo>
                        <a:pt x="94" y="41"/>
                      </a:lnTo>
                      <a:lnTo>
                        <a:pt x="96" y="40"/>
                      </a:lnTo>
                      <a:lnTo>
                        <a:pt x="98" y="37"/>
                      </a:lnTo>
                      <a:lnTo>
                        <a:pt x="101" y="34"/>
                      </a:lnTo>
                      <a:lnTo>
                        <a:pt x="105" y="32"/>
                      </a:lnTo>
                      <a:lnTo>
                        <a:pt x="108" y="32"/>
                      </a:lnTo>
                      <a:lnTo>
                        <a:pt x="108" y="29"/>
                      </a:lnTo>
                      <a:lnTo>
                        <a:pt x="110" y="20"/>
                      </a:lnTo>
                      <a:lnTo>
                        <a:pt x="112" y="12"/>
                      </a:lnTo>
                      <a:lnTo>
                        <a:pt x="118" y="5"/>
                      </a:lnTo>
                      <a:lnTo>
                        <a:pt x="123" y="4"/>
                      </a:lnTo>
                      <a:lnTo>
                        <a:pt x="128" y="4"/>
                      </a:lnTo>
                      <a:lnTo>
                        <a:pt x="132" y="5"/>
                      </a:lnTo>
                      <a:lnTo>
                        <a:pt x="135" y="4"/>
                      </a:lnTo>
                      <a:lnTo>
                        <a:pt x="143" y="0"/>
                      </a:lnTo>
                      <a:lnTo>
                        <a:pt x="148" y="0"/>
                      </a:lnTo>
                      <a:lnTo>
                        <a:pt x="151" y="2"/>
                      </a:lnTo>
                      <a:lnTo>
                        <a:pt x="159" y="5"/>
                      </a:lnTo>
                      <a:lnTo>
                        <a:pt x="176" y="10"/>
                      </a:lnTo>
                      <a:lnTo>
                        <a:pt x="181" y="13"/>
                      </a:lnTo>
                      <a:lnTo>
                        <a:pt x="182" y="14"/>
                      </a:lnTo>
                      <a:lnTo>
                        <a:pt x="182" y="16"/>
                      </a:lnTo>
                      <a:lnTo>
                        <a:pt x="181" y="19"/>
                      </a:lnTo>
                      <a:lnTo>
                        <a:pt x="180" y="21"/>
                      </a:lnTo>
                      <a:lnTo>
                        <a:pt x="178" y="24"/>
                      </a:lnTo>
                      <a:lnTo>
                        <a:pt x="178" y="27"/>
                      </a:lnTo>
                      <a:lnTo>
                        <a:pt x="180" y="29"/>
                      </a:lnTo>
                      <a:lnTo>
                        <a:pt x="173" y="31"/>
                      </a:lnTo>
                      <a:lnTo>
                        <a:pt x="166" y="34"/>
                      </a:lnTo>
                      <a:lnTo>
                        <a:pt x="169" y="34"/>
                      </a:lnTo>
                      <a:lnTo>
                        <a:pt x="172" y="35"/>
                      </a:lnTo>
                      <a:lnTo>
                        <a:pt x="175" y="36"/>
                      </a:lnTo>
                      <a:lnTo>
                        <a:pt x="173" y="39"/>
                      </a:lnTo>
                      <a:lnTo>
                        <a:pt x="171" y="41"/>
                      </a:lnTo>
                      <a:lnTo>
                        <a:pt x="170" y="43"/>
                      </a:lnTo>
                      <a:lnTo>
                        <a:pt x="170" y="46"/>
                      </a:lnTo>
                      <a:lnTo>
                        <a:pt x="172" y="50"/>
                      </a:lnTo>
                      <a:lnTo>
                        <a:pt x="177" y="52"/>
                      </a:lnTo>
                      <a:lnTo>
                        <a:pt x="181" y="53"/>
                      </a:lnTo>
                      <a:lnTo>
                        <a:pt x="189" y="57"/>
                      </a:lnTo>
                      <a:lnTo>
                        <a:pt x="203" y="66"/>
                      </a:lnTo>
                      <a:lnTo>
                        <a:pt x="205" y="68"/>
                      </a:lnTo>
                      <a:lnTo>
                        <a:pt x="205" y="72"/>
                      </a:lnTo>
                      <a:lnTo>
                        <a:pt x="203" y="74"/>
                      </a:lnTo>
                      <a:lnTo>
                        <a:pt x="199" y="78"/>
                      </a:lnTo>
                      <a:lnTo>
                        <a:pt x="196" y="82"/>
                      </a:lnTo>
                      <a:lnTo>
                        <a:pt x="192" y="84"/>
                      </a:lnTo>
                      <a:lnTo>
                        <a:pt x="189" y="88"/>
                      </a:lnTo>
                      <a:lnTo>
                        <a:pt x="191" y="90"/>
                      </a:lnTo>
                      <a:lnTo>
                        <a:pt x="198" y="99"/>
                      </a:lnTo>
                      <a:lnTo>
                        <a:pt x="205" y="106"/>
                      </a:lnTo>
                      <a:lnTo>
                        <a:pt x="213" y="114"/>
                      </a:lnTo>
                      <a:lnTo>
                        <a:pt x="218" y="123"/>
                      </a:lnTo>
                      <a:lnTo>
                        <a:pt x="209" y="125"/>
                      </a:lnTo>
                      <a:lnTo>
                        <a:pt x="212" y="127"/>
                      </a:lnTo>
                      <a:lnTo>
                        <a:pt x="212" y="130"/>
                      </a:lnTo>
                      <a:lnTo>
                        <a:pt x="210" y="132"/>
                      </a:lnTo>
                      <a:lnTo>
                        <a:pt x="209" y="134"/>
                      </a:lnTo>
                      <a:lnTo>
                        <a:pt x="209" y="136"/>
                      </a:lnTo>
                      <a:lnTo>
                        <a:pt x="212" y="137"/>
                      </a:lnTo>
                      <a:lnTo>
                        <a:pt x="213" y="138"/>
                      </a:lnTo>
                      <a:lnTo>
                        <a:pt x="214" y="139"/>
                      </a:lnTo>
                      <a:lnTo>
                        <a:pt x="212" y="142"/>
                      </a:lnTo>
                      <a:lnTo>
                        <a:pt x="210" y="143"/>
                      </a:lnTo>
                      <a:lnTo>
                        <a:pt x="210" y="146"/>
                      </a:lnTo>
                      <a:lnTo>
                        <a:pt x="213" y="148"/>
                      </a:lnTo>
                      <a:lnTo>
                        <a:pt x="215" y="149"/>
                      </a:lnTo>
                      <a:lnTo>
                        <a:pt x="219" y="149"/>
                      </a:lnTo>
                      <a:lnTo>
                        <a:pt x="221" y="150"/>
                      </a:lnTo>
                      <a:lnTo>
                        <a:pt x="224" y="153"/>
                      </a:lnTo>
                      <a:lnTo>
                        <a:pt x="221" y="155"/>
                      </a:lnTo>
                      <a:lnTo>
                        <a:pt x="220" y="157"/>
                      </a:lnTo>
                      <a:lnTo>
                        <a:pt x="221" y="158"/>
                      </a:lnTo>
                      <a:lnTo>
                        <a:pt x="223" y="160"/>
                      </a:lnTo>
                      <a:lnTo>
                        <a:pt x="228" y="163"/>
                      </a:lnTo>
                      <a:lnTo>
                        <a:pt x="232" y="165"/>
                      </a:lnTo>
                      <a:lnTo>
                        <a:pt x="235" y="166"/>
                      </a:lnTo>
                      <a:lnTo>
                        <a:pt x="236" y="169"/>
                      </a:lnTo>
                      <a:lnTo>
                        <a:pt x="235" y="171"/>
                      </a:lnTo>
                      <a:lnTo>
                        <a:pt x="234" y="174"/>
                      </a:lnTo>
                      <a:lnTo>
                        <a:pt x="229" y="177"/>
                      </a:lnTo>
                      <a:lnTo>
                        <a:pt x="224" y="181"/>
                      </a:lnTo>
                      <a:lnTo>
                        <a:pt x="242" y="190"/>
                      </a:lnTo>
                      <a:lnTo>
                        <a:pt x="261" y="202"/>
                      </a:lnTo>
                      <a:lnTo>
                        <a:pt x="262" y="203"/>
                      </a:lnTo>
                      <a:lnTo>
                        <a:pt x="263" y="206"/>
                      </a:lnTo>
                      <a:lnTo>
                        <a:pt x="261" y="211"/>
                      </a:lnTo>
                      <a:lnTo>
                        <a:pt x="258" y="216"/>
                      </a:lnTo>
                      <a:lnTo>
                        <a:pt x="255" y="219"/>
                      </a:lnTo>
                      <a:lnTo>
                        <a:pt x="247" y="225"/>
                      </a:lnTo>
                      <a:lnTo>
                        <a:pt x="228" y="246"/>
                      </a:lnTo>
                      <a:lnTo>
                        <a:pt x="215" y="255"/>
                      </a:lnTo>
                      <a:lnTo>
                        <a:pt x="202" y="264"/>
                      </a:lnTo>
                      <a:lnTo>
                        <a:pt x="192" y="272"/>
                      </a:lnTo>
                      <a:lnTo>
                        <a:pt x="187" y="276"/>
                      </a:lnTo>
                      <a:lnTo>
                        <a:pt x="186" y="277"/>
                      </a:lnTo>
                      <a:lnTo>
                        <a:pt x="183" y="277"/>
                      </a:lnTo>
                      <a:lnTo>
                        <a:pt x="178" y="277"/>
                      </a:lnTo>
                      <a:lnTo>
                        <a:pt x="177" y="277"/>
                      </a:lnTo>
                      <a:lnTo>
                        <a:pt x="175" y="276"/>
                      </a:lnTo>
                      <a:lnTo>
                        <a:pt x="173" y="276"/>
                      </a:lnTo>
                      <a:lnTo>
                        <a:pt x="171" y="276"/>
                      </a:lnTo>
                      <a:lnTo>
                        <a:pt x="166" y="278"/>
                      </a:lnTo>
                      <a:lnTo>
                        <a:pt x="161" y="278"/>
                      </a:lnTo>
                      <a:lnTo>
                        <a:pt x="157" y="277"/>
                      </a:lnTo>
                      <a:lnTo>
                        <a:pt x="155" y="280"/>
                      </a:lnTo>
                      <a:lnTo>
                        <a:pt x="150" y="280"/>
                      </a:lnTo>
                      <a:lnTo>
                        <a:pt x="145" y="278"/>
                      </a:lnTo>
                      <a:lnTo>
                        <a:pt x="146" y="280"/>
                      </a:lnTo>
                      <a:lnTo>
                        <a:pt x="146" y="281"/>
                      </a:lnTo>
                      <a:lnTo>
                        <a:pt x="144" y="282"/>
                      </a:lnTo>
                      <a:lnTo>
                        <a:pt x="145" y="284"/>
                      </a:lnTo>
                      <a:lnTo>
                        <a:pt x="140" y="284"/>
                      </a:lnTo>
                      <a:lnTo>
                        <a:pt x="139" y="281"/>
                      </a:lnTo>
                      <a:lnTo>
                        <a:pt x="137" y="283"/>
                      </a:lnTo>
                      <a:lnTo>
                        <a:pt x="132" y="284"/>
                      </a:lnTo>
                      <a:lnTo>
                        <a:pt x="128" y="286"/>
                      </a:lnTo>
                      <a:lnTo>
                        <a:pt x="123" y="286"/>
                      </a:lnTo>
                      <a:lnTo>
                        <a:pt x="117" y="288"/>
                      </a:lnTo>
                      <a:lnTo>
                        <a:pt x="114" y="291"/>
                      </a:lnTo>
                      <a:lnTo>
                        <a:pt x="112" y="292"/>
                      </a:lnTo>
                      <a:lnTo>
                        <a:pt x="111" y="292"/>
                      </a:lnTo>
                      <a:lnTo>
                        <a:pt x="108" y="292"/>
                      </a:lnTo>
                      <a:lnTo>
                        <a:pt x="107" y="291"/>
                      </a:lnTo>
                      <a:lnTo>
                        <a:pt x="105" y="291"/>
                      </a:lnTo>
                      <a:lnTo>
                        <a:pt x="96" y="293"/>
                      </a:lnTo>
                      <a:lnTo>
                        <a:pt x="91" y="294"/>
                      </a:lnTo>
                      <a:lnTo>
                        <a:pt x="86" y="294"/>
                      </a:lnTo>
                      <a:lnTo>
                        <a:pt x="90" y="292"/>
                      </a:lnTo>
                      <a:lnTo>
                        <a:pt x="84" y="295"/>
                      </a:lnTo>
                      <a:lnTo>
                        <a:pt x="80" y="297"/>
                      </a:lnTo>
                      <a:lnTo>
                        <a:pt x="76" y="298"/>
                      </a:lnTo>
                      <a:lnTo>
                        <a:pt x="80" y="295"/>
                      </a:lnTo>
                      <a:lnTo>
                        <a:pt x="82" y="294"/>
                      </a:lnTo>
                      <a:lnTo>
                        <a:pt x="82" y="292"/>
                      </a:lnTo>
                      <a:lnTo>
                        <a:pt x="81" y="292"/>
                      </a:lnTo>
                      <a:lnTo>
                        <a:pt x="81" y="292"/>
                      </a:lnTo>
                      <a:lnTo>
                        <a:pt x="81" y="292"/>
                      </a:lnTo>
                      <a:lnTo>
                        <a:pt x="84" y="291"/>
                      </a:lnTo>
                      <a:lnTo>
                        <a:pt x="80" y="291"/>
                      </a:lnTo>
                      <a:lnTo>
                        <a:pt x="78" y="288"/>
                      </a:lnTo>
                      <a:lnTo>
                        <a:pt x="76" y="287"/>
                      </a:lnTo>
                      <a:lnTo>
                        <a:pt x="76" y="284"/>
                      </a:lnTo>
                      <a:lnTo>
                        <a:pt x="80" y="281"/>
                      </a:lnTo>
                      <a:lnTo>
                        <a:pt x="78" y="282"/>
                      </a:lnTo>
                      <a:lnTo>
                        <a:pt x="76" y="282"/>
                      </a:lnTo>
                      <a:lnTo>
                        <a:pt x="70" y="283"/>
                      </a:lnTo>
                      <a:lnTo>
                        <a:pt x="66" y="283"/>
                      </a:lnTo>
                      <a:lnTo>
                        <a:pt x="65" y="282"/>
                      </a:lnTo>
                      <a:lnTo>
                        <a:pt x="66" y="281"/>
                      </a:lnTo>
                      <a:lnTo>
                        <a:pt x="59" y="280"/>
                      </a:lnTo>
                      <a:lnTo>
                        <a:pt x="52" y="276"/>
                      </a:lnTo>
                      <a:lnTo>
                        <a:pt x="50" y="275"/>
                      </a:lnTo>
                      <a:lnTo>
                        <a:pt x="48" y="273"/>
                      </a:lnTo>
                      <a:lnTo>
                        <a:pt x="46" y="273"/>
                      </a:lnTo>
                      <a:lnTo>
                        <a:pt x="46" y="276"/>
                      </a:lnTo>
                      <a:lnTo>
                        <a:pt x="42" y="275"/>
                      </a:lnTo>
                      <a:lnTo>
                        <a:pt x="41" y="273"/>
                      </a:lnTo>
                      <a:lnTo>
                        <a:pt x="41" y="272"/>
                      </a:lnTo>
                      <a:lnTo>
                        <a:pt x="41" y="270"/>
                      </a:lnTo>
                      <a:lnTo>
                        <a:pt x="39" y="266"/>
                      </a:lnTo>
                      <a:lnTo>
                        <a:pt x="38" y="262"/>
                      </a:lnTo>
                      <a:lnTo>
                        <a:pt x="37" y="260"/>
                      </a:lnTo>
                      <a:lnTo>
                        <a:pt x="39" y="259"/>
                      </a:lnTo>
                      <a:lnTo>
                        <a:pt x="41" y="256"/>
                      </a:lnTo>
                      <a:lnTo>
                        <a:pt x="41" y="251"/>
                      </a:lnTo>
                      <a:lnTo>
                        <a:pt x="41" y="246"/>
                      </a:lnTo>
                      <a:lnTo>
                        <a:pt x="42" y="245"/>
                      </a:lnTo>
                      <a:lnTo>
                        <a:pt x="44" y="246"/>
                      </a:lnTo>
                      <a:lnTo>
                        <a:pt x="41" y="243"/>
                      </a:lnTo>
                      <a:lnTo>
                        <a:pt x="38" y="239"/>
                      </a:lnTo>
                      <a:lnTo>
                        <a:pt x="36" y="235"/>
                      </a:lnTo>
                      <a:lnTo>
                        <a:pt x="33" y="232"/>
                      </a:lnTo>
                      <a:lnTo>
                        <a:pt x="33" y="229"/>
                      </a:lnTo>
                      <a:lnTo>
                        <a:pt x="34" y="227"/>
                      </a:lnTo>
                      <a:lnTo>
                        <a:pt x="34" y="224"/>
                      </a:lnTo>
                      <a:lnTo>
                        <a:pt x="33" y="221"/>
                      </a:lnTo>
                      <a:lnTo>
                        <a:pt x="31" y="217"/>
                      </a:lnTo>
                      <a:lnTo>
                        <a:pt x="28" y="214"/>
                      </a:lnTo>
                      <a:lnTo>
                        <a:pt x="27" y="213"/>
                      </a:lnTo>
                      <a:lnTo>
                        <a:pt x="30" y="211"/>
                      </a:lnTo>
                      <a:lnTo>
                        <a:pt x="32" y="206"/>
                      </a:lnTo>
                      <a:lnTo>
                        <a:pt x="36" y="202"/>
                      </a:lnTo>
                      <a:lnTo>
                        <a:pt x="37" y="201"/>
                      </a:lnTo>
                      <a:lnTo>
                        <a:pt x="39" y="201"/>
                      </a:lnTo>
                      <a:lnTo>
                        <a:pt x="37" y="198"/>
                      </a:lnTo>
                      <a:lnTo>
                        <a:pt x="36" y="196"/>
                      </a:lnTo>
                      <a:lnTo>
                        <a:pt x="37" y="193"/>
                      </a:lnTo>
                      <a:lnTo>
                        <a:pt x="41" y="196"/>
                      </a:lnTo>
                      <a:lnTo>
                        <a:pt x="46" y="196"/>
                      </a:lnTo>
                      <a:lnTo>
                        <a:pt x="50" y="195"/>
                      </a:lnTo>
                      <a:lnTo>
                        <a:pt x="55" y="193"/>
                      </a:lnTo>
                      <a:lnTo>
                        <a:pt x="54" y="191"/>
                      </a:lnTo>
                      <a:lnTo>
                        <a:pt x="53" y="190"/>
                      </a:lnTo>
                      <a:lnTo>
                        <a:pt x="53" y="189"/>
                      </a:lnTo>
                      <a:lnTo>
                        <a:pt x="55" y="190"/>
                      </a:lnTo>
                      <a:lnTo>
                        <a:pt x="53" y="187"/>
                      </a:lnTo>
                      <a:lnTo>
                        <a:pt x="54" y="187"/>
                      </a:lnTo>
                      <a:lnTo>
                        <a:pt x="55" y="187"/>
                      </a:lnTo>
                      <a:lnTo>
                        <a:pt x="58" y="186"/>
                      </a:lnTo>
                      <a:lnTo>
                        <a:pt x="60" y="184"/>
                      </a:lnTo>
                      <a:lnTo>
                        <a:pt x="64" y="184"/>
                      </a:lnTo>
                      <a:lnTo>
                        <a:pt x="65" y="180"/>
                      </a:lnTo>
                      <a:lnTo>
                        <a:pt x="69" y="177"/>
                      </a:lnTo>
                      <a:lnTo>
                        <a:pt x="73" y="176"/>
                      </a:lnTo>
                      <a:lnTo>
                        <a:pt x="76" y="175"/>
                      </a:lnTo>
                      <a:lnTo>
                        <a:pt x="75" y="173"/>
                      </a:lnTo>
                      <a:lnTo>
                        <a:pt x="80" y="171"/>
                      </a:lnTo>
                      <a:lnTo>
                        <a:pt x="82" y="168"/>
                      </a:lnTo>
                      <a:lnTo>
                        <a:pt x="89" y="163"/>
                      </a:lnTo>
                      <a:lnTo>
                        <a:pt x="95" y="158"/>
                      </a:lnTo>
                      <a:lnTo>
                        <a:pt x="98" y="153"/>
                      </a:lnTo>
                      <a:lnTo>
                        <a:pt x="102" y="149"/>
                      </a:lnTo>
                      <a:lnTo>
                        <a:pt x="105" y="147"/>
                      </a:lnTo>
                      <a:lnTo>
                        <a:pt x="108" y="147"/>
                      </a:lnTo>
                      <a:lnTo>
                        <a:pt x="116" y="149"/>
                      </a:lnTo>
                      <a:lnTo>
                        <a:pt x="114" y="147"/>
                      </a:lnTo>
                      <a:lnTo>
                        <a:pt x="118" y="144"/>
                      </a:lnTo>
                      <a:lnTo>
                        <a:pt x="114" y="142"/>
                      </a:lnTo>
                      <a:lnTo>
                        <a:pt x="113" y="139"/>
                      </a:lnTo>
                      <a:lnTo>
                        <a:pt x="112" y="138"/>
                      </a:lnTo>
                      <a:lnTo>
                        <a:pt x="113" y="134"/>
                      </a:lnTo>
                      <a:lnTo>
                        <a:pt x="113" y="132"/>
                      </a:lnTo>
                      <a:lnTo>
                        <a:pt x="112" y="130"/>
                      </a:lnTo>
                      <a:lnTo>
                        <a:pt x="108" y="128"/>
                      </a:lnTo>
                      <a:lnTo>
                        <a:pt x="102" y="126"/>
                      </a:lnTo>
                      <a:lnTo>
                        <a:pt x="97" y="125"/>
                      </a:lnTo>
                      <a:lnTo>
                        <a:pt x="95" y="121"/>
                      </a:lnTo>
                      <a:lnTo>
                        <a:pt x="92" y="122"/>
                      </a:lnTo>
                      <a:lnTo>
                        <a:pt x="90" y="122"/>
                      </a:lnTo>
                      <a:lnTo>
                        <a:pt x="85" y="117"/>
                      </a:lnTo>
                      <a:lnTo>
                        <a:pt x="80" y="112"/>
                      </a:lnTo>
                      <a:lnTo>
                        <a:pt x="75" y="109"/>
                      </a:lnTo>
                      <a:lnTo>
                        <a:pt x="74" y="106"/>
                      </a:lnTo>
                      <a:lnTo>
                        <a:pt x="74" y="104"/>
                      </a:lnTo>
                      <a:lnTo>
                        <a:pt x="76" y="99"/>
                      </a:lnTo>
                      <a:lnTo>
                        <a:pt x="78" y="93"/>
                      </a:lnTo>
                      <a:lnTo>
                        <a:pt x="78" y="90"/>
                      </a:lnTo>
                      <a:lnTo>
                        <a:pt x="75" y="88"/>
                      </a:lnTo>
                      <a:lnTo>
                        <a:pt x="74" y="87"/>
                      </a:lnTo>
                      <a:lnTo>
                        <a:pt x="71" y="84"/>
                      </a:lnTo>
                      <a:lnTo>
                        <a:pt x="70" y="82"/>
                      </a:lnTo>
                      <a:lnTo>
                        <a:pt x="70" y="80"/>
                      </a:lnTo>
                      <a:lnTo>
                        <a:pt x="70" y="79"/>
                      </a:lnTo>
                      <a:lnTo>
                        <a:pt x="73" y="77"/>
                      </a:lnTo>
                      <a:lnTo>
                        <a:pt x="73" y="75"/>
                      </a:lnTo>
                      <a:lnTo>
                        <a:pt x="71" y="74"/>
                      </a:lnTo>
                      <a:lnTo>
                        <a:pt x="66" y="73"/>
                      </a:lnTo>
                      <a:lnTo>
                        <a:pt x="66" y="72"/>
                      </a:lnTo>
                      <a:lnTo>
                        <a:pt x="65" y="68"/>
                      </a:lnTo>
                      <a:lnTo>
                        <a:pt x="65" y="63"/>
                      </a:lnTo>
                      <a:lnTo>
                        <a:pt x="65" y="62"/>
                      </a:lnTo>
                      <a:lnTo>
                        <a:pt x="66" y="62"/>
                      </a:lnTo>
                      <a:lnTo>
                        <a:pt x="68" y="61"/>
                      </a:lnTo>
                      <a:lnTo>
                        <a:pt x="68" y="61"/>
                      </a:lnTo>
                      <a:lnTo>
                        <a:pt x="66" y="58"/>
                      </a:lnTo>
                      <a:lnTo>
                        <a:pt x="64" y="57"/>
                      </a:lnTo>
                      <a:lnTo>
                        <a:pt x="60" y="55"/>
                      </a:lnTo>
                      <a:lnTo>
                        <a:pt x="58" y="53"/>
                      </a:lnTo>
                      <a:lnTo>
                        <a:pt x="55" y="51"/>
                      </a:lnTo>
                      <a:lnTo>
                        <a:pt x="52" y="48"/>
                      </a:lnTo>
                      <a:lnTo>
                        <a:pt x="48" y="47"/>
                      </a:lnTo>
                      <a:lnTo>
                        <a:pt x="43" y="46"/>
                      </a:lnTo>
                      <a:lnTo>
                        <a:pt x="34" y="43"/>
                      </a:lnTo>
                      <a:lnTo>
                        <a:pt x="26" y="41"/>
                      </a:lnTo>
                      <a:lnTo>
                        <a:pt x="20" y="37"/>
                      </a:lnTo>
                      <a:lnTo>
                        <a:pt x="14" y="34"/>
                      </a:lnTo>
                      <a:lnTo>
                        <a:pt x="7" y="31"/>
                      </a:lnTo>
                      <a:lnTo>
                        <a:pt x="0" y="29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3" name="Freeform 705">
                  <a:extLst>
                    <a:ext uri="{FF2B5EF4-FFF2-40B4-BE49-F238E27FC236}">
                      <a16:creationId xmlns:a16="http://schemas.microsoft.com/office/drawing/2014/main" id="{7FA29A83-B32A-448E-944A-1DD3264417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1253" y="5421204"/>
                  <a:ext cx="6716" cy="5304"/>
                </a:xfrm>
                <a:custGeom>
                  <a:avLst/>
                  <a:gdLst>
                    <a:gd name="T0" fmla="*/ 3 w 6"/>
                    <a:gd name="T1" fmla="*/ 2 h 2"/>
                    <a:gd name="T2" fmla="*/ 1 w 6"/>
                    <a:gd name="T3" fmla="*/ 1 h 2"/>
                    <a:gd name="T4" fmla="*/ 0 w 6"/>
                    <a:gd name="T5" fmla="*/ 1 h 2"/>
                    <a:gd name="T6" fmla="*/ 3 w 6"/>
                    <a:gd name="T7" fmla="*/ 0 h 2"/>
                    <a:gd name="T8" fmla="*/ 6 w 6"/>
                    <a:gd name="T9" fmla="*/ 1 h 2"/>
                    <a:gd name="T10" fmla="*/ 3 w 6"/>
                    <a:gd name="T1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2">
                      <a:moveTo>
                        <a:pt x="3" y="2"/>
                      </a:move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3" y="0"/>
                      </a:lnTo>
                      <a:lnTo>
                        <a:pt x="6" y="1"/>
                      </a:lnTo>
                      <a:lnTo>
                        <a:pt x="3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4" name="Freeform 706">
                  <a:extLst>
                    <a:ext uri="{FF2B5EF4-FFF2-40B4-BE49-F238E27FC236}">
                      <a16:creationId xmlns:a16="http://schemas.microsoft.com/office/drawing/2014/main" id="{29DBD090-468D-48B8-BB5F-D81BAE835C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7967" y="5418551"/>
                  <a:ext cx="2240" cy="2653"/>
                </a:xfrm>
                <a:custGeom>
                  <a:avLst/>
                  <a:gdLst>
                    <a:gd name="T0" fmla="*/ 0 w 1"/>
                    <a:gd name="T1" fmla="*/ 1 h 1"/>
                    <a:gd name="T2" fmla="*/ 1 w 1"/>
                    <a:gd name="T3" fmla="*/ 0 h 1"/>
                    <a:gd name="T4" fmla="*/ 0 w 1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" h="1">
                      <a:moveTo>
                        <a:pt x="0" y="1"/>
                      </a:moveTo>
                      <a:lnTo>
                        <a:pt x="1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5" name="Freeform 707">
                  <a:extLst>
                    <a:ext uri="{FF2B5EF4-FFF2-40B4-BE49-F238E27FC236}">
                      <a16:creationId xmlns:a16="http://schemas.microsoft.com/office/drawing/2014/main" id="{D9309F26-09DA-4259-841A-EFC9D83660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58056" y="6394514"/>
                  <a:ext cx="194752" cy="217471"/>
                </a:xfrm>
                <a:custGeom>
                  <a:avLst/>
                  <a:gdLst>
                    <a:gd name="T0" fmla="*/ 5 w 174"/>
                    <a:gd name="T1" fmla="*/ 127 h 163"/>
                    <a:gd name="T2" fmla="*/ 10 w 174"/>
                    <a:gd name="T3" fmla="*/ 120 h 163"/>
                    <a:gd name="T4" fmla="*/ 16 w 174"/>
                    <a:gd name="T5" fmla="*/ 114 h 163"/>
                    <a:gd name="T6" fmla="*/ 20 w 174"/>
                    <a:gd name="T7" fmla="*/ 108 h 163"/>
                    <a:gd name="T8" fmla="*/ 25 w 174"/>
                    <a:gd name="T9" fmla="*/ 99 h 163"/>
                    <a:gd name="T10" fmla="*/ 18 w 174"/>
                    <a:gd name="T11" fmla="*/ 92 h 163"/>
                    <a:gd name="T12" fmla="*/ 18 w 174"/>
                    <a:gd name="T13" fmla="*/ 87 h 163"/>
                    <a:gd name="T14" fmla="*/ 9 w 174"/>
                    <a:gd name="T15" fmla="*/ 87 h 163"/>
                    <a:gd name="T16" fmla="*/ 4 w 174"/>
                    <a:gd name="T17" fmla="*/ 79 h 163"/>
                    <a:gd name="T18" fmla="*/ 4 w 174"/>
                    <a:gd name="T19" fmla="*/ 64 h 163"/>
                    <a:gd name="T20" fmla="*/ 0 w 174"/>
                    <a:gd name="T21" fmla="*/ 54 h 163"/>
                    <a:gd name="T22" fmla="*/ 2 w 174"/>
                    <a:gd name="T23" fmla="*/ 45 h 163"/>
                    <a:gd name="T24" fmla="*/ 8 w 174"/>
                    <a:gd name="T25" fmla="*/ 48 h 163"/>
                    <a:gd name="T26" fmla="*/ 11 w 174"/>
                    <a:gd name="T27" fmla="*/ 44 h 163"/>
                    <a:gd name="T28" fmla="*/ 14 w 174"/>
                    <a:gd name="T29" fmla="*/ 34 h 163"/>
                    <a:gd name="T30" fmla="*/ 20 w 174"/>
                    <a:gd name="T31" fmla="*/ 32 h 163"/>
                    <a:gd name="T32" fmla="*/ 18 w 174"/>
                    <a:gd name="T33" fmla="*/ 23 h 163"/>
                    <a:gd name="T34" fmla="*/ 19 w 174"/>
                    <a:gd name="T35" fmla="*/ 17 h 163"/>
                    <a:gd name="T36" fmla="*/ 26 w 174"/>
                    <a:gd name="T37" fmla="*/ 16 h 163"/>
                    <a:gd name="T38" fmla="*/ 32 w 174"/>
                    <a:gd name="T39" fmla="*/ 21 h 163"/>
                    <a:gd name="T40" fmla="*/ 50 w 174"/>
                    <a:gd name="T41" fmla="*/ 18 h 163"/>
                    <a:gd name="T42" fmla="*/ 66 w 174"/>
                    <a:gd name="T43" fmla="*/ 13 h 163"/>
                    <a:gd name="T44" fmla="*/ 80 w 174"/>
                    <a:gd name="T45" fmla="*/ 20 h 163"/>
                    <a:gd name="T46" fmla="*/ 94 w 174"/>
                    <a:gd name="T47" fmla="*/ 20 h 163"/>
                    <a:gd name="T48" fmla="*/ 125 w 174"/>
                    <a:gd name="T49" fmla="*/ 7 h 163"/>
                    <a:gd name="T50" fmla="*/ 150 w 174"/>
                    <a:gd name="T51" fmla="*/ 6 h 163"/>
                    <a:gd name="T52" fmla="*/ 168 w 174"/>
                    <a:gd name="T53" fmla="*/ 0 h 163"/>
                    <a:gd name="T54" fmla="*/ 173 w 174"/>
                    <a:gd name="T55" fmla="*/ 4 h 163"/>
                    <a:gd name="T56" fmla="*/ 170 w 174"/>
                    <a:gd name="T57" fmla="*/ 13 h 163"/>
                    <a:gd name="T58" fmla="*/ 160 w 174"/>
                    <a:gd name="T59" fmla="*/ 22 h 163"/>
                    <a:gd name="T60" fmla="*/ 148 w 174"/>
                    <a:gd name="T61" fmla="*/ 28 h 163"/>
                    <a:gd name="T62" fmla="*/ 150 w 174"/>
                    <a:gd name="T63" fmla="*/ 44 h 163"/>
                    <a:gd name="T64" fmla="*/ 149 w 174"/>
                    <a:gd name="T65" fmla="*/ 64 h 163"/>
                    <a:gd name="T66" fmla="*/ 149 w 174"/>
                    <a:gd name="T67" fmla="*/ 81 h 163"/>
                    <a:gd name="T68" fmla="*/ 147 w 174"/>
                    <a:gd name="T69" fmla="*/ 92 h 163"/>
                    <a:gd name="T70" fmla="*/ 115 w 174"/>
                    <a:gd name="T71" fmla="*/ 115 h 163"/>
                    <a:gd name="T72" fmla="*/ 70 w 174"/>
                    <a:gd name="T73" fmla="*/ 141 h 163"/>
                    <a:gd name="T74" fmla="*/ 42 w 174"/>
                    <a:gd name="T75" fmla="*/ 160 h 163"/>
                    <a:gd name="T76" fmla="*/ 29 w 174"/>
                    <a:gd name="T77" fmla="*/ 163 h 163"/>
                    <a:gd name="T78" fmla="*/ 14 w 174"/>
                    <a:gd name="T79" fmla="*/ 154 h 163"/>
                    <a:gd name="T80" fmla="*/ 4 w 174"/>
                    <a:gd name="T81" fmla="*/ 152 h 163"/>
                    <a:gd name="T82" fmla="*/ 3 w 174"/>
                    <a:gd name="T83" fmla="*/ 149 h 163"/>
                    <a:gd name="T84" fmla="*/ 2 w 174"/>
                    <a:gd name="T85" fmla="*/ 134 h 1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74" h="163">
                      <a:moveTo>
                        <a:pt x="0" y="133"/>
                      </a:moveTo>
                      <a:lnTo>
                        <a:pt x="3" y="130"/>
                      </a:lnTo>
                      <a:lnTo>
                        <a:pt x="5" y="127"/>
                      </a:lnTo>
                      <a:lnTo>
                        <a:pt x="9" y="124"/>
                      </a:lnTo>
                      <a:lnTo>
                        <a:pt x="13" y="122"/>
                      </a:lnTo>
                      <a:lnTo>
                        <a:pt x="10" y="120"/>
                      </a:lnTo>
                      <a:lnTo>
                        <a:pt x="10" y="118"/>
                      </a:lnTo>
                      <a:lnTo>
                        <a:pt x="11" y="115"/>
                      </a:lnTo>
                      <a:lnTo>
                        <a:pt x="16" y="114"/>
                      </a:lnTo>
                      <a:lnTo>
                        <a:pt x="20" y="114"/>
                      </a:lnTo>
                      <a:lnTo>
                        <a:pt x="19" y="111"/>
                      </a:lnTo>
                      <a:lnTo>
                        <a:pt x="20" y="108"/>
                      </a:lnTo>
                      <a:lnTo>
                        <a:pt x="22" y="106"/>
                      </a:lnTo>
                      <a:lnTo>
                        <a:pt x="25" y="102"/>
                      </a:lnTo>
                      <a:lnTo>
                        <a:pt x="25" y="99"/>
                      </a:lnTo>
                      <a:lnTo>
                        <a:pt x="22" y="96"/>
                      </a:lnTo>
                      <a:lnTo>
                        <a:pt x="20" y="93"/>
                      </a:lnTo>
                      <a:lnTo>
                        <a:pt x="18" y="92"/>
                      </a:lnTo>
                      <a:lnTo>
                        <a:pt x="16" y="91"/>
                      </a:lnTo>
                      <a:lnTo>
                        <a:pt x="18" y="88"/>
                      </a:lnTo>
                      <a:lnTo>
                        <a:pt x="18" y="87"/>
                      </a:lnTo>
                      <a:lnTo>
                        <a:pt x="18" y="87"/>
                      </a:lnTo>
                      <a:lnTo>
                        <a:pt x="15" y="87"/>
                      </a:lnTo>
                      <a:lnTo>
                        <a:pt x="9" y="87"/>
                      </a:lnTo>
                      <a:lnTo>
                        <a:pt x="5" y="86"/>
                      </a:lnTo>
                      <a:lnTo>
                        <a:pt x="4" y="82"/>
                      </a:lnTo>
                      <a:lnTo>
                        <a:pt x="4" y="79"/>
                      </a:lnTo>
                      <a:lnTo>
                        <a:pt x="4" y="74"/>
                      </a:lnTo>
                      <a:lnTo>
                        <a:pt x="4" y="69"/>
                      </a:lnTo>
                      <a:lnTo>
                        <a:pt x="4" y="64"/>
                      </a:lnTo>
                      <a:lnTo>
                        <a:pt x="2" y="60"/>
                      </a:lnTo>
                      <a:lnTo>
                        <a:pt x="0" y="58"/>
                      </a:lnTo>
                      <a:lnTo>
                        <a:pt x="0" y="54"/>
                      </a:lnTo>
                      <a:lnTo>
                        <a:pt x="0" y="49"/>
                      </a:lnTo>
                      <a:lnTo>
                        <a:pt x="2" y="45"/>
                      </a:lnTo>
                      <a:lnTo>
                        <a:pt x="2" y="45"/>
                      </a:lnTo>
                      <a:lnTo>
                        <a:pt x="4" y="45"/>
                      </a:lnTo>
                      <a:lnTo>
                        <a:pt x="7" y="48"/>
                      </a:lnTo>
                      <a:lnTo>
                        <a:pt x="8" y="48"/>
                      </a:lnTo>
                      <a:lnTo>
                        <a:pt x="8" y="48"/>
                      </a:lnTo>
                      <a:lnTo>
                        <a:pt x="9" y="47"/>
                      </a:lnTo>
                      <a:lnTo>
                        <a:pt x="11" y="44"/>
                      </a:lnTo>
                      <a:lnTo>
                        <a:pt x="14" y="42"/>
                      </a:lnTo>
                      <a:lnTo>
                        <a:pt x="14" y="40"/>
                      </a:lnTo>
                      <a:lnTo>
                        <a:pt x="14" y="34"/>
                      </a:lnTo>
                      <a:lnTo>
                        <a:pt x="18" y="36"/>
                      </a:lnTo>
                      <a:lnTo>
                        <a:pt x="21" y="34"/>
                      </a:lnTo>
                      <a:lnTo>
                        <a:pt x="20" y="32"/>
                      </a:lnTo>
                      <a:lnTo>
                        <a:pt x="19" y="29"/>
                      </a:lnTo>
                      <a:lnTo>
                        <a:pt x="19" y="27"/>
                      </a:lnTo>
                      <a:lnTo>
                        <a:pt x="18" y="23"/>
                      </a:lnTo>
                      <a:lnTo>
                        <a:pt x="18" y="22"/>
                      </a:lnTo>
                      <a:lnTo>
                        <a:pt x="18" y="20"/>
                      </a:lnTo>
                      <a:lnTo>
                        <a:pt x="19" y="17"/>
                      </a:lnTo>
                      <a:lnTo>
                        <a:pt x="20" y="16"/>
                      </a:lnTo>
                      <a:lnTo>
                        <a:pt x="24" y="16"/>
                      </a:lnTo>
                      <a:lnTo>
                        <a:pt x="26" y="16"/>
                      </a:lnTo>
                      <a:lnTo>
                        <a:pt x="29" y="18"/>
                      </a:lnTo>
                      <a:lnTo>
                        <a:pt x="31" y="20"/>
                      </a:lnTo>
                      <a:lnTo>
                        <a:pt x="32" y="21"/>
                      </a:lnTo>
                      <a:lnTo>
                        <a:pt x="36" y="22"/>
                      </a:lnTo>
                      <a:lnTo>
                        <a:pt x="43" y="21"/>
                      </a:lnTo>
                      <a:lnTo>
                        <a:pt x="50" y="18"/>
                      </a:lnTo>
                      <a:lnTo>
                        <a:pt x="57" y="15"/>
                      </a:lnTo>
                      <a:lnTo>
                        <a:pt x="61" y="13"/>
                      </a:lnTo>
                      <a:lnTo>
                        <a:pt x="66" y="13"/>
                      </a:lnTo>
                      <a:lnTo>
                        <a:pt x="72" y="16"/>
                      </a:lnTo>
                      <a:lnTo>
                        <a:pt x="77" y="18"/>
                      </a:lnTo>
                      <a:lnTo>
                        <a:pt x="80" y="20"/>
                      </a:lnTo>
                      <a:lnTo>
                        <a:pt x="85" y="20"/>
                      </a:lnTo>
                      <a:lnTo>
                        <a:pt x="90" y="20"/>
                      </a:lnTo>
                      <a:lnTo>
                        <a:pt x="94" y="20"/>
                      </a:lnTo>
                      <a:lnTo>
                        <a:pt x="102" y="18"/>
                      </a:lnTo>
                      <a:lnTo>
                        <a:pt x="110" y="15"/>
                      </a:lnTo>
                      <a:lnTo>
                        <a:pt x="125" y="7"/>
                      </a:lnTo>
                      <a:lnTo>
                        <a:pt x="133" y="6"/>
                      </a:lnTo>
                      <a:lnTo>
                        <a:pt x="142" y="6"/>
                      </a:lnTo>
                      <a:lnTo>
                        <a:pt x="150" y="6"/>
                      </a:lnTo>
                      <a:lnTo>
                        <a:pt x="159" y="5"/>
                      </a:lnTo>
                      <a:lnTo>
                        <a:pt x="163" y="2"/>
                      </a:lnTo>
                      <a:lnTo>
                        <a:pt x="168" y="0"/>
                      </a:lnTo>
                      <a:lnTo>
                        <a:pt x="170" y="0"/>
                      </a:lnTo>
                      <a:lnTo>
                        <a:pt x="171" y="1"/>
                      </a:lnTo>
                      <a:lnTo>
                        <a:pt x="173" y="4"/>
                      </a:lnTo>
                      <a:lnTo>
                        <a:pt x="174" y="7"/>
                      </a:lnTo>
                      <a:lnTo>
                        <a:pt x="173" y="10"/>
                      </a:lnTo>
                      <a:lnTo>
                        <a:pt x="170" y="13"/>
                      </a:lnTo>
                      <a:lnTo>
                        <a:pt x="166" y="17"/>
                      </a:lnTo>
                      <a:lnTo>
                        <a:pt x="164" y="20"/>
                      </a:lnTo>
                      <a:lnTo>
                        <a:pt x="160" y="22"/>
                      </a:lnTo>
                      <a:lnTo>
                        <a:pt x="158" y="23"/>
                      </a:lnTo>
                      <a:lnTo>
                        <a:pt x="150" y="26"/>
                      </a:lnTo>
                      <a:lnTo>
                        <a:pt x="148" y="28"/>
                      </a:lnTo>
                      <a:lnTo>
                        <a:pt x="147" y="31"/>
                      </a:lnTo>
                      <a:lnTo>
                        <a:pt x="147" y="38"/>
                      </a:lnTo>
                      <a:lnTo>
                        <a:pt x="150" y="44"/>
                      </a:lnTo>
                      <a:lnTo>
                        <a:pt x="152" y="50"/>
                      </a:lnTo>
                      <a:lnTo>
                        <a:pt x="152" y="56"/>
                      </a:lnTo>
                      <a:lnTo>
                        <a:pt x="149" y="64"/>
                      </a:lnTo>
                      <a:lnTo>
                        <a:pt x="149" y="69"/>
                      </a:lnTo>
                      <a:lnTo>
                        <a:pt x="149" y="75"/>
                      </a:lnTo>
                      <a:lnTo>
                        <a:pt x="149" y="81"/>
                      </a:lnTo>
                      <a:lnTo>
                        <a:pt x="149" y="86"/>
                      </a:lnTo>
                      <a:lnTo>
                        <a:pt x="149" y="88"/>
                      </a:lnTo>
                      <a:lnTo>
                        <a:pt x="147" y="92"/>
                      </a:lnTo>
                      <a:lnTo>
                        <a:pt x="139" y="99"/>
                      </a:lnTo>
                      <a:lnTo>
                        <a:pt x="128" y="107"/>
                      </a:lnTo>
                      <a:lnTo>
                        <a:pt x="115" y="115"/>
                      </a:lnTo>
                      <a:lnTo>
                        <a:pt x="100" y="124"/>
                      </a:lnTo>
                      <a:lnTo>
                        <a:pt x="85" y="133"/>
                      </a:lnTo>
                      <a:lnTo>
                        <a:pt x="70" y="141"/>
                      </a:lnTo>
                      <a:lnTo>
                        <a:pt x="58" y="150"/>
                      </a:lnTo>
                      <a:lnTo>
                        <a:pt x="51" y="155"/>
                      </a:lnTo>
                      <a:lnTo>
                        <a:pt x="42" y="160"/>
                      </a:lnTo>
                      <a:lnTo>
                        <a:pt x="38" y="162"/>
                      </a:lnTo>
                      <a:lnTo>
                        <a:pt x="34" y="163"/>
                      </a:lnTo>
                      <a:lnTo>
                        <a:pt x="29" y="163"/>
                      </a:lnTo>
                      <a:lnTo>
                        <a:pt x="25" y="161"/>
                      </a:lnTo>
                      <a:lnTo>
                        <a:pt x="20" y="157"/>
                      </a:lnTo>
                      <a:lnTo>
                        <a:pt x="14" y="154"/>
                      </a:lnTo>
                      <a:lnTo>
                        <a:pt x="9" y="151"/>
                      </a:lnTo>
                      <a:lnTo>
                        <a:pt x="7" y="151"/>
                      </a:lnTo>
                      <a:lnTo>
                        <a:pt x="4" y="152"/>
                      </a:lnTo>
                      <a:lnTo>
                        <a:pt x="3" y="152"/>
                      </a:lnTo>
                      <a:lnTo>
                        <a:pt x="3" y="151"/>
                      </a:lnTo>
                      <a:lnTo>
                        <a:pt x="3" y="149"/>
                      </a:lnTo>
                      <a:lnTo>
                        <a:pt x="3" y="143"/>
                      </a:lnTo>
                      <a:lnTo>
                        <a:pt x="3" y="136"/>
                      </a:lnTo>
                      <a:lnTo>
                        <a:pt x="2" y="134"/>
                      </a:lnTo>
                      <a:lnTo>
                        <a:pt x="0" y="13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6" name="Freeform 746">
                  <a:extLst>
                    <a:ext uri="{FF2B5EF4-FFF2-40B4-BE49-F238E27FC236}">
                      <a16:creationId xmlns:a16="http://schemas.microsoft.com/office/drawing/2014/main" id="{377E1641-7EA5-4800-ABEB-B928BDEE51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68672" y="5630717"/>
                  <a:ext cx="73871" cy="47737"/>
                </a:xfrm>
                <a:custGeom>
                  <a:avLst/>
                  <a:gdLst>
                    <a:gd name="T0" fmla="*/ 3 w 66"/>
                    <a:gd name="T1" fmla="*/ 23 h 37"/>
                    <a:gd name="T2" fmla="*/ 11 w 66"/>
                    <a:gd name="T3" fmla="*/ 20 h 37"/>
                    <a:gd name="T4" fmla="*/ 12 w 66"/>
                    <a:gd name="T5" fmla="*/ 16 h 37"/>
                    <a:gd name="T6" fmla="*/ 19 w 66"/>
                    <a:gd name="T7" fmla="*/ 10 h 37"/>
                    <a:gd name="T8" fmla="*/ 25 w 66"/>
                    <a:gd name="T9" fmla="*/ 5 h 37"/>
                    <a:gd name="T10" fmla="*/ 31 w 66"/>
                    <a:gd name="T11" fmla="*/ 5 h 37"/>
                    <a:gd name="T12" fmla="*/ 37 w 66"/>
                    <a:gd name="T13" fmla="*/ 3 h 37"/>
                    <a:gd name="T14" fmla="*/ 47 w 66"/>
                    <a:gd name="T15" fmla="*/ 0 h 37"/>
                    <a:gd name="T16" fmla="*/ 55 w 66"/>
                    <a:gd name="T17" fmla="*/ 5 h 37"/>
                    <a:gd name="T18" fmla="*/ 58 w 66"/>
                    <a:gd name="T19" fmla="*/ 10 h 37"/>
                    <a:gd name="T20" fmla="*/ 62 w 66"/>
                    <a:gd name="T21" fmla="*/ 14 h 37"/>
                    <a:gd name="T22" fmla="*/ 62 w 66"/>
                    <a:gd name="T23" fmla="*/ 15 h 37"/>
                    <a:gd name="T24" fmla="*/ 57 w 66"/>
                    <a:gd name="T25" fmla="*/ 17 h 37"/>
                    <a:gd name="T26" fmla="*/ 58 w 66"/>
                    <a:gd name="T27" fmla="*/ 17 h 37"/>
                    <a:gd name="T28" fmla="*/ 63 w 66"/>
                    <a:gd name="T29" fmla="*/ 17 h 37"/>
                    <a:gd name="T30" fmla="*/ 66 w 66"/>
                    <a:gd name="T31" fmla="*/ 23 h 37"/>
                    <a:gd name="T32" fmla="*/ 64 w 66"/>
                    <a:gd name="T33" fmla="*/ 27 h 37"/>
                    <a:gd name="T34" fmla="*/ 63 w 66"/>
                    <a:gd name="T35" fmla="*/ 22 h 37"/>
                    <a:gd name="T36" fmla="*/ 62 w 66"/>
                    <a:gd name="T37" fmla="*/ 25 h 37"/>
                    <a:gd name="T38" fmla="*/ 64 w 66"/>
                    <a:gd name="T39" fmla="*/ 27 h 37"/>
                    <a:gd name="T40" fmla="*/ 62 w 66"/>
                    <a:gd name="T41" fmla="*/ 30 h 37"/>
                    <a:gd name="T42" fmla="*/ 55 w 66"/>
                    <a:gd name="T43" fmla="*/ 33 h 37"/>
                    <a:gd name="T44" fmla="*/ 53 w 66"/>
                    <a:gd name="T45" fmla="*/ 37 h 37"/>
                    <a:gd name="T46" fmla="*/ 46 w 66"/>
                    <a:gd name="T47" fmla="*/ 36 h 37"/>
                    <a:gd name="T48" fmla="*/ 39 w 66"/>
                    <a:gd name="T49" fmla="*/ 37 h 37"/>
                    <a:gd name="T50" fmla="*/ 36 w 66"/>
                    <a:gd name="T51" fmla="*/ 36 h 37"/>
                    <a:gd name="T52" fmla="*/ 33 w 66"/>
                    <a:gd name="T53" fmla="*/ 31 h 37"/>
                    <a:gd name="T54" fmla="*/ 26 w 66"/>
                    <a:gd name="T55" fmla="*/ 26 h 37"/>
                    <a:gd name="T56" fmla="*/ 23 w 66"/>
                    <a:gd name="T57" fmla="*/ 28 h 37"/>
                    <a:gd name="T58" fmla="*/ 20 w 66"/>
                    <a:gd name="T59" fmla="*/ 35 h 37"/>
                    <a:gd name="T60" fmla="*/ 14 w 66"/>
                    <a:gd name="T61" fmla="*/ 33 h 37"/>
                    <a:gd name="T62" fmla="*/ 0 w 66"/>
                    <a:gd name="T63" fmla="*/ 25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66" h="37">
                      <a:moveTo>
                        <a:pt x="0" y="25"/>
                      </a:moveTo>
                      <a:lnTo>
                        <a:pt x="3" y="23"/>
                      </a:lnTo>
                      <a:lnTo>
                        <a:pt x="6" y="22"/>
                      </a:lnTo>
                      <a:lnTo>
                        <a:pt x="11" y="20"/>
                      </a:lnTo>
                      <a:lnTo>
                        <a:pt x="7" y="16"/>
                      </a:lnTo>
                      <a:lnTo>
                        <a:pt x="12" y="16"/>
                      </a:lnTo>
                      <a:lnTo>
                        <a:pt x="16" y="14"/>
                      </a:lnTo>
                      <a:lnTo>
                        <a:pt x="19" y="10"/>
                      </a:lnTo>
                      <a:lnTo>
                        <a:pt x="21" y="7"/>
                      </a:lnTo>
                      <a:lnTo>
                        <a:pt x="25" y="5"/>
                      </a:lnTo>
                      <a:lnTo>
                        <a:pt x="27" y="5"/>
                      </a:lnTo>
                      <a:lnTo>
                        <a:pt x="31" y="5"/>
                      </a:lnTo>
                      <a:lnTo>
                        <a:pt x="32" y="1"/>
                      </a:lnTo>
                      <a:lnTo>
                        <a:pt x="37" y="3"/>
                      </a:lnTo>
                      <a:lnTo>
                        <a:pt x="42" y="1"/>
                      </a:lnTo>
                      <a:lnTo>
                        <a:pt x="47" y="0"/>
                      </a:lnTo>
                      <a:lnTo>
                        <a:pt x="52" y="1"/>
                      </a:lnTo>
                      <a:lnTo>
                        <a:pt x="55" y="5"/>
                      </a:lnTo>
                      <a:lnTo>
                        <a:pt x="58" y="10"/>
                      </a:lnTo>
                      <a:lnTo>
                        <a:pt x="58" y="10"/>
                      </a:lnTo>
                      <a:lnTo>
                        <a:pt x="59" y="12"/>
                      </a:lnTo>
                      <a:lnTo>
                        <a:pt x="62" y="14"/>
                      </a:lnTo>
                      <a:lnTo>
                        <a:pt x="62" y="14"/>
                      </a:lnTo>
                      <a:lnTo>
                        <a:pt x="62" y="15"/>
                      </a:lnTo>
                      <a:lnTo>
                        <a:pt x="59" y="16"/>
                      </a:lnTo>
                      <a:lnTo>
                        <a:pt x="57" y="17"/>
                      </a:lnTo>
                      <a:lnTo>
                        <a:pt x="55" y="19"/>
                      </a:lnTo>
                      <a:lnTo>
                        <a:pt x="58" y="17"/>
                      </a:lnTo>
                      <a:lnTo>
                        <a:pt x="60" y="17"/>
                      </a:lnTo>
                      <a:lnTo>
                        <a:pt x="63" y="17"/>
                      </a:lnTo>
                      <a:lnTo>
                        <a:pt x="65" y="19"/>
                      </a:lnTo>
                      <a:lnTo>
                        <a:pt x="66" y="23"/>
                      </a:lnTo>
                      <a:lnTo>
                        <a:pt x="66" y="26"/>
                      </a:lnTo>
                      <a:lnTo>
                        <a:pt x="64" y="27"/>
                      </a:lnTo>
                      <a:lnTo>
                        <a:pt x="64" y="23"/>
                      </a:lnTo>
                      <a:lnTo>
                        <a:pt x="63" y="22"/>
                      </a:lnTo>
                      <a:lnTo>
                        <a:pt x="60" y="22"/>
                      </a:lnTo>
                      <a:lnTo>
                        <a:pt x="62" y="25"/>
                      </a:lnTo>
                      <a:lnTo>
                        <a:pt x="60" y="27"/>
                      </a:lnTo>
                      <a:lnTo>
                        <a:pt x="64" y="27"/>
                      </a:lnTo>
                      <a:lnTo>
                        <a:pt x="63" y="28"/>
                      </a:lnTo>
                      <a:lnTo>
                        <a:pt x="62" y="30"/>
                      </a:lnTo>
                      <a:lnTo>
                        <a:pt x="58" y="32"/>
                      </a:lnTo>
                      <a:lnTo>
                        <a:pt x="55" y="33"/>
                      </a:lnTo>
                      <a:lnTo>
                        <a:pt x="54" y="35"/>
                      </a:lnTo>
                      <a:lnTo>
                        <a:pt x="53" y="37"/>
                      </a:lnTo>
                      <a:lnTo>
                        <a:pt x="49" y="37"/>
                      </a:lnTo>
                      <a:lnTo>
                        <a:pt x="46" y="36"/>
                      </a:lnTo>
                      <a:lnTo>
                        <a:pt x="42" y="37"/>
                      </a:lnTo>
                      <a:lnTo>
                        <a:pt x="39" y="37"/>
                      </a:lnTo>
                      <a:lnTo>
                        <a:pt x="38" y="37"/>
                      </a:lnTo>
                      <a:lnTo>
                        <a:pt x="36" y="36"/>
                      </a:lnTo>
                      <a:lnTo>
                        <a:pt x="36" y="33"/>
                      </a:lnTo>
                      <a:lnTo>
                        <a:pt x="33" y="31"/>
                      </a:lnTo>
                      <a:lnTo>
                        <a:pt x="30" y="28"/>
                      </a:lnTo>
                      <a:lnTo>
                        <a:pt x="26" y="26"/>
                      </a:lnTo>
                      <a:lnTo>
                        <a:pt x="25" y="27"/>
                      </a:lnTo>
                      <a:lnTo>
                        <a:pt x="23" y="28"/>
                      </a:lnTo>
                      <a:lnTo>
                        <a:pt x="22" y="32"/>
                      </a:lnTo>
                      <a:lnTo>
                        <a:pt x="20" y="35"/>
                      </a:lnTo>
                      <a:lnTo>
                        <a:pt x="17" y="35"/>
                      </a:lnTo>
                      <a:lnTo>
                        <a:pt x="14" y="33"/>
                      </a:lnTo>
                      <a:lnTo>
                        <a:pt x="6" y="30"/>
                      </a:lnTo>
                      <a:lnTo>
                        <a:pt x="0" y="25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7" name="Freeform 747">
                  <a:extLst>
                    <a:ext uri="{FF2B5EF4-FFF2-40B4-BE49-F238E27FC236}">
                      <a16:creationId xmlns:a16="http://schemas.microsoft.com/office/drawing/2014/main" id="{0798D4A1-76E6-4705-B3A2-E9E92F97F9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00010" y="5540547"/>
                  <a:ext cx="6716" cy="13261"/>
                </a:xfrm>
                <a:custGeom>
                  <a:avLst/>
                  <a:gdLst>
                    <a:gd name="T0" fmla="*/ 4 w 5"/>
                    <a:gd name="T1" fmla="*/ 8 h 8"/>
                    <a:gd name="T2" fmla="*/ 3 w 5"/>
                    <a:gd name="T3" fmla="*/ 7 h 8"/>
                    <a:gd name="T4" fmla="*/ 3 w 5"/>
                    <a:gd name="T5" fmla="*/ 6 h 8"/>
                    <a:gd name="T6" fmla="*/ 4 w 5"/>
                    <a:gd name="T7" fmla="*/ 3 h 8"/>
                    <a:gd name="T8" fmla="*/ 5 w 5"/>
                    <a:gd name="T9" fmla="*/ 2 h 8"/>
                    <a:gd name="T10" fmla="*/ 4 w 5"/>
                    <a:gd name="T11" fmla="*/ 0 h 8"/>
                    <a:gd name="T12" fmla="*/ 3 w 5"/>
                    <a:gd name="T13" fmla="*/ 0 h 8"/>
                    <a:gd name="T14" fmla="*/ 2 w 5"/>
                    <a:gd name="T15" fmla="*/ 1 h 8"/>
                    <a:gd name="T16" fmla="*/ 0 w 5"/>
                    <a:gd name="T17" fmla="*/ 2 h 8"/>
                    <a:gd name="T18" fmla="*/ 0 w 5"/>
                    <a:gd name="T19" fmla="*/ 7 h 8"/>
                    <a:gd name="T20" fmla="*/ 2 w 5"/>
                    <a:gd name="T21" fmla="*/ 8 h 8"/>
                    <a:gd name="T22" fmla="*/ 4 w 5"/>
                    <a:gd name="T2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" h="8">
                      <a:moveTo>
                        <a:pt x="4" y="8"/>
                      </a:moveTo>
                      <a:lnTo>
                        <a:pt x="3" y="7"/>
                      </a:lnTo>
                      <a:lnTo>
                        <a:pt x="3" y="6"/>
                      </a:lnTo>
                      <a:lnTo>
                        <a:pt x="4" y="3"/>
                      </a:lnTo>
                      <a:lnTo>
                        <a:pt x="5" y="2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2" y="1"/>
                      </a:lnTo>
                      <a:lnTo>
                        <a:pt x="0" y="2"/>
                      </a:lnTo>
                      <a:lnTo>
                        <a:pt x="0" y="7"/>
                      </a:lnTo>
                      <a:lnTo>
                        <a:pt x="2" y="8"/>
                      </a:lnTo>
                      <a:lnTo>
                        <a:pt x="4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8" name="Freeform 748">
                  <a:extLst>
                    <a:ext uri="{FF2B5EF4-FFF2-40B4-BE49-F238E27FC236}">
                      <a16:creationId xmlns:a16="http://schemas.microsoft.com/office/drawing/2014/main" id="{BB81D860-5298-4429-BC3E-D832A9C448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00010" y="5529938"/>
                  <a:ext cx="8954" cy="7957"/>
                </a:xfrm>
                <a:custGeom>
                  <a:avLst/>
                  <a:gdLst>
                    <a:gd name="T0" fmla="*/ 5 w 9"/>
                    <a:gd name="T1" fmla="*/ 5 h 5"/>
                    <a:gd name="T2" fmla="*/ 7 w 9"/>
                    <a:gd name="T3" fmla="*/ 4 h 5"/>
                    <a:gd name="T4" fmla="*/ 8 w 9"/>
                    <a:gd name="T5" fmla="*/ 3 h 5"/>
                    <a:gd name="T6" fmla="*/ 9 w 9"/>
                    <a:gd name="T7" fmla="*/ 1 h 5"/>
                    <a:gd name="T8" fmla="*/ 9 w 9"/>
                    <a:gd name="T9" fmla="*/ 0 h 5"/>
                    <a:gd name="T10" fmla="*/ 7 w 9"/>
                    <a:gd name="T11" fmla="*/ 0 h 5"/>
                    <a:gd name="T12" fmla="*/ 3 w 9"/>
                    <a:gd name="T13" fmla="*/ 0 h 5"/>
                    <a:gd name="T14" fmla="*/ 0 w 9"/>
                    <a:gd name="T15" fmla="*/ 1 h 5"/>
                    <a:gd name="T16" fmla="*/ 0 w 9"/>
                    <a:gd name="T17" fmla="*/ 3 h 5"/>
                    <a:gd name="T18" fmla="*/ 3 w 9"/>
                    <a:gd name="T19" fmla="*/ 4 h 5"/>
                    <a:gd name="T20" fmla="*/ 5 w 9"/>
                    <a:gd name="T2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9" h="5">
                      <a:moveTo>
                        <a:pt x="5" y="5"/>
                      </a:moveTo>
                      <a:lnTo>
                        <a:pt x="7" y="4"/>
                      </a:lnTo>
                      <a:lnTo>
                        <a:pt x="8" y="3"/>
                      </a:lnTo>
                      <a:lnTo>
                        <a:pt x="9" y="1"/>
                      </a:lnTo>
                      <a:lnTo>
                        <a:pt x="9" y="0"/>
                      </a:lnTo>
                      <a:lnTo>
                        <a:pt x="7" y="0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3" y="4"/>
                      </a:lnTo>
                      <a:lnTo>
                        <a:pt x="5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9" name="Freeform 749">
                  <a:extLst>
                    <a:ext uri="{FF2B5EF4-FFF2-40B4-BE49-F238E27FC236}">
                      <a16:creationId xmlns:a16="http://schemas.microsoft.com/office/drawing/2014/main" id="{973604AE-B5E6-417B-8A87-6D154368FF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02250" y="5537895"/>
                  <a:ext cx="2240" cy="2653"/>
                </a:xfrm>
                <a:custGeom>
                  <a:avLst/>
                  <a:gdLst>
                    <a:gd name="T0" fmla="*/ 2 w 2"/>
                    <a:gd name="T1" fmla="*/ 2 h 2"/>
                    <a:gd name="T2" fmla="*/ 2 w 2"/>
                    <a:gd name="T3" fmla="*/ 0 h 2"/>
                    <a:gd name="T4" fmla="*/ 0 w 2"/>
                    <a:gd name="T5" fmla="*/ 1 h 2"/>
                    <a:gd name="T6" fmla="*/ 2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2" y="2"/>
                      </a:move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0" name="Freeform 750">
                  <a:extLst>
                    <a:ext uri="{FF2B5EF4-FFF2-40B4-BE49-F238E27FC236}">
                      <a16:creationId xmlns:a16="http://schemas.microsoft.com/office/drawing/2014/main" id="{E8111579-5663-4F4F-AF7E-00C051CCC8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11204" y="5575024"/>
                  <a:ext cx="4477" cy="5304"/>
                </a:xfrm>
                <a:custGeom>
                  <a:avLst/>
                  <a:gdLst>
                    <a:gd name="T0" fmla="*/ 0 w 4"/>
                    <a:gd name="T1" fmla="*/ 3 h 3"/>
                    <a:gd name="T2" fmla="*/ 4 w 4"/>
                    <a:gd name="T3" fmla="*/ 0 h 3"/>
                    <a:gd name="T4" fmla="*/ 1 w 4"/>
                    <a:gd name="T5" fmla="*/ 1 h 3"/>
                    <a:gd name="T6" fmla="*/ 0 w 4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3">
                      <a:moveTo>
                        <a:pt x="0" y="3"/>
                      </a:moveTo>
                      <a:lnTo>
                        <a:pt x="4" y="0"/>
                      </a:lnTo>
                      <a:lnTo>
                        <a:pt x="1" y="1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1" name="Freeform 751">
                  <a:extLst>
                    <a:ext uri="{FF2B5EF4-FFF2-40B4-BE49-F238E27FC236}">
                      <a16:creationId xmlns:a16="http://schemas.microsoft.com/office/drawing/2014/main" id="{CA8870EB-6708-4F2B-82EE-024F77CEEB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11204" y="5498113"/>
                  <a:ext cx="26862" cy="29174"/>
                </a:xfrm>
                <a:custGeom>
                  <a:avLst/>
                  <a:gdLst>
                    <a:gd name="T0" fmla="*/ 10 w 24"/>
                    <a:gd name="T1" fmla="*/ 14 h 22"/>
                    <a:gd name="T2" fmla="*/ 11 w 24"/>
                    <a:gd name="T3" fmla="*/ 16 h 22"/>
                    <a:gd name="T4" fmla="*/ 14 w 24"/>
                    <a:gd name="T5" fmla="*/ 16 h 22"/>
                    <a:gd name="T6" fmla="*/ 16 w 24"/>
                    <a:gd name="T7" fmla="*/ 14 h 22"/>
                    <a:gd name="T8" fmla="*/ 16 w 24"/>
                    <a:gd name="T9" fmla="*/ 12 h 22"/>
                    <a:gd name="T10" fmla="*/ 16 w 24"/>
                    <a:gd name="T11" fmla="*/ 11 h 22"/>
                    <a:gd name="T12" fmla="*/ 15 w 24"/>
                    <a:gd name="T13" fmla="*/ 11 h 22"/>
                    <a:gd name="T14" fmla="*/ 17 w 24"/>
                    <a:gd name="T15" fmla="*/ 9 h 22"/>
                    <a:gd name="T16" fmla="*/ 21 w 24"/>
                    <a:gd name="T17" fmla="*/ 8 h 22"/>
                    <a:gd name="T18" fmla="*/ 22 w 24"/>
                    <a:gd name="T19" fmla="*/ 7 h 22"/>
                    <a:gd name="T20" fmla="*/ 22 w 24"/>
                    <a:gd name="T21" fmla="*/ 6 h 22"/>
                    <a:gd name="T22" fmla="*/ 20 w 24"/>
                    <a:gd name="T23" fmla="*/ 6 h 22"/>
                    <a:gd name="T24" fmla="*/ 24 w 24"/>
                    <a:gd name="T25" fmla="*/ 3 h 22"/>
                    <a:gd name="T26" fmla="*/ 24 w 24"/>
                    <a:gd name="T27" fmla="*/ 1 h 22"/>
                    <a:gd name="T28" fmla="*/ 22 w 24"/>
                    <a:gd name="T29" fmla="*/ 0 h 22"/>
                    <a:gd name="T30" fmla="*/ 19 w 24"/>
                    <a:gd name="T31" fmla="*/ 0 h 22"/>
                    <a:gd name="T32" fmla="*/ 15 w 24"/>
                    <a:gd name="T33" fmla="*/ 2 h 22"/>
                    <a:gd name="T34" fmla="*/ 10 w 24"/>
                    <a:gd name="T35" fmla="*/ 4 h 22"/>
                    <a:gd name="T36" fmla="*/ 9 w 24"/>
                    <a:gd name="T37" fmla="*/ 6 h 22"/>
                    <a:gd name="T38" fmla="*/ 9 w 24"/>
                    <a:gd name="T39" fmla="*/ 7 h 22"/>
                    <a:gd name="T40" fmla="*/ 8 w 24"/>
                    <a:gd name="T41" fmla="*/ 9 h 22"/>
                    <a:gd name="T42" fmla="*/ 6 w 24"/>
                    <a:gd name="T43" fmla="*/ 11 h 22"/>
                    <a:gd name="T44" fmla="*/ 6 w 24"/>
                    <a:gd name="T45" fmla="*/ 7 h 22"/>
                    <a:gd name="T46" fmla="*/ 0 w 24"/>
                    <a:gd name="T47" fmla="*/ 9 h 22"/>
                    <a:gd name="T48" fmla="*/ 3 w 24"/>
                    <a:gd name="T49" fmla="*/ 12 h 22"/>
                    <a:gd name="T50" fmla="*/ 3 w 24"/>
                    <a:gd name="T51" fmla="*/ 13 h 22"/>
                    <a:gd name="T52" fmla="*/ 0 w 24"/>
                    <a:gd name="T53" fmla="*/ 14 h 22"/>
                    <a:gd name="T54" fmla="*/ 5 w 24"/>
                    <a:gd name="T55" fmla="*/ 17 h 22"/>
                    <a:gd name="T56" fmla="*/ 0 w 24"/>
                    <a:gd name="T57" fmla="*/ 19 h 22"/>
                    <a:gd name="T58" fmla="*/ 3 w 24"/>
                    <a:gd name="T59" fmla="*/ 22 h 22"/>
                    <a:gd name="T60" fmla="*/ 6 w 24"/>
                    <a:gd name="T61" fmla="*/ 20 h 22"/>
                    <a:gd name="T62" fmla="*/ 9 w 24"/>
                    <a:gd name="T63" fmla="*/ 17 h 22"/>
                    <a:gd name="T64" fmla="*/ 10 w 24"/>
                    <a:gd name="T65" fmla="*/ 14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24" h="22">
                      <a:moveTo>
                        <a:pt x="10" y="14"/>
                      </a:moveTo>
                      <a:lnTo>
                        <a:pt x="11" y="16"/>
                      </a:lnTo>
                      <a:lnTo>
                        <a:pt x="14" y="16"/>
                      </a:lnTo>
                      <a:lnTo>
                        <a:pt x="16" y="14"/>
                      </a:lnTo>
                      <a:lnTo>
                        <a:pt x="16" y="12"/>
                      </a:lnTo>
                      <a:lnTo>
                        <a:pt x="16" y="11"/>
                      </a:lnTo>
                      <a:lnTo>
                        <a:pt x="15" y="11"/>
                      </a:lnTo>
                      <a:lnTo>
                        <a:pt x="17" y="9"/>
                      </a:lnTo>
                      <a:lnTo>
                        <a:pt x="21" y="8"/>
                      </a:lnTo>
                      <a:lnTo>
                        <a:pt x="22" y="7"/>
                      </a:lnTo>
                      <a:lnTo>
                        <a:pt x="22" y="6"/>
                      </a:lnTo>
                      <a:lnTo>
                        <a:pt x="20" y="6"/>
                      </a:lnTo>
                      <a:lnTo>
                        <a:pt x="24" y="3"/>
                      </a:lnTo>
                      <a:lnTo>
                        <a:pt x="24" y="1"/>
                      </a:lnTo>
                      <a:lnTo>
                        <a:pt x="22" y="0"/>
                      </a:lnTo>
                      <a:lnTo>
                        <a:pt x="19" y="0"/>
                      </a:lnTo>
                      <a:lnTo>
                        <a:pt x="15" y="2"/>
                      </a:lnTo>
                      <a:lnTo>
                        <a:pt x="10" y="4"/>
                      </a:lnTo>
                      <a:lnTo>
                        <a:pt x="9" y="6"/>
                      </a:lnTo>
                      <a:lnTo>
                        <a:pt x="9" y="7"/>
                      </a:lnTo>
                      <a:lnTo>
                        <a:pt x="8" y="9"/>
                      </a:lnTo>
                      <a:lnTo>
                        <a:pt x="6" y="11"/>
                      </a:lnTo>
                      <a:lnTo>
                        <a:pt x="6" y="7"/>
                      </a:lnTo>
                      <a:lnTo>
                        <a:pt x="0" y="9"/>
                      </a:lnTo>
                      <a:lnTo>
                        <a:pt x="3" y="12"/>
                      </a:lnTo>
                      <a:lnTo>
                        <a:pt x="3" y="13"/>
                      </a:lnTo>
                      <a:lnTo>
                        <a:pt x="0" y="14"/>
                      </a:lnTo>
                      <a:lnTo>
                        <a:pt x="5" y="17"/>
                      </a:lnTo>
                      <a:lnTo>
                        <a:pt x="0" y="19"/>
                      </a:lnTo>
                      <a:lnTo>
                        <a:pt x="3" y="22"/>
                      </a:lnTo>
                      <a:lnTo>
                        <a:pt x="6" y="20"/>
                      </a:lnTo>
                      <a:lnTo>
                        <a:pt x="9" y="17"/>
                      </a:lnTo>
                      <a:lnTo>
                        <a:pt x="10" y="1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2" name="Freeform 752">
                  <a:extLst>
                    <a:ext uri="{FF2B5EF4-FFF2-40B4-BE49-F238E27FC236}">
                      <a16:creationId xmlns:a16="http://schemas.microsoft.com/office/drawing/2014/main" id="{97D23075-468E-43D9-A40C-ACF89DA935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17919" y="5569720"/>
                  <a:ext cx="6716" cy="5304"/>
                </a:xfrm>
                <a:custGeom>
                  <a:avLst/>
                  <a:gdLst>
                    <a:gd name="T0" fmla="*/ 0 w 5"/>
                    <a:gd name="T1" fmla="*/ 3 h 3"/>
                    <a:gd name="T2" fmla="*/ 5 w 5"/>
                    <a:gd name="T3" fmla="*/ 0 h 3"/>
                    <a:gd name="T4" fmla="*/ 2 w 5"/>
                    <a:gd name="T5" fmla="*/ 1 h 3"/>
                    <a:gd name="T6" fmla="*/ 0 w 5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3">
                      <a:moveTo>
                        <a:pt x="0" y="3"/>
                      </a:moveTo>
                      <a:lnTo>
                        <a:pt x="5" y="0"/>
                      </a:lnTo>
                      <a:lnTo>
                        <a:pt x="2" y="1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3" name="Freeform 753">
                  <a:extLst>
                    <a:ext uri="{FF2B5EF4-FFF2-40B4-BE49-F238E27FC236}">
                      <a16:creationId xmlns:a16="http://schemas.microsoft.com/office/drawing/2014/main" id="{0020215C-D0EE-4B60-8D17-89DC69FEE4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17919" y="5601545"/>
                  <a:ext cx="13431" cy="13261"/>
                </a:xfrm>
                <a:custGeom>
                  <a:avLst/>
                  <a:gdLst>
                    <a:gd name="T0" fmla="*/ 7 w 11"/>
                    <a:gd name="T1" fmla="*/ 10 h 10"/>
                    <a:gd name="T2" fmla="*/ 9 w 11"/>
                    <a:gd name="T3" fmla="*/ 9 h 10"/>
                    <a:gd name="T4" fmla="*/ 11 w 11"/>
                    <a:gd name="T5" fmla="*/ 6 h 10"/>
                    <a:gd name="T6" fmla="*/ 11 w 11"/>
                    <a:gd name="T7" fmla="*/ 4 h 10"/>
                    <a:gd name="T8" fmla="*/ 8 w 11"/>
                    <a:gd name="T9" fmla="*/ 0 h 10"/>
                    <a:gd name="T10" fmla="*/ 5 w 11"/>
                    <a:gd name="T11" fmla="*/ 0 h 10"/>
                    <a:gd name="T12" fmla="*/ 4 w 11"/>
                    <a:gd name="T13" fmla="*/ 3 h 10"/>
                    <a:gd name="T14" fmla="*/ 2 w 11"/>
                    <a:gd name="T15" fmla="*/ 5 h 10"/>
                    <a:gd name="T16" fmla="*/ 0 w 11"/>
                    <a:gd name="T17" fmla="*/ 8 h 10"/>
                    <a:gd name="T18" fmla="*/ 7 w 11"/>
                    <a:gd name="T19" fmla="*/ 5 h 10"/>
                    <a:gd name="T20" fmla="*/ 7 w 11"/>
                    <a:gd name="T21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1" h="10">
                      <a:moveTo>
                        <a:pt x="7" y="10"/>
                      </a:moveTo>
                      <a:lnTo>
                        <a:pt x="9" y="9"/>
                      </a:lnTo>
                      <a:lnTo>
                        <a:pt x="11" y="6"/>
                      </a:lnTo>
                      <a:lnTo>
                        <a:pt x="11" y="4"/>
                      </a:lnTo>
                      <a:lnTo>
                        <a:pt x="8" y="0"/>
                      </a:lnTo>
                      <a:lnTo>
                        <a:pt x="5" y="0"/>
                      </a:lnTo>
                      <a:lnTo>
                        <a:pt x="4" y="3"/>
                      </a:lnTo>
                      <a:lnTo>
                        <a:pt x="2" y="5"/>
                      </a:lnTo>
                      <a:lnTo>
                        <a:pt x="0" y="8"/>
                      </a:lnTo>
                      <a:lnTo>
                        <a:pt x="7" y="5"/>
                      </a:lnTo>
                      <a:lnTo>
                        <a:pt x="7" y="1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4" name="Freeform 754">
                  <a:extLst>
                    <a:ext uri="{FF2B5EF4-FFF2-40B4-BE49-F238E27FC236}">
                      <a16:creationId xmlns:a16="http://schemas.microsoft.com/office/drawing/2014/main" id="{DF485BB4-54DE-420E-82D3-F13520DB53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0158" y="5529938"/>
                  <a:ext cx="24625" cy="26521"/>
                </a:xfrm>
                <a:custGeom>
                  <a:avLst/>
                  <a:gdLst>
                    <a:gd name="T0" fmla="*/ 16 w 23"/>
                    <a:gd name="T1" fmla="*/ 20 h 20"/>
                    <a:gd name="T2" fmla="*/ 20 w 23"/>
                    <a:gd name="T3" fmla="*/ 17 h 20"/>
                    <a:gd name="T4" fmla="*/ 23 w 23"/>
                    <a:gd name="T5" fmla="*/ 15 h 20"/>
                    <a:gd name="T6" fmla="*/ 23 w 23"/>
                    <a:gd name="T7" fmla="*/ 12 h 20"/>
                    <a:gd name="T8" fmla="*/ 19 w 23"/>
                    <a:gd name="T9" fmla="*/ 12 h 20"/>
                    <a:gd name="T10" fmla="*/ 17 w 23"/>
                    <a:gd name="T11" fmla="*/ 12 h 20"/>
                    <a:gd name="T12" fmla="*/ 14 w 23"/>
                    <a:gd name="T13" fmla="*/ 9 h 20"/>
                    <a:gd name="T14" fmla="*/ 13 w 23"/>
                    <a:gd name="T15" fmla="*/ 3 h 20"/>
                    <a:gd name="T16" fmla="*/ 9 w 23"/>
                    <a:gd name="T17" fmla="*/ 0 h 20"/>
                    <a:gd name="T18" fmla="*/ 8 w 23"/>
                    <a:gd name="T19" fmla="*/ 5 h 20"/>
                    <a:gd name="T20" fmla="*/ 6 w 23"/>
                    <a:gd name="T21" fmla="*/ 5 h 20"/>
                    <a:gd name="T22" fmla="*/ 3 w 23"/>
                    <a:gd name="T23" fmla="*/ 5 h 20"/>
                    <a:gd name="T24" fmla="*/ 2 w 23"/>
                    <a:gd name="T25" fmla="*/ 6 h 20"/>
                    <a:gd name="T26" fmla="*/ 0 w 23"/>
                    <a:gd name="T27" fmla="*/ 6 h 20"/>
                    <a:gd name="T28" fmla="*/ 1 w 23"/>
                    <a:gd name="T29" fmla="*/ 9 h 20"/>
                    <a:gd name="T30" fmla="*/ 3 w 23"/>
                    <a:gd name="T31" fmla="*/ 10 h 20"/>
                    <a:gd name="T32" fmla="*/ 6 w 23"/>
                    <a:gd name="T33" fmla="*/ 10 h 20"/>
                    <a:gd name="T34" fmla="*/ 8 w 23"/>
                    <a:gd name="T35" fmla="*/ 11 h 20"/>
                    <a:gd name="T36" fmla="*/ 6 w 23"/>
                    <a:gd name="T37" fmla="*/ 12 h 20"/>
                    <a:gd name="T38" fmla="*/ 6 w 23"/>
                    <a:gd name="T39" fmla="*/ 14 h 20"/>
                    <a:gd name="T40" fmla="*/ 8 w 23"/>
                    <a:gd name="T41" fmla="*/ 15 h 20"/>
                    <a:gd name="T42" fmla="*/ 11 w 23"/>
                    <a:gd name="T43" fmla="*/ 15 h 20"/>
                    <a:gd name="T44" fmla="*/ 14 w 23"/>
                    <a:gd name="T45" fmla="*/ 15 h 20"/>
                    <a:gd name="T46" fmla="*/ 19 w 23"/>
                    <a:gd name="T47" fmla="*/ 15 h 20"/>
                    <a:gd name="T48" fmla="*/ 16 w 23"/>
                    <a:gd name="T49" fmla="*/ 17 h 20"/>
                    <a:gd name="T50" fmla="*/ 16 w 23"/>
                    <a:gd name="T51" fmla="*/ 2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23" h="20">
                      <a:moveTo>
                        <a:pt x="16" y="20"/>
                      </a:moveTo>
                      <a:lnTo>
                        <a:pt x="20" y="17"/>
                      </a:lnTo>
                      <a:lnTo>
                        <a:pt x="23" y="15"/>
                      </a:lnTo>
                      <a:lnTo>
                        <a:pt x="23" y="12"/>
                      </a:lnTo>
                      <a:lnTo>
                        <a:pt x="19" y="12"/>
                      </a:lnTo>
                      <a:lnTo>
                        <a:pt x="17" y="12"/>
                      </a:lnTo>
                      <a:lnTo>
                        <a:pt x="14" y="9"/>
                      </a:lnTo>
                      <a:lnTo>
                        <a:pt x="13" y="3"/>
                      </a:lnTo>
                      <a:lnTo>
                        <a:pt x="9" y="0"/>
                      </a:lnTo>
                      <a:lnTo>
                        <a:pt x="8" y="5"/>
                      </a:lnTo>
                      <a:lnTo>
                        <a:pt x="6" y="5"/>
                      </a:lnTo>
                      <a:lnTo>
                        <a:pt x="3" y="5"/>
                      </a:lnTo>
                      <a:lnTo>
                        <a:pt x="2" y="6"/>
                      </a:lnTo>
                      <a:lnTo>
                        <a:pt x="0" y="6"/>
                      </a:lnTo>
                      <a:lnTo>
                        <a:pt x="1" y="9"/>
                      </a:lnTo>
                      <a:lnTo>
                        <a:pt x="3" y="10"/>
                      </a:lnTo>
                      <a:lnTo>
                        <a:pt x="6" y="10"/>
                      </a:lnTo>
                      <a:lnTo>
                        <a:pt x="8" y="11"/>
                      </a:lnTo>
                      <a:lnTo>
                        <a:pt x="6" y="12"/>
                      </a:lnTo>
                      <a:lnTo>
                        <a:pt x="6" y="14"/>
                      </a:lnTo>
                      <a:lnTo>
                        <a:pt x="8" y="15"/>
                      </a:lnTo>
                      <a:lnTo>
                        <a:pt x="11" y="15"/>
                      </a:lnTo>
                      <a:lnTo>
                        <a:pt x="14" y="15"/>
                      </a:lnTo>
                      <a:lnTo>
                        <a:pt x="19" y="15"/>
                      </a:lnTo>
                      <a:lnTo>
                        <a:pt x="16" y="17"/>
                      </a:lnTo>
                      <a:lnTo>
                        <a:pt x="16" y="2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5" name="Freeform 755">
                  <a:extLst>
                    <a:ext uri="{FF2B5EF4-FFF2-40B4-BE49-F238E27FC236}">
                      <a16:creationId xmlns:a16="http://schemas.microsoft.com/office/drawing/2014/main" id="{11C77C9C-3E91-4713-AD2D-3FC65ADDD5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2396" y="5490158"/>
                  <a:ext cx="212660" cy="358031"/>
                </a:xfrm>
                <a:custGeom>
                  <a:avLst/>
                  <a:gdLst>
                    <a:gd name="T0" fmla="*/ 34 w 191"/>
                    <a:gd name="T1" fmla="*/ 260 h 271"/>
                    <a:gd name="T2" fmla="*/ 57 w 191"/>
                    <a:gd name="T3" fmla="*/ 254 h 271"/>
                    <a:gd name="T4" fmla="*/ 82 w 191"/>
                    <a:gd name="T5" fmla="*/ 254 h 271"/>
                    <a:gd name="T6" fmla="*/ 92 w 191"/>
                    <a:gd name="T7" fmla="*/ 249 h 271"/>
                    <a:gd name="T8" fmla="*/ 113 w 191"/>
                    <a:gd name="T9" fmla="*/ 244 h 271"/>
                    <a:gd name="T10" fmla="*/ 129 w 191"/>
                    <a:gd name="T11" fmla="*/ 246 h 271"/>
                    <a:gd name="T12" fmla="*/ 173 w 191"/>
                    <a:gd name="T13" fmla="*/ 236 h 271"/>
                    <a:gd name="T14" fmla="*/ 161 w 191"/>
                    <a:gd name="T15" fmla="*/ 227 h 271"/>
                    <a:gd name="T16" fmla="*/ 167 w 191"/>
                    <a:gd name="T17" fmla="*/ 222 h 271"/>
                    <a:gd name="T18" fmla="*/ 176 w 191"/>
                    <a:gd name="T19" fmla="*/ 214 h 271"/>
                    <a:gd name="T20" fmla="*/ 181 w 191"/>
                    <a:gd name="T21" fmla="*/ 207 h 271"/>
                    <a:gd name="T22" fmla="*/ 178 w 191"/>
                    <a:gd name="T23" fmla="*/ 177 h 271"/>
                    <a:gd name="T24" fmla="*/ 151 w 191"/>
                    <a:gd name="T25" fmla="*/ 180 h 271"/>
                    <a:gd name="T26" fmla="*/ 144 w 191"/>
                    <a:gd name="T27" fmla="*/ 155 h 271"/>
                    <a:gd name="T28" fmla="*/ 148 w 191"/>
                    <a:gd name="T29" fmla="*/ 149 h 271"/>
                    <a:gd name="T30" fmla="*/ 132 w 191"/>
                    <a:gd name="T31" fmla="*/ 127 h 271"/>
                    <a:gd name="T32" fmla="*/ 108 w 191"/>
                    <a:gd name="T33" fmla="*/ 89 h 271"/>
                    <a:gd name="T34" fmla="*/ 66 w 191"/>
                    <a:gd name="T35" fmla="*/ 82 h 271"/>
                    <a:gd name="T36" fmla="*/ 91 w 191"/>
                    <a:gd name="T37" fmla="*/ 74 h 271"/>
                    <a:gd name="T38" fmla="*/ 97 w 191"/>
                    <a:gd name="T39" fmla="*/ 61 h 271"/>
                    <a:gd name="T40" fmla="*/ 105 w 191"/>
                    <a:gd name="T41" fmla="*/ 30 h 271"/>
                    <a:gd name="T42" fmla="*/ 59 w 191"/>
                    <a:gd name="T43" fmla="*/ 34 h 271"/>
                    <a:gd name="T44" fmla="*/ 60 w 191"/>
                    <a:gd name="T45" fmla="*/ 26 h 271"/>
                    <a:gd name="T46" fmla="*/ 75 w 191"/>
                    <a:gd name="T47" fmla="*/ 16 h 271"/>
                    <a:gd name="T48" fmla="*/ 81 w 191"/>
                    <a:gd name="T49" fmla="*/ 0 h 271"/>
                    <a:gd name="T50" fmla="*/ 48 w 191"/>
                    <a:gd name="T51" fmla="*/ 7 h 271"/>
                    <a:gd name="T52" fmla="*/ 41 w 191"/>
                    <a:gd name="T53" fmla="*/ 5 h 271"/>
                    <a:gd name="T54" fmla="*/ 32 w 191"/>
                    <a:gd name="T55" fmla="*/ 20 h 271"/>
                    <a:gd name="T56" fmla="*/ 22 w 191"/>
                    <a:gd name="T57" fmla="*/ 27 h 271"/>
                    <a:gd name="T58" fmla="*/ 25 w 191"/>
                    <a:gd name="T59" fmla="*/ 42 h 271"/>
                    <a:gd name="T60" fmla="*/ 20 w 191"/>
                    <a:gd name="T61" fmla="*/ 50 h 271"/>
                    <a:gd name="T62" fmla="*/ 17 w 191"/>
                    <a:gd name="T63" fmla="*/ 57 h 271"/>
                    <a:gd name="T64" fmla="*/ 18 w 191"/>
                    <a:gd name="T65" fmla="*/ 61 h 271"/>
                    <a:gd name="T66" fmla="*/ 30 w 191"/>
                    <a:gd name="T67" fmla="*/ 61 h 271"/>
                    <a:gd name="T68" fmla="*/ 27 w 191"/>
                    <a:gd name="T69" fmla="*/ 66 h 271"/>
                    <a:gd name="T70" fmla="*/ 22 w 191"/>
                    <a:gd name="T71" fmla="*/ 72 h 271"/>
                    <a:gd name="T72" fmla="*/ 18 w 191"/>
                    <a:gd name="T73" fmla="*/ 84 h 271"/>
                    <a:gd name="T74" fmla="*/ 15 w 191"/>
                    <a:gd name="T75" fmla="*/ 104 h 271"/>
                    <a:gd name="T76" fmla="*/ 27 w 191"/>
                    <a:gd name="T77" fmla="*/ 80 h 271"/>
                    <a:gd name="T78" fmla="*/ 30 w 191"/>
                    <a:gd name="T79" fmla="*/ 86 h 271"/>
                    <a:gd name="T80" fmla="*/ 37 w 191"/>
                    <a:gd name="T81" fmla="*/ 80 h 271"/>
                    <a:gd name="T82" fmla="*/ 44 w 191"/>
                    <a:gd name="T83" fmla="*/ 84 h 271"/>
                    <a:gd name="T84" fmla="*/ 42 w 191"/>
                    <a:gd name="T85" fmla="*/ 99 h 271"/>
                    <a:gd name="T86" fmla="*/ 27 w 191"/>
                    <a:gd name="T87" fmla="*/ 113 h 271"/>
                    <a:gd name="T88" fmla="*/ 36 w 191"/>
                    <a:gd name="T89" fmla="*/ 118 h 271"/>
                    <a:gd name="T90" fmla="*/ 57 w 191"/>
                    <a:gd name="T91" fmla="*/ 120 h 271"/>
                    <a:gd name="T92" fmla="*/ 65 w 191"/>
                    <a:gd name="T93" fmla="*/ 123 h 271"/>
                    <a:gd name="T94" fmla="*/ 76 w 191"/>
                    <a:gd name="T95" fmla="*/ 138 h 271"/>
                    <a:gd name="T96" fmla="*/ 76 w 191"/>
                    <a:gd name="T97" fmla="*/ 153 h 271"/>
                    <a:gd name="T98" fmla="*/ 74 w 191"/>
                    <a:gd name="T99" fmla="*/ 164 h 271"/>
                    <a:gd name="T100" fmla="*/ 47 w 191"/>
                    <a:gd name="T101" fmla="*/ 166 h 271"/>
                    <a:gd name="T102" fmla="*/ 38 w 191"/>
                    <a:gd name="T103" fmla="*/ 176 h 271"/>
                    <a:gd name="T104" fmla="*/ 47 w 191"/>
                    <a:gd name="T105" fmla="*/ 187 h 271"/>
                    <a:gd name="T106" fmla="*/ 26 w 191"/>
                    <a:gd name="T107" fmla="*/ 206 h 271"/>
                    <a:gd name="T108" fmla="*/ 18 w 191"/>
                    <a:gd name="T109" fmla="*/ 218 h 271"/>
                    <a:gd name="T110" fmla="*/ 43 w 191"/>
                    <a:gd name="T111" fmla="*/ 219 h 271"/>
                    <a:gd name="T112" fmla="*/ 58 w 191"/>
                    <a:gd name="T113" fmla="*/ 227 h 271"/>
                    <a:gd name="T114" fmla="*/ 70 w 191"/>
                    <a:gd name="T115" fmla="*/ 229 h 271"/>
                    <a:gd name="T116" fmla="*/ 39 w 191"/>
                    <a:gd name="T117" fmla="*/ 236 h 271"/>
                    <a:gd name="T118" fmla="*/ 23 w 191"/>
                    <a:gd name="T119" fmla="*/ 254 h 271"/>
                    <a:gd name="T120" fmla="*/ 0 w 191"/>
                    <a:gd name="T121" fmla="*/ 268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91" h="271">
                      <a:moveTo>
                        <a:pt x="10" y="271"/>
                      </a:moveTo>
                      <a:lnTo>
                        <a:pt x="14" y="271"/>
                      </a:lnTo>
                      <a:lnTo>
                        <a:pt x="16" y="268"/>
                      </a:lnTo>
                      <a:lnTo>
                        <a:pt x="18" y="265"/>
                      </a:lnTo>
                      <a:lnTo>
                        <a:pt x="21" y="263"/>
                      </a:lnTo>
                      <a:lnTo>
                        <a:pt x="26" y="261"/>
                      </a:lnTo>
                      <a:lnTo>
                        <a:pt x="31" y="261"/>
                      </a:lnTo>
                      <a:lnTo>
                        <a:pt x="34" y="260"/>
                      </a:lnTo>
                      <a:lnTo>
                        <a:pt x="38" y="256"/>
                      </a:lnTo>
                      <a:lnTo>
                        <a:pt x="39" y="260"/>
                      </a:lnTo>
                      <a:lnTo>
                        <a:pt x="42" y="261"/>
                      </a:lnTo>
                      <a:lnTo>
                        <a:pt x="46" y="263"/>
                      </a:lnTo>
                      <a:lnTo>
                        <a:pt x="48" y="263"/>
                      </a:lnTo>
                      <a:lnTo>
                        <a:pt x="52" y="262"/>
                      </a:lnTo>
                      <a:lnTo>
                        <a:pt x="55" y="259"/>
                      </a:lnTo>
                      <a:lnTo>
                        <a:pt x="57" y="254"/>
                      </a:lnTo>
                      <a:lnTo>
                        <a:pt x="57" y="250"/>
                      </a:lnTo>
                      <a:lnTo>
                        <a:pt x="59" y="251"/>
                      </a:lnTo>
                      <a:lnTo>
                        <a:pt x="62" y="251"/>
                      </a:lnTo>
                      <a:lnTo>
                        <a:pt x="65" y="250"/>
                      </a:lnTo>
                      <a:lnTo>
                        <a:pt x="68" y="249"/>
                      </a:lnTo>
                      <a:lnTo>
                        <a:pt x="71" y="247"/>
                      </a:lnTo>
                      <a:lnTo>
                        <a:pt x="76" y="249"/>
                      </a:lnTo>
                      <a:lnTo>
                        <a:pt x="82" y="254"/>
                      </a:lnTo>
                      <a:lnTo>
                        <a:pt x="84" y="251"/>
                      </a:lnTo>
                      <a:lnTo>
                        <a:pt x="85" y="251"/>
                      </a:lnTo>
                      <a:lnTo>
                        <a:pt x="90" y="251"/>
                      </a:lnTo>
                      <a:lnTo>
                        <a:pt x="92" y="251"/>
                      </a:lnTo>
                      <a:lnTo>
                        <a:pt x="95" y="250"/>
                      </a:lnTo>
                      <a:lnTo>
                        <a:pt x="95" y="250"/>
                      </a:lnTo>
                      <a:lnTo>
                        <a:pt x="95" y="249"/>
                      </a:lnTo>
                      <a:lnTo>
                        <a:pt x="92" y="249"/>
                      </a:lnTo>
                      <a:lnTo>
                        <a:pt x="95" y="249"/>
                      </a:lnTo>
                      <a:lnTo>
                        <a:pt x="97" y="249"/>
                      </a:lnTo>
                      <a:lnTo>
                        <a:pt x="105" y="247"/>
                      </a:lnTo>
                      <a:lnTo>
                        <a:pt x="108" y="246"/>
                      </a:lnTo>
                      <a:lnTo>
                        <a:pt x="109" y="246"/>
                      </a:lnTo>
                      <a:lnTo>
                        <a:pt x="111" y="245"/>
                      </a:lnTo>
                      <a:lnTo>
                        <a:pt x="109" y="243"/>
                      </a:lnTo>
                      <a:lnTo>
                        <a:pt x="113" y="244"/>
                      </a:lnTo>
                      <a:lnTo>
                        <a:pt x="116" y="245"/>
                      </a:lnTo>
                      <a:lnTo>
                        <a:pt x="118" y="244"/>
                      </a:lnTo>
                      <a:lnTo>
                        <a:pt x="122" y="244"/>
                      </a:lnTo>
                      <a:lnTo>
                        <a:pt x="123" y="246"/>
                      </a:lnTo>
                      <a:lnTo>
                        <a:pt x="124" y="246"/>
                      </a:lnTo>
                      <a:lnTo>
                        <a:pt x="127" y="246"/>
                      </a:lnTo>
                      <a:lnTo>
                        <a:pt x="128" y="246"/>
                      </a:lnTo>
                      <a:lnTo>
                        <a:pt x="129" y="246"/>
                      </a:lnTo>
                      <a:lnTo>
                        <a:pt x="138" y="245"/>
                      </a:lnTo>
                      <a:lnTo>
                        <a:pt x="146" y="246"/>
                      </a:lnTo>
                      <a:lnTo>
                        <a:pt x="150" y="246"/>
                      </a:lnTo>
                      <a:lnTo>
                        <a:pt x="155" y="246"/>
                      </a:lnTo>
                      <a:lnTo>
                        <a:pt x="162" y="243"/>
                      </a:lnTo>
                      <a:lnTo>
                        <a:pt x="167" y="241"/>
                      </a:lnTo>
                      <a:lnTo>
                        <a:pt x="171" y="238"/>
                      </a:lnTo>
                      <a:lnTo>
                        <a:pt x="173" y="236"/>
                      </a:lnTo>
                      <a:lnTo>
                        <a:pt x="176" y="235"/>
                      </a:lnTo>
                      <a:lnTo>
                        <a:pt x="180" y="234"/>
                      </a:lnTo>
                      <a:lnTo>
                        <a:pt x="181" y="231"/>
                      </a:lnTo>
                      <a:lnTo>
                        <a:pt x="181" y="230"/>
                      </a:lnTo>
                      <a:lnTo>
                        <a:pt x="180" y="229"/>
                      </a:lnTo>
                      <a:lnTo>
                        <a:pt x="172" y="228"/>
                      </a:lnTo>
                      <a:lnTo>
                        <a:pt x="165" y="227"/>
                      </a:lnTo>
                      <a:lnTo>
                        <a:pt x="161" y="227"/>
                      </a:lnTo>
                      <a:lnTo>
                        <a:pt x="160" y="227"/>
                      </a:lnTo>
                      <a:lnTo>
                        <a:pt x="164" y="224"/>
                      </a:lnTo>
                      <a:lnTo>
                        <a:pt x="160" y="224"/>
                      </a:lnTo>
                      <a:lnTo>
                        <a:pt x="156" y="225"/>
                      </a:lnTo>
                      <a:lnTo>
                        <a:pt x="157" y="224"/>
                      </a:lnTo>
                      <a:lnTo>
                        <a:pt x="160" y="223"/>
                      </a:lnTo>
                      <a:lnTo>
                        <a:pt x="165" y="223"/>
                      </a:lnTo>
                      <a:lnTo>
                        <a:pt x="167" y="222"/>
                      </a:lnTo>
                      <a:lnTo>
                        <a:pt x="169" y="219"/>
                      </a:lnTo>
                      <a:lnTo>
                        <a:pt x="167" y="217"/>
                      </a:lnTo>
                      <a:lnTo>
                        <a:pt x="165" y="216"/>
                      </a:lnTo>
                      <a:lnTo>
                        <a:pt x="167" y="216"/>
                      </a:lnTo>
                      <a:lnTo>
                        <a:pt x="170" y="214"/>
                      </a:lnTo>
                      <a:lnTo>
                        <a:pt x="172" y="213"/>
                      </a:lnTo>
                      <a:lnTo>
                        <a:pt x="173" y="214"/>
                      </a:lnTo>
                      <a:lnTo>
                        <a:pt x="176" y="214"/>
                      </a:lnTo>
                      <a:lnTo>
                        <a:pt x="178" y="213"/>
                      </a:lnTo>
                      <a:lnTo>
                        <a:pt x="177" y="211"/>
                      </a:lnTo>
                      <a:lnTo>
                        <a:pt x="175" y="209"/>
                      </a:lnTo>
                      <a:lnTo>
                        <a:pt x="176" y="209"/>
                      </a:lnTo>
                      <a:lnTo>
                        <a:pt x="178" y="208"/>
                      </a:lnTo>
                      <a:lnTo>
                        <a:pt x="178" y="208"/>
                      </a:lnTo>
                      <a:lnTo>
                        <a:pt x="176" y="207"/>
                      </a:lnTo>
                      <a:lnTo>
                        <a:pt x="181" y="207"/>
                      </a:lnTo>
                      <a:lnTo>
                        <a:pt x="183" y="206"/>
                      </a:lnTo>
                      <a:lnTo>
                        <a:pt x="186" y="203"/>
                      </a:lnTo>
                      <a:lnTo>
                        <a:pt x="188" y="198"/>
                      </a:lnTo>
                      <a:lnTo>
                        <a:pt x="191" y="193"/>
                      </a:lnTo>
                      <a:lnTo>
                        <a:pt x="191" y="188"/>
                      </a:lnTo>
                      <a:lnTo>
                        <a:pt x="188" y="184"/>
                      </a:lnTo>
                      <a:lnTo>
                        <a:pt x="183" y="180"/>
                      </a:lnTo>
                      <a:lnTo>
                        <a:pt x="178" y="177"/>
                      </a:lnTo>
                      <a:lnTo>
                        <a:pt x="172" y="176"/>
                      </a:lnTo>
                      <a:lnTo>
                        <a:pt x="167" y="176"/>
                      </a:lnTo>
                      <a:lnTo>
                        <a:pt x="162" y="179"/>
                      </a:lnTo>
                      <a:lnTo>
                        <a:pt x="160" y="181"/>
                      </a:lnTo>
                      <a:lnTo>
                        <a:pt x="157" y="184"/>
                      </a:lnTo>
                      <a:lnTo>
                        <a:pt x="155" y="184"/>
                      </a:lnTo>
                      <a:lnTo>
                        <a:pt x="154" y="182"/>
                      </a:lnTo>
                      <a:lnTo>
                        <a:pt x="151" y="180"/>
                      </a:lnTo>
                      <a:lnTo>
                        <a:pt x="149" y="180"/>
                      </a:lnTo>
                      <a:lnTo>
                        <a:pt x="153" y="176"/>
                      </a:lnTo>
                      <a:lnTo>
                        <a:pt x="156" y="172"/>
                      </a:lnTo>
                      <a:lnTo>
                        <a:pt x="157" y="169"/>
                      </a:lnTo>
                      <a:lnTo>
                        <a:pt x="156" y="166"/>
                      </a:lnTo>
                      <a:lnTo>
                        <a:pt x="155" y="163"/>
                      </a:lnTo>
                      <a:lnTo>
                        <a:pt x="150" y="158"/>
                      </a:lnTo>
                      <a:lnTo>
                        <a:pt x="144" y="155"/>
                      </a:lnTo>
                      <a:lnTo>
                        <a:pt x="139" y="155"/>
                      </a:lnTo>
                      <a:lnTo>
                        <a:pt x="132" y="154"/>
                      </a:lnTo>
                      <a:lnTo>
                        <a:pt x="138" y="153"/>
                      </a:lnTo>
                      <a:lnTo>
                        <a:pt x="144" y="153"/>
                      </a:lnTo>
                      <a:lnTo>
                        <a:pt x="149" y="155"/>
                      </a:lnTo>
                      <a:lnTo>
                        <a:pt x="154" y="158"/>
                      </a:lnTo>
                      <a:lnTo>
                        <a:pt x="151" y="154"/>
                      </a:lnTo>
                      <a:lnTo>
                        <a:pt x="148" y="149"/>
                      </a:lnTo>
                      <a:lnTo>
                        <a:pt x="146" y="144"/>
                      </a:lnTo>
                      <a:lnTo>
                        <a:pt x="146" y="142"/>
                      </a:lnTo>
                      <a:lnTo>
                        <a:pt x="149" y="141"/>
                      </a:lnTo>
                      <a:lnTo>
                        <a:pt x="145" y="139"/>
                      </a:lnTo>
                      <a:lnTo>
                        <a:pt x="143" y="137"/>
                      </a:lnTo>
                      <a:lnTo>
                        <a:pt x="139" y="131"/>
                      </a:lnTo>
                      <a:lnTo>
                        <a:pt x="135" y="128"/>
                      </a:lnTo>
                      <a:lnTo>
                        <a:pt x="132" y="127"/>
                      </a:lnTo>
                      <a:lnTo>
                        <a:pt x="125" y="126"/>
                      </a:lnTo>
                      <a:lnTo>
                        <a:pt x="123" y="125"/>
                      </a:lnTo>
                      <a:lnTo>
                        <a:pt x="121" y="123"/>
                      </a:lnTo>
                      <a:lnTo>
                        <a:pt x="118" y="116"/>
                      </a:lnTo>
                      <a:lnTo>
                        <a:pt x="116" y="109"/>
                      </a:lnTo>
                      <a:lnTo>
                        <a:pt x="116" y="102"/>
                      </a:lnTo>
                      <a:lnTo>
                        <a:pt x="113" y="95"/>
                      </a:lnTo>
                      <a:lnTo>
                        <a:pt x="108" y="89"/>
                      </a:lnTo>
                      <a:lnTo>
                        <a:pt x="101" y="85"/>
                      </a:lnTo>
                      <a:lnTo>
                        <a:pt x="94" y="83"/>
                      </a:lnTo>
                      <a:lnTo>
                        <a:pt x="90" y="80"/>
                      </a:lnTo>
                      <a:lnTo>
                        <a:pt x="89" y="80"/>
                      </a:lnTo>
                      <a:lnTo>
                        <a:pt x="86" y="82"/>
                      </a:lnTo>
                      <a:lnTo>
                        <a:pt x="81" y="83"/>
                      </a:lnTo>
                      <a:lnTo>
                        <a:pt x="71" y="83"/>
                      </a:lnTo>
                      <a:lnTo>
                        <a:pt x="66" y="82"/>
                      </a:lnTo>
                      <a:lnTo>
                        <a:pt x="63" y="79"/>
                      </a:lnTo>
                      <a:lnTo>
                        <a:pt x="66" y="80"/>
                      </a:lnTo>
                      <a:lnTo>
                        <a:pt x="69" y="82"/>
                      </a:lnTo>
                      <a:lnTo>
                        <a:pt x="75" y="80"/>
                      </a:lnTo>
                      <a:lnTo>
                        <a:pt x="81" y="78"/>
                      </a:lnTo>
                      <a:lnTo>
                        <a:pt x="87" y="77"/>
                      </a:lnTo>
                      <a:lnTo>
                        <a:pt x="90" y="75"/>
                      </a:lnTo>
                      <a:lnTo>
                        <a:pt x="91" y="74"/>
                      </a:lnTo>
                      <a:lnTo>
                        <a:pt x="90" y="72"/>
                      </a:lnTo>
                      <a:lnTo>
                        <a:pt x="89" y="69"/>
                      </a:lnTo>
                      <a:lnTo>
                        <a:pt x="85" y="69"/>
                      </a:lnTo>
                      <a:lnTo>
                        <a:pt x="82" y="69"/>
                      </a:lnTo>
                      <a:lnTo>
                        <a:pt x="79" y="70"/>
                      </a:lnTo>
                      <a:lnTo>
                        <a:pt x="76" y="72"/>
                      </a:lnTo>
                      <a:lnTo>
                        <a:pt x="91" y="66"/>
                      </a:lnTo>
                      <a:lnTo>
                        <a:pt x="97" y="61"/>
                      </a:lnTo>
                      <a:lnTo>
                        <a:pt x="102" y="56"/>
                      </a:lnTo>
                      <a:lnTo>
                        <a:pt x="106" y="50"/>
                      </a:lnTo>
                      <a:lnTo>
                        <a:pt x="109" y="43"/>
                      </a:lnTo>
                      <a:lnTo>
                        <a:pt x="113" y="40"/>
                      </a:lnTo>
                      <a:lnTo>
                        <a:pt x="114" y="37"/>
                      </a:lnTo>
                      <a:lnTo>
                        <a:pt x="114" y="35"/>
                      </a:lnTo>
                      <a:lnTo>
                        <a:pt x="111" y="31"/>
                      </a:lnTo>
                      <a:lnTo>
                        <a:pt x="105" y="30"/>
                      </a:lnTo>
                      <a:lnTo>
                        <a:pt x="97" y="30"/>
                      </a:lnTo>
                      <a:lnTo>
                        <a:pt x="91" y="31"/>
                      </a:lnTo>
                      <a:lnTo>
                        <a:pt x="82" y="30"/>
                      </a:lnTo>
                      <a:lnTo>
                        <a:pt x="78" y="30"/>
                      </a:lnTo>
                      <a:lnTo>
                        <a:pt x="74" y="31"/>
                      </a:lnTo>
                      <a:lnTo>
                        <a:pt x="65" y="34"/>
                      </a:lnTo>
                      <a:lnTo>
                        <a:pt x="57" y="36"/>
                      </a:lnTo>
                      <a:lnTo>
                        <a:pt x="59" y="34"/>
                      </a:lnTo>
                      <a:lnTo>
                        <a:pt x="62" y="31"/>
                      </a:lnTo>
                      <a:lnTo>
                        <a:pt x="58" y="31"/>
                      </a:lnTo>
                      <a:lnTo>
                        <a:pt x="53" y="32"/>
                      </a:lnTo>
                      <a:lnTo>
                        <a:pt x="57" y="31"/>
                      </a:lnTo>
                      <a:lnTo>
                        <a:pt x="60" y="30"/>
                      </a:lnTo>
                      <a:lnTo>
                        <a:pt x="64" y="29"/>
                      </a:lnTo>
                      <a:lnTo>
                        <a:pt x="66" y="26"/>
                      </a:lnTo>
                      <a:lnTo>
                        <a:pt x="60" y="26"/>
                      </a:lnTo>
                      <a:lnTo>
                        <a:pt x="58" y="25"/>
                      </a:lnTo>
                      <a:lnTo>
                        <a:pt x="54" y="24"/>
                      </a:lnTo>
                      <a:lnTo>
                        <a:pt x="58" y="25"/>
                      </a:lnTo>
                      <a:lnTo>
                        <a:pt x="60" y="25"/>
                      </a:lnTo>
                      <a:lnTo>
                        <a:pt x="62" y="24"/>
                      </a:lnTo>
                      <a:lnTo>
                        <a:pt x="64" y="21"/>
                      </a:lnTo>
                      <a:lnTo>
                        <a:pt x="70" y="19"/>
                      </a:lnTo>
                      <a:lnTo>
                        <a:pt x="75" y="16"/>
                      </a:lnTo>
                      <a:lnTo>
                        <a:pt x="76" y="15"/>
                      </a:lnTo>
                      <a:lnTo>
                        <a:pt x="79" y="14"/>
                      </a:lnTo>
                      <a:lnTo>
                        <a:pt x="85" y="9"/>
                      </a:lnTo>
                      <a:lnTo>
                        <a:pt x="87" y="7"/>
                      </a:lnTo>
                      <a:lnTo>
                        <a:pt x="89" y="4"/>
                      </a:lnTo>
                      <a:lnTo>
                        <a:pt x="89" y="2"/>
                      </a:lnTo>
                      <a:lnTo>
                        <a:pt x="86" y="0"/>
                      </a:lnTo>
                      <a:lnTo>
                        <a:pt x="81" y="0"/>
                      </a:lnTo>
                      <a:lnTo>
                        <a:pt x="76" y="2"/>
                      </a:lnTo>
                      <a:lnTo>
                        <a:pt x="66" y="4"/>
                      </a:lnTo>
                      <a:lnTo>
                        <a:pt x="62" y="5"/>
                      </a:lnTo>
                      <a:lnTo>
                        <a:pt x="57" y="5"/>
                      </a:lnTo>
                      <a:lnTo>
                        <a:pt x="54" y="4"/>
                      </a:lnTo>
                      <a:lnTo>
                        <a:pt x="53" y="4"/>
                      </a:lnTo>
                      <a:lnTo>
                        <a:pt x="52" y="4"/>
                      </a:lnTo>
                      <a:lnTo>
                        <a:pt x="48" y="7"/>
                      </a:lnTo>
                      <a:lnTo>
                        <a:pt x="49" y="4"/>
                      </a:lnTo>
                      <a:lnTo>
                        <a:pt x="49" y="4"/>
                      </a:lnTo>
                      <a:lnTo>
                        <a:pt x="48" y="4"/>
                      </a:lnTo>
                      <a:lnTo>
                        <a:pt x="47" y="4"/>
                      </a:lnTo>
                      <a:lnTo>
                        <a:pt x="44" y="3"/>
                      </a:lnTo>
                      <a:lnTo>
                        <a:pt x="43" y="2"/>
                      </a:lnTo>
                      <a:lnTo>
                        <a:pt x="42" y="3"/>
                      </a:lnTo>
                      <a:lnTo>
                        <a:pt x="41" y="5"/>
                      </a:lnTo>
                      <a:lnTo>
                        <a:pt x="39" y="9"/>
                      </a:lnTo>
                      <a:lnTo>
                        <a:pt x="38" y="10"/>
                      </a:lnTo>
                      <a:lnTo>
                        <a:pt x="41" y="11"/>
                      </a:lnTo>
                      <a:lnTo>
                        <a:pt x="42" y="13"/>
                      </a:lnTo>
                      <a:lnTo>
                        <a:pt x="37" y="13"/>
                      </a:lnTo>
                      <a:lnTo>
                        <a:pt x="34" y="15"/>
                      </a:lnTo>
                      <a:lnTo>
                        <a:pt x="33" y="18"/>
                      </a:lnTo>
                      <a:lnTo>
                        <a:pt x="32" y="20"/>
                      </a:lnTo>
                      <a:lnTo>
                        <a:pt x="36" y="25"/>
                      </a:lnTo>
                      <a:lnTo>
                        <a:pt x="33" y="25"/>
                      </a:lnTo>
                      <a:lnTo>
                        <a:pt x="30" y="24"/>
                      </a:lnTo>
                      <a:lnTo>
                        <a:pt x="26" y="25"/>
                      </a:lnTo>
                      <a:lnTo>
                        <a:pt x="25" y="27"/>
                      </a:lnTo>
                      <a:lnTo>
                        <a:pt x="25" y="26"/>
                      </a:lnTo>
                      <a:lnTo>
                        <a:pt x="23" y="26"/>
                      </a:lnTo>
                      <a:lnTo>
                        <a:pt x="22" y="27"/>
                      </a:lnTo>
                      <a:lnTo>
                        <a:pt x="21" y="31"/>
                      </a:lnTo>
                      <a:lnTo>
                        <a:pt x="25" y="35"/>
                      </a:lnTo>
                      <a:lnTo>
                        <a:pt x="18" y="35"/>
                      </a:lnTo>
                      <a:lnTo>
                        <a:pt x="20" y="38"/>
                      </a:lnTo>
                      <a:lnTo>
                        <a:pt x="21" y="40"/>
                      </a:lnTo>
                      <a:lnTo>
                        <a:pt x="27" y="40"/>
                      </a:lnTo>
                      <a:lnTo>
                        <a:pt x="21" y="43"/>
                      </a:lnTo>
                      <a:lnTo>
                        <a:pt x="25" y="42"/>
                      </a:lnTo>
                      <a:lnTo>
                        <a:pt x="28" y="45"/>
                      </a:lnTo>
                      <a:lnTo>
                        <a:pt x="25" y="43"/>
                      </a:lnTo>
                      <a:lnTo>
                        <a:pt x="23" y="45"/>
                      </a:lnTo>
                      <a:lnTo>
                        <a:pt x="23" y="47"/>
                      </a:lnTo>
                      <a:lnTo>
                        <a:pt x="27" y="48"/>
                      </a:lnTo>
                      <a:lnTo>
                        <a:pt x="25" y="48"/>
                      </a:lnTo>
                      <a:lnTo>
                        <a:pt x="21" y="50"/>
                      </a:lnTo>
                      <a:lnTo>
                        <a:pt x="20" y="50"/>
                      </a:lnTo>
                      <a:lnTo>
                        <a:pt x="20" y="51"/>
                      </a:lnTo>
                      <a:lnTo>
                        <a:pt x="20" y="51"/>
                      </a:lnTo>
                      <a:lnTo>
                        <a:pt x="22" y="52"/>
                      </a:lnTo>
                      <a:lnTo>
                        <a:pt x="20" y="51"/>
                      </a:lnTo>
                      <a:lnTo>
                        <a:pt x="17" y="52"/>
                      </a:lnTo>
                      <a:lnTo>
                        <a:pt x="17" y="54"/>
                      </a:lnTo>
                      <a:lnTo>
                        <a:pt x="20" y="56"/>
                      </a:lnTo>
                      <a:lnTo>
                        <a:pt x="17" y="57"/>
                      </a:lnTo>
                      <a:lnTo>
                        <a:pt x="16" y="59"/>
                      </a:lnTo>
                      <a:lnTo>
                        <a:pt x="11" y="58"/>
                      </a:lnTo>
                      <a:lnTo>
                        <a:pt x="6" y="61"/>
                      </a:lnTo>
                      <a:lnTo>
                        <a:pt x="10" y="61"/>
                      </a:lnTo>
                      <a:lnTo>
                        <a:pt x="14" y="61"/>
                      </a:lnTo>
                      <a:lnTo>
                        <a:pt x="17" y="61"/>
                      </a:lnTo>
                      <a:lnTo>
                        <a:pt x="21" y="62"/>
                      </a:lnTo>
                      <a:lnTo>
                        <a:pt x="18" y="61"/>
                      </a:lnTo>
                      <a:lnTo>
                        <a:pt x="17" y="62"/>
                      </a:lnTo>
                      <a:lnTo>
                        <a:pt x="15" y="62"/>
                      </a:lnTo>
                      <a:lnTo>
                        <a:pt x="12" y="62"/>
                      </a:lnTo>
                      <a:lnTo>
                        <a:pt x="15" y="66"/>
                      </a:lnTo>
                      <a:lnTo>
                        <a:pt x="16" y="67"/>
                      </a:lnTo>
                      <a:lnTo>
                        <a:pt x="20" y="66"/>
                      </a:lnTo>
                      <a:lnTo>
                        <a:pt x="22" y="64"/>
                      </a:lnTo>
                      <a:lnTo>
                        <a:pt x="30" y="61"/>
                      </a:lnTo>
                      <a:lnTo>
                        <a:pt x="34" y="57"/>
                      </a:lnTo>
                      <a:lnTo>
                        <a:pt x="32" y="61"/>
                      </a:lnTo>
                      <a:lnTo>
                        <a:pt x="33" y="61"/>
                      </a:lnTo>
                      <a:lnTo>
                        <a:pt x="36" y="61"/>
                      </a:lnTo>
                      <a:lnTo>
                        <a:pt x="32" y="62"/>
                      </a:lnTo>
                      <a:lnTo>
                        <a:pt x="28" y="63"/>
                      </a:lnTo>
                      <a:lnTo>
                        <a:pt x="27" y="66"/>
                      </a:lnTo>
                      <a:lnTo>
                        <a:pt x="27" y="66"/>
                      </a:lnTo>
                      <a:lnTo>
                        <a:pt x="30" y="66"/>
                      </a:lnTo>
                      <a:lnTo>
                        <a:pt x="26" y="68"/>
                      </a:lnTo>
                      <a:lnTo>
                        <a:pt x="32" y="68"/>
                      </a:lnTo>
                      <a:lnTo>
                        <a:pt x="31" y="68"/>
                      </a:lnTo>
                      <a:lnTo>
                        <a:pt x="28" y="68"/>
                      </a:lnTo>
                      <a:lnTo>
                        <a:pt x="27" y="68"/>
                      </a:lnTo>
                      <a:lnTo>
                        <a:pt x="26" y="69"/>
                      </a:lnTo>
                      <a:lnTo>
                        <a:pt x="22" y="72"/>
                      </a:lnTo>
                      <a:lnTo>
                        <a:pt x="21" y="74"/>
                      </a:lnTo>
                      <a:lnTo>
                        <a:pt x="21" y="77"/>
                      </a:lnTo>
                      <a:lnTo>
                        <a:pt x="20" y="79"/>
                      </a:lnTo>
                      <a:lnTo>
                        <a:pt x="18" y="83"/>
                      </a:lnTo>
                      <a:lnTo>
                        <a:pt x="17" y="84"/>
                      </a:lnTo>
                      <a:lnTo>
                        <a:pt x="18" y="84"/>
                      </a:lnTo>
                      <a:lnTo>
                        <a:pt x="20" y="82"/>
                      </a:lnTo>
                      <a:lnTo>
                        <a:pt x="18" y="84"/>
                      </a:lnTo>
                      <a:lnTo>
                        <a:pt x="18" y="88"/>
                      </a:lnTo>
                      <a:lnTo>
                        <a:pt x="20" y="89"/>
                      </a:lnTo>
                      <a:lnTo>
                        <a:pt x="22" y="88"/>
                      </a:lnTo>
                      <a:lnTo>
                        <a:pt x="20" y="91"/>
                      </a:lnTo>
                      <a:lnTo>
                        <a:pt x="17" y="94"/>
                      </a:lnTo>
                      <a:lnTo>
                        <a:pt x="14" y="101"/>
                      </a:lnTo>
                      <a:lnTo>
                        <a:pt x="14" y="102"/>
                      </a:lnTo>
                      <a:lnTo>
                        <a:pt x="15" y="104"/>
                      </a:lnTo>
                      <a:lnTo>
                        <a:pt x="17" y="102"/>
                      </a:lnTo>
                      <a:lnTo>
                        <a:pt x="20" y="100"/>
                      </a:lnTo>
                      <a:lnTo>
                        <a:pt x="21" y="96"/>
                      </a:lnTo>
                      <a:lnTo>
                        <a:pt x="22" y="94"/>
                      </a:lnTo>
                      <a:lnTo>
                        <a:pt x="23" y="90"/>
                      </a:lnTo>
                      <a:lnTo>
                        <a:pt x="23" y="86"/>
                      </a:lnTo>
                      <a:lnTo>
                        <a:pt x="25" y="83"/>
                      </a:lnTo>
                      <a:lnTo>
                        <a:pt x="27" y="80"/>
                      </a:lnTo>
                      <a:lnTo>
                        <a:pt x="31" y="78"/>
                      </a:lnTo>
                      <a:lnTo>
                        <a:pt x="34" y="75"/>
                      </a:lnTo>
                      <a:lnTo>
                        <a:pt x="32" y="78"/>
                      </a:lnTo>
                      <a:lnTo>
                        <a:pt x="28" y="79"/>
                      </a:lnTo>
                      <a:lnTo>
                        <a:pt x="27" y="82"/>
                      </a:lnTo>
                      <a:lnTo>
                        <a:pt x="26" y="85"/>
                      </a:lnTo>
                      <a:lnTo>
                        <a:pt x="27" y="86"/>
                      </a:lnTo>
                      <a:lnTo>
                        <a:pt x="30" y="86"/>
                      </a:lnTo>
                      <a:lnTo>
                        <a:pt x="33" y="91"/>
                      </a:lnTo>
                      <a:lnTo>
                        <a:pt x="32" y="88"/>
                      </a:lnTo>
                      <a:lnTo>
                        <a:pt x="30" y="85"/>
                      </a:lnTo>
                      <a:lnTo>
                        <a:pt x="32" y="84"/>
                      </a:lnTo>
                      <a:lnTo>
                        <a:pt x="33" y="84"/>
                      </a:lnTo>
                      <a:lnTo>
                        <a:pt x="34" y="86"/>
                      </a:lnTo>
                      <a:lnTo>
                        <a:pt x="36" y="84"/>
                      </a:lnTo>
                      <a:lnTo>
                        <a:pt x="37" y="80"/>
                      </a:lnTo>
                      <a:lnTo>
                        <a:pt x="37" y="78"/>
                      </a:lnTo>
                      <a:lnTo>
                        <a:pt x="39" y="78"/>
                      </a:lnTo>
                      <a:lnTo>
                        <a:pt x="38" y="80"/>
                      </a:lnTo>
                      <a:lnTo>
                        <a:pt x="39" y="83"/>
                      </a:lnTo>
                      <a:lnTo>
                        <a:pt x="39" y="80"/>
                      </a:lnTo>
                      <a:lnTo>
                        <a:pt x="41" y="82"/>
                      </a:lnTo>
                      <a:lnTo>
                        <a:pt x="42" y="83"/>
                      </a:lnTo>
                      <a:lnTo>
                        <a:pt x="44" y="84"/>
                      </a:lnTo>
                      <a:lnTo>
                        <a:pt x="41" y="84"/>
                      </a:lnTo>
                      <a:lnTo>
                        <a:pt x="38" y="84"/>
                      </a:lnTo>
                      <a:lnTo>
                        <a:pt x="37" y="85"/>
                      </a:lnTo>
                      <a:lnTo>
                        <a:pt x="36" y="89"/>
                      </a:lnTo>
                      <a:lnTo>
                        <a:pt x="37" y="91"/>
                      </a:lnTo>
                      <a:lnTo>
                        <a:pt x="39" y="94"/>
                      </a:lnTo>
                      <a:lnTo>
                        <a:pt x="41" y="96"/>
                      </a:lnTo>
                      <a:lnTo>
                        <a:pt x="42" y="99"/>
                      </a:lnTo>
                      <a:lnTo>
                        <a:pt x="41" y="101"/>
                      </a:lnTo>
                      <a:lnTo>
                        <a:pt x="36" y="106"/>
                      </a:lnTo>
                      <a:lnTo>
                        <a:pt x="32" y="110"/>
                      </a:lnTo>
                      <a:lnTo>
                        <a:pt x="31" y="113"/>
                      </a:lnTo>
                      <a:lnTo>
                        <a:pt x="31" y="116"/>
                      </a:lnTo>
                      <a:lnTo>
                        <a:pt x="30" y="116"/>
                      </a:lnTo>
                      <a:lnTo>
                        <a:pt x="28" y="115"/>
                      </a:lnTo>
                      <a:lnTo>
                        <a:pt x="27" y="113"/>
                      </a:lnTo>
                      <a:lnTo>
                        <a:pt x="26" y="113"/>
                      </a:lnTo>
                      <a:lnTo>
                        <a:pt x="27" y="117"/>
                      </a:lnTo>
                      <a:lnTo>
                        <a:pt x="28" y="120"/>
                      </a:lnTo>
                      <a:lnTo>
                        <a:pt x="31" y="123"/>
                      </a:lnTo>
                      <a:lnTo>
                        <a:pt x="33" y="125"/>
                      </a:lnTo>
                      <a:lnTo>
                        <a:pt x="32" y="121"/>
                      </a:lnTo>
                      <a:lnTo>
                        <a:pt x="33" y="120"/>
                      </a:lnTo>
                      <a:lnTo>
                        <a:pt x="36" y="118"/>
                      </a:lnTo>
                      <a:lnTo>
                        <a:pt x="39" y="120"/>
                      </a:lnTo>
                      <a:lnTo>
                        <a:pt x="43" y="121"/>
                      </a:lnTo>
                      <a:lnTo>
                        <a:pt x="44" y="121"/>
                      </a:lnTo>
                      <a:lnTo>
                        <a:pt x="46" y="120"/>
                      </a:lnTo>
                      <a:lnTo>
                        <a:pt x="46" y="116"/>
                      </a:lnTo>
                      <a:lnTo>
                        <a:pt x="49" y="120"/>
                      </a:lnTo>
                      <a:lnTo>
                        <a:pt x="53" y="120"/>
                      </a:lnTo>
                      <a:lnTo>
                        <a:pt x="57" y="120"/>
                      </a:lnTo>
                      <a:lnTo>
                        <a:pt x="62" y="117"/>
                      </a:lnTo>
                      <a:lnTo>
                        <a:pt x="64" y="117"/>
                      </a:lnTo>
                      <a:lnTo>
                        <a:pt x="65" y="116"/>
                      </a:lnTo>
                      <a:lnTo>
                        <a:pt x="66" y="113"/>
                      </a:lnTo>
                      <a:lnTo>
                        <a:pt x="79" y="115"/>
                      </a:lnTo>
                      <a:lnTo>
                        <a:pt x="71" y="118"/>
                      </a:lnTo>
                      <a:lnTo>
                        <a:pt x="68" y="121"/>
                      </a:lnTo>
                      <a:lnTo>
                        <a:pt x="65" y="123"/>
                      </a:lnTo>
                      <a:lnTo>
                        <a:pt x="65" y="128"/>
                      </a:lnTo>
                      <a:lnTo>
                        <a:pt x="66" y="133"/>
                      </a:lnTo>
                      <a:lnTo>
                        <a:pt x="69" y="137"/>
                      </a:lnTo>
                      <a:lnTo>
                        <a:pt x="70" y="138"/>
                      </a:lnTo>
                      <a:lnTo>
                        <a:pt x="73" y="137"/>
                      </a:lnTo>
                      <a:lnTo>
                        <a:pt x="73" y="141"/>
                      </a:lnTo>
                      <a:lnTo>
                        <a:pt x="74" y="143"/>
                      </a:lnTo>
                      <a:lnTo>
                        <a:pt x="76" y="138"/>
                      </a:lnTo>
                      <a:lnTo>
                        <a:pt x="78" y="139"/>
                      </a:lnTo>
                      <a:lnTo>
                        <a:pt x="79" y="139"/>
                      </a:lnTo>
                      <a:lnTo>
                        <a:pt x="82" y="138"/>
                      </a:lnTo>
                      <a:lnTo>
                        <a:pt x="80" y="142"/>
                      </a:lnTo>
                      <a:lnTo>
                        <a:pt x="79" y="147"/>
                      </a:lnTo>
                      <a:lnTo>
                        <a:pt x="78" y="148"/>
                      </a:lnTo>
                      <a:lnTo>
                        <a:pt x="76" y="150"/>
                      </a:lnTo>
                      <a:lnTo>
                        <a:pt x="76" y="153"/>
                      </a:lnTo>
                      <a:lnTo>
                        <a:pt x="79" y="153"/>
                      </a:lnTo>
                      <a:lnTo>
                        <a:pt x="75" y="157"/>
                      </a:lnTo>
                      <a:lnTo>
                        <a:pt x="75" y="161"/>
                      </a:lnTo>
                      <a:lnTo>
                        <a:pt x="78" y="165"/>
                      </a:lnTo>
                      <a:lnTo>
                        <a:pt x="80" y="165"/>
                      </a:lnTo>
                      <a:lnTo>
                        <a:pt x="82" y="165"/>
                      </a:lnTo>
                      <a:lnTo>
                        <a:pt x="79" y="165"/>
                      </a:lnTo>
                      <a:lnTo>
                        <a:pt x="74" y="164"/>
                      </a:lnTo>
                      <a:lnTo>
                        <a:pt x="71" y="164"/>
                      </a:lnTo>
                      <a:lnTo>
                        <a:pt x="71" y="165"/>
                      </a:lnTo>
                      <a:lnTo>
                        <a:pt x="73" y="169"/>
                      </a:lnTo>
                      <a:lnTo>
                        <a:pt x="66" y="166"/>
                      </a:lnTo>
                      <a:lnTo>
                        <a:pt x="60" y="166"/>
                      </a:lnTo>
                      <a:lnTo>
                        <a:pt x="53" y="168"/>
                      </a:lnTo>
                      <a:lnTo>
                        <a:pt x="47" y="169"/>
                      </a:lnTo>
                      <a:lnTo>
                        <a:pt x="47" y="166"/>
                      </a:lnTo>
                      <a:lnTo>
                        <a:pt x="44" y="164"/>
                      </a:lnTo>
                      <a:lnTo>
                        <a:pt x="41" y="163"/>
                      </a:lnTo>
                      <a:lnTo>
                        <a:pt x="37" y="164"/>
                      </a:lnTo>
                      <a:lnTo>
                        <a:pt x="36" y="166"/>
                      </a:lnTo>
                      <a:lnTo>
                        <a:pt x="38" y="170"/>
                      </a:lnTo>
                      <a:lnTo>
                        <a:pt x="42" y="171"/>
                      </a:lnTo>
                      <a:lnTo>
                        <a:pt x="46" y="169"/>
                      </a:lnTo>
                      <a:lnTo>
                        <a:pt x="38" y="176"/>
                      </a:lnTo>
                      <a:lnTo>
                        <a:pt x="31" y="182"/>
                      </a:lnTo>
                      <a:lnTo>
                        <a:pt x="34" y="182"/>
                      </a:lnTo>
                      <a:lnTo>
                        <a:pt x="38" y="180"/>
                      </a:lnTo>
                      <a:lnTo>
                        <a:pt x="43" y="179"/>
                      </a:lnTo>
                      <a:lnTo>
                        <a:pt x="47" y="180"/>
                      </a:lnTo>
                      <a:lnTo>
                        <a:pt x="47" y="182"/>
                      </a:lnTo>
                      <a:lnTo>
                        <a:pt x="48" y="185"/>
                      </a:lnTo>
                      <a:lnTo>
                        <a:pt x="47" y="187"/>
                      </a:lnTo>
                      <a:lnTo>
                        <a:pt x="47" y="188"/>
                      </a:lnTo>
                      <a:lnTo>
                        <a:pt x="48" y="190"/>
                      </a:lnTo>
                      <a:lnTo>
                        <a:pt x="49" y="191"/>
                      </a:lnTo>
                      <a:lnTo>
                        <a:pt x="47" y="192"/>
                      </a:lnTo>
                      <a:lnTo>
                        <a:pt x="46" y="196"/>
                      </a:lnTo>
                      <a:lnTo>
                        <a:pt x="42" y="200"/>
                      </a:lnTo>
                      <a:lnTo>
                        <a:pt x="37" y="202"/>
                      </a:lnTo>
                      <a:lnTo>
                        <a:pt x="26" y="206"/>
                      </a:lnTo>
                      <a:lnTo>
                        <a:pt x="21" y="208"/>
                      </a:lnTo>
                      <a:lnTo>
                        <a:pt x="16" y="212"/>
                      </a:lnTo>
                      <a:lnTo>
                        <a:pt x="18" y="214"/>
                      </a:lnTo>
                      <a:lnTo>
                        <a:pt x="17" y="217"/>
                      </a:lnTo>
                      <a:lnTo>
                        <a:pt x="22" y="217"/>
                      </a:lnTo>
                      <a:lnTo>
                        <a:pt x="26" y="214"/>
                      </a:lnTo>
                      <a:lnTo>
                        <a:pt x="22" y="217"/>
                      </a:lnTo>
                      <a:lnTo>
                        <a:pt x="18" y="218"/>
                      </a:lnTo>
                      <a:lnTo>
                        <a:pt x="22" y="219"/>
                      </a:lnTo>
                      <a:lnTo>
                        <a:pt x="28" y="219"/>
                      </a:lnTo>
                      <a:lnTo>
                        <a:pt x="33" y="217"/>
                      </a:lnTo>
                      <a:lnTo>
                        <a:pt x="37" y="214"/>
                      </a:lnTo>
                      <a:lnTo>
                        <a:pt x="38" y="217"/>
                      </a:lnTo>
                      <a:lnTo>
                        <a:pt x="41" y="218"/>
                      </a:lnTo>
                      <a:lnTo>
                        <a:pt x="44" y="218"/>
                      </a:lnTo>
                      <a:lnTo>
                        <a:pt x="43" y="219"/>
                      </a:lnTo>
                      <a:lnTo>
                        <a:pt x="39" y="219"/>
                      </a:lnTo>
                      <a:lnTo>
                        <a:pt x="41" y="222"/>
                      </a:lnTo>
                      <a:lnTo>
                        <a:pt x="43" y="222"/>
                      </a:lnTo>
                      <a:lnTo>
                        <a:pt x="47" y="220"/>
                      </a:lnTo>
                      <a:lnTo>
                        <a:pt x="50" y="220"/>
                      </a:lnTo>
                      <a:lnTo>
                        <a:pt x="53" y="222"/>
                      </a:lnTo>
                      <a:lnTo>
                        <a:pt x="55" y="224"/>
                      </a:lnTo>
                      <a:lnTo>
                        <a:pt x="58" y="227"/>
                      </a:lnTo>
                      <a:lnTo>
                        <a:pt x="62" y="228"/>
                      </a:lnTo>
                      <a:lnTo>
                        <a:pt x="65" y="227"/>
                      </a:lnTo>
                      <a:lnTo>
                        <a:pt x="68" y="224"/>
                      </a:lnTo>
                      <a:lnTo>
                        <a:pt x="71" y="223"/>
                      </a:lnTo>
                      <a:lnTo>
                        <a:pt x="80" y="219"/>
                      </a:lnTo>
                      <a:lnTo>
                        <a:pt x="86" y="214"/>
                      </a:lnTo>
                      <a:lnTo>
                        <a:pt x="79" y="222"/>
                      </a:lnTo>
                      <a:lnTo>
                        <a:pt x="70" y="229"/>
                      </a:lnTo>
                      <a:lnTo>
                        <a:pt x="70" y="231"/>
                      </a:lnTo>
                      <a:lnTo>
                        <a:pt x="69" y="233"/>
                      </a:lnTo>
                      <a:lnTo>
                        <a:pt x="68" y="233"/>
                      </a:lnTo>
                      <a:lnTo>
                        <a:pt x="58" y="233"/>
                      </a:lnTo>
                      <a:lnTo>
                        <a:pt x="50" y="231"/>
                      </a:lnTo>
                      <a:lnTo>
                        <a:pt x="46" y="231"/>
                      </a:lnTo>
                      <a:lnTo>
                        <a:pt x="42" y="233"/>
                      </a:lnTo>
                      <a:lnTo>
                        <a:pt x="39" y="236"/>
                      </a:lnTo>
                      <a:lnTo>
                        <a:pt x="36" y="239"/>
                      </a:lnTo>
                      <a:lnTo>
                        <a:pt x="34" y="240"/>
                      </a:lnTo>
                      <a:lnTo>
                        <a:pt x="32" y="239"/>
                      </a:lnTo>
                      <a:lnTo>
                        <a:pt x="32" y="240"/>
                      </a:lnTo>
                      <a:lnTo>
                        <a:pt x="31" y="243"/>
                      </a:lnTo>
                      <a:lnTo>
                        <a:pt x="30" y="245"/>
                      </a:lnTo>
                      <a:lnTo>
                        <a:pt x="27" y="250"/>
                      </a:lnTo>
                      <a:lnTo>
                        <a:pt x="23" y="254"/>
                      </a:lnTo>
                      <a:lnTo>
                        <a:pt x="20" y="254"/>
                      </a:lnTo>
                      <a:lnTo>
                        <a:pt x="18" y="254"/>
                      </a:lnTo>
                      <a:lnTo>
                        <a:pt x="17" y="256"/>
                      </a:lnTo>
                      <a:lnTo>
                        <a:pt x="15" y="259"/>
                      </a:lnTo>
                      <a:lnTo>
                        <a:pt x="12" y="260"/>
                      </a:lnTo>
                      <a:lnTo>
                        <a:pt x="7" y="262"/>
                      </a:lnTo>
                      <a:lnTo>
                        <a:pt x="0" y="267"/>
                      </a:lnTo>
                      <a:lnTo>
                        <a:pt x="0" y="268"/>
                      </a:lnTo>
                      <a:lnTo>
                        <a:pt x="1" y="270"/>
                      </a:lnTo>
                      <a:lnTo>
                        <a:pt x="6" y="268"/>
                      </a:lnTo>
                      <a:lnTo>
                        <a:pt x="9" y="268"/>
                      </a:lnTo>
                      <a:lnTo>
                        <a:pt x="10" y="271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6" name="Freeform 756">
                  <a:extLst>
                    <a:ext uri="{FF2B5EF4-FFF2-40B4-BE49-F238E27FC236}">
                      <a16:creationId xmlns:a16="http://schemas.microsoft.com/office/drawing/2014/main" id="{7487CAED-7B9E-4F11-9321-0C3336606D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4635" y="5556459"/>
                  <a:ext cx="6716" cy="2653"/>
                </a:xfrm>
                <a:custGeom>
                  <a:avLst/>
                  <a:gdLst>
                    <a:gd name="T0" fmla="*/ 3 w 4"/>
                    <a:gd name="T1" fmla="*/ 2 h 2"/>
                    <a:gd name="T2" fmla="*/ 4 w 4"/>
                    <a:gd name="T3" fmla="*/ 1 h 2"/>
                    <a:gd name="T4" fmla="*/ 2 w 4"/>
                    <a:gd name="T5" fmla="*/ 0 h 2"/>
                    <a:gd name="T6" fmla="*/ 0 w 4"/>
                    <a:gd name="T7" fmla="*/ 0 h 2"/>
                    <a:gd name="T8" fmla="*/ 3 w 4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2">
                      <a:moveTo>
                        <a:pt x="3" y="2"/>
                      </a:moveTo>
                      <a:lnTo>
                        <a:pt x="4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3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7" name="Freeform 757">
                  <a:extLst>
                    <a:ext uri="{FF2B5EF4-FFF2-40B4-BE49-F238E27FC236}">
                      <a16:creationId xmlns:a16="http://schemas.microsoft.com/office/drawing/2014/main" id="{657F83EB-3F81-403A-9921-937E2027F2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6873" y="5572371"/>
                  <a:ext cx="17908" cy="15912"/>
                </a:xfrm>
                <a:custGeom>
                  <a:avLst/>
                  <a:gdLst>
                    <a:gd name="T0" fmla="*/ 1 w 16"/>
                    <a:gd name="T1" fmla="*/ 11 h 11"/>
                    <a:gd name="T2" fmla="*/ 8 w 16"/>
                    <a:gd name="T3" fmla="*/ 9 h 11"/>
                    <a:gd name="T4" fmla="*/ 16 w 16"/>
                    <a:gd name="T5" fmla="*/ 7 h 11"/>
                    <a:gd name="T6" fmla="*/ 13 w 16"/>
                    <a:gd name="T7" fmla="*/ 4 h 11"/>
                    <a:gd name="T8" fmla="*/ 8 w 16"/>
                    <a:gd name="T9" fmla="*/ 1 h 11"/>
                    <a:gd name="T10" fmla="*/ 3 w 16"/>
                    <a:gd name="T11" fmla="*/ 0 h 11"/>
                    <a:gd name="T12" fmla="*/ 0 w 16"/>
                    <a:gd name="T13" fmla="*/ 3 h 11"/>
                    <a:gd name="T14" fmla="*/ 6 w 16"/>
                    <a:gd name="T15" fmla="*/ 5 h 11"/>
                    <a:gd name="T16" fmla="*/ 5 w 16"/>
                    <a:gd name="T17" fmla="*/ 6 h 11"/>
                    <a:gd name="T18" fmla="*/ 3 w 16"/>
                    <a:gd name="T19" fmla="*/ 7 h 11"/>
                    <a:gd name="T20" fmla="*/ 3 w 16"/>
                    <a:gd name="T21" fmla="*/ 9 h 11"/>
                    <a:gd name="T22" fmla="*/ 6 w 16"/>
                    <a:gd name="T23" fmla="*/ 9 h 11"/>
                    <a:gd name="T24" fmla="*/ 1 w 16"/>
                    <a:gd name="T25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6" h="11">
                      <a:moveTo>
                        <a:pt x="1" y="11"/>
                      </a:moveTo>
                      <a:lnTo>
                        <a:pt x="8" y="9"/>
                      </a:lnTo>
                      <a:lnTo>
                        <a:pt x="16" y="7"/>
                      </a:lnTo>
                      <a:lnTo>
                        <a:pt x="13" y="4"/>
                      </a:lnTo>
                      <a:lnTo>
                        <a:pt x="8" y="1"/>
                      </a:lnTo>
                      <a:lnTo>
                        <a:pt x="3" y="0"/>
                      </a:lnTo>
                      <a:lnTo>
                        <a:pt x="0" y="3"/>
                      </a:lnTo>
                      <a:lnTo>
                        <a:pt x="6" y="5"/>
                      </a:lnTo>
                      <a:lnTo>
                        <a:pt x="5" y="6"/>
                      </a:lnTo>
                      <a:lnTo>
                        <a:pt x="3" y="7"/>
                      </a:lnTo>
                      <a:lnTo>
                        <a:pt x="3" y="9"/>
                      </a:lnTo>
                      <a:lnTo>
                        <a:pt x="6" y="9"/>
                      </a:lnTo>
                      <a:lnTo>
                        <a:pt x="1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8" name="Freeform 758">
                  <a:extLst>
                    <a:ext uri="{FF2B5EF4-FFF2-40B4-BE49-F238E27FC236}">
                      <a16:creationId xmlns:a16="http://schemas.microsoft.com/office/drawing/2014/main" id="{1D37BF6A-A769-4CD2-B0BF-F9242C06F1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31350" y="5590936"/>
                  <a:ext cx="11193" cy="15912"/>
                </a:xfrm>
                <a:custGeom>
                  <a:avLst/>
                  <a:gdLst>
                    <a:gd name="T0" fmla="*/ 3 w 10"/>
                    <a:gd name="T1" fmla="*/ 11 h 11"/>
                    <a:gd name="T2" fmla="*/ 8 w 10"/>
                    <a:gd name="T3" fmla="*/ 6 h 11"/>
                    <a:gd name="T4" fmla="*/ 10 w 10"/>
                    <a:gd name="T5" fmla="*/ 0 h 11"/>
                    <a:gd name="T6" fmla="*/ 5 w 10"/>
                    <a:gd name="T7" fmla="*/ 4 h 11"/>
                    <a:gd name="T8" fmla="*/ 0 w 10"/>
                    <a:gd name="T9" fmla="*/ 8 h 11"/>
                    <a:gd name="T10" fmla="*/ 3 w 10"/>
                    <a:gd name="T11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" h="11">
                      <a:moveTo>
                        <a:pt x="3" y="11"/>
                      </a:moveTo>
                      <a:lnTo>
                        <a:pt x="8" y="6"/>
                      </a:lnTo>
                      <a:lnTo>
                        <a:pt x="10" y="0"/>
                      </a:lnTo>
                      <a:lnTo>
                        <a:pt x="5" y="4"/>
                      </a:lnTo>
                      <a:lnTo>
                        <a:pt x="0" y="8"/>
                      </a:lnTo>
                      <a:lnTo>
                        <a:pt x="3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9" name="Freeform 759">
                  <a:extLst>
                    <a:ext uri="{FF2B5EF4-FFF2-40B4-BE49-F238E27FC236}">
                      <a16:creationId xmlns:a16="http://schemas.microsoft.com/office/drawing/2014/main" id="{BA0A78F5-EB7E-47E1-B0EC-D126636816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38066" y="5537895"/>
                  <a:ext cx="0" cy="5304"/>
                </a:xfrm>
                <a:custGeom>
                  <a:avLst/>
                  <a:gdLst>
                    <a:gd name="T0" fmla="*/ 0 w 1"/>
                    <a:gd name="T1" fmla="*/ 5 h 5"/>
                    <a:gd name="T2" fmla="*/ 1 w 1"/>
                    <a:gd name="T3" fmla="*/ 0 h 5"/>
                    <a:gd name="T4" fmla="*/ 0 w 1"/>
                    <a:gd name="T5" fmla="*/ 2 h 5"/>
                    <a:gd name="T6" fmla="*/ 0 w 1"/>
                    <a:gd name="T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5">
                      <a:moveTo>
                        <a:pt x="0" y="5"/>
                      </a:move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0" name="Freeform 760">
                  <a:extLst>
                    <a:ext uri="{FF2B5EF4-FFF2-40B4-BE49-F238E27FC236}">
                      <a16:creationId xmlns:a16="http://schemas.microsoft.com/office/drawing/2014/main" id="{62A2CF5C-3233-4BC1-B4A0-148CDBA7FF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49258" y="5609500"/>
                  <a:ext cx="6716" cy="10609"/>
                </a:xfrm>
                <a:custGeom>
                  <a:avLst/>
                  <a:gdLst>
                    <a:gd name="T0" fmla="*/ 5 w 8"/>
                    <a:gd name="T1" fmla="*/ 9 h 9"/>
                    <a:gd name="T2" fmla="*/ 7 w 8"/>
                    <a:gd name="T3" fmla="*/ 6 h 9"/>
                    <a:gd name="T4" fmla="*/ 8 w 8"/>
                    <a:gd name="T5" fmla="*/ 4 h 9"/>
                    <a:gd name="T6" fmla="*/ 7 w 8"/>
                    <a:gd name="T7" fmla="*/ 2 h 9"/>
                    <a:gd name="T8" fmla="*/ 3 w 8"/>
                    <a:gd name="T9" fmla="*/ 0 h 9"/>
                    <a:gd name="T10" fmla="*/ 2 w 8"/>
                    <a:gd name="T11" fmla="*/ 2 h 9"/>
                    <a:gd name="T12" fmla="*/ 0 w 8"/>
                    <a:gd name="T13" fmla="*/ 5 h 9"/>
                    <a:gd name="T14" fmla="*/ 3 w 8"/>
                    <a:gd name="T15" fmla="*/ 8 h 9"/>
                    <a:gd name="T16" fmla="*/ 5 w 8"/>
                    <a:gd name="T17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" h="9">
                      <a:moveTo>
                        <a:pt x="5" y="9"/>
                      </a:moveTo>
                      <a:lnTo>
                        <a:pt x="7" y="6"/>
                      </a:lnTo>
                      <a:lnTo>
                        <a:pt x="8" y="4"/>
                      </a:lnTo>
                      <a:lnTo>
                        <a:pt x="7" y="2"/>
                      </a:lnTo>
                      <a:lnTo>
                        <a:pt x="3" y="0"/>
                      </a:lnTo>
                      <a:lnTo>
                        <a:pt x="2" y="2"/>
                      </a:lnTo>
                      <a:lnTo>
                        <a:pt x="0" y="5"/>
                      </a:lnTo>
                      <a:lnTo>
                        <a:pt x="3" y="8"/>
                      </a:lnTo>
                      <a:lnTo>
                        <a:pt x="5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1" name="Freeform 761">
                  <a:extLst>
                    <a:ext uri="{FF2B5EF4-FFF2-40B4-BE49-F238E27FC236}">
                      <a16:creationId xmlns:a16="http://schemas.microsoft.com/office/drawing/2014/main" id="{6E01A2F4-CF37-4E70-8BC5-05A016A100B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4176" y="5476897"/>
                  <a:ext cx="2240" cy="7957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2 h 5"/>
                    <a:gd name="T4" fmla="*/ 0 w 3"/>
                    <a:gd name="T5" fmla="*/ 0 h 5"/>
                    <a:gd name="T6" fmla="*/ 0 w 3"/>
                    <a:gd name="T7" fmla="*/ 3 h 5"/>
                    <a:gd name="T8" fmla="*/ 3 w 3"/>
                    <a:gd name="T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2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2" name="Freeform 762">
                  <a:extLst>
                    <a:ext uri="{FF2B5EF4-FFF2-40B4-BE49-F238E27FC236}">
                      <a16:creationId xmlns:a16="http://schemas.microsoft.com/office/drawing/2014/main" id="{7817BE54-5E13-4B97-A447-0B298DD2E0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6414" y="5468941"/>
                  <a:ext cx="15670" cy="10609"/>
                </a:xfrm>
                <a:custGeom>
                  <a:avLst/>
                  <a:gdLst>
                    <a:gd name="T0" fmla="*/ 1 w 13"/>
                    <a:gd name="T1" fmla="*/ 5 h 7"/>
                    <a:gd name="T2" fmla="*/ 3 w 13"/>
                    <a:gd name="T3" fmla="*/ 7 h 7"/>
                    <a:gd name="T4" fmla="*/ 7 w 13"/>
                    <a:gd name="T5" fmla="*/ 7 h 7"/>
                    <a:gd name="T6" fmla="*/ 11 w 13"/>
                    <a:gd name="T7" fmla="*/ 7 h 7"/>
                    <a:gd name="T8" fmla="*/ 13 w 13"/>
                    <a:gd name="T9" fmla="*/ 5 h 7"/>
                    <a:gd name="T10" fmla="*/ 8 w 13"/>
                    <a:gd name="T11" fmla="*/ 5 h 7"/>
                    <a:gd name="T12" fmla="*/ 6 w 13"/>
                    <a:gd name="T13" fmla="*/ 3 h 7"/>
                    <a:gd name="T14" fmla="*/ 5 w 13"/>
                    <a:gd name="T15" fmla="*/ 1 h 7"/>
                    <a:gd name="T16" fmla="*/ 3 w 13"/>
                    <a:gd name="T17" fmla="*/ 0 h 7"/>
                    <a:gd name="T18" fmla="*/ 1 w 13"/>
                    <a:gd name="T19" fmla="*/ 1 h 7"/>
                    <a:gd name="T20" fmla="*/ 0 w 13"/>
                    <a:gd name="T21" fmla="*/ 2 h 7"/>
                    <a:gd name="T22" fmla="*/ 1 w 13"/>
                    <a:gd name="T23" fmla="*/ 5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3" h="7">
                      <a:moveTo>
                        <a:pt x="1" y="5"/>
                      </a:moveTo>
                      <a:lnTo>
                        <a:pt x="3" y="7"/>
                      </a:lnTo>
                      <a:lnTo>
                        <a:pt x="7" y="7"/>
                      </a:lnTo>
                      <a:lnTo>
                        <a:pt x="11" y="7"/>
                      </a:lnTo>
                      <a:lnTo>
                        <a:pt x="13" y="5"/>
                      </a:lnTo>
                      <a:lnTo>
                        <a:pt x="8" y="5"/>
                      </a:lnTo>
                      <a:lnTo>
                        <a:pt x="6" y="3"/>
                      </a:lnTo>
                      <a:lnTo>
                        <a:pt x="5" y="1"/>
                      </a:lnTo>
                      <a:lnTo>
                        <a:pt x="3" y="0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1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3" name="Freeform 763">
                  <a:extLst>
                    <a:ext uri="{FF2B5EF4-FFF2-40B4-BE49-F238E27FC236}">
                      <a16:creationId xmlns:a16="http://schemas.microsoft.com/office/drawing/2014/main" id="{801C18F0-F12E-4CFF-84F1-CB220358C5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23129" y="5482201"/>
                  <a:ext cx="2240" cy="2653"/>
                </a:xfrm>
                <a:custGeom>
                  <a:avLst/>
                  <a:gdLst>
                    <a:gd name="T0" fmla="*/ 1 w 2"/>
                    <a:gd name="T1" fmla="*/ 3 h 3"/>
                    <a:gd name="T2" fmla="*/ 2 w 2"/>
                    <a:gd name="T3" fmla="*/ 0 h 3"/>
                    <a:gd name="T4" fmla="*/ 0 w 2"/>
                    <a:gd name="T5" fmla="*/ 0 h 3"/>
                    <a:gd name="T6" fmla="*/ 1 w 2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3">
                      <a:moveTo>
                        <a:pt x="1" y="3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1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4" name="Freeform 764">
                  <a:extLst>
                    <a:ext uri="{FF2B5EF4-FFF2-40B4-BE49-F238E27FC236}">
                      <a16:creationId xmlns:a16="http://schemas.microsoft.com/office/drawing/2014/main" id="{90B6DD7A-1D12-4DDB-994E-3B7D7EB0AB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25368" y="5460985"/>
                  <a:ext cx="2240" cy="5304"/>
                </a:xfrm>
                <a:custGeom>
                  <a:avLst/>
                  <a:gdLst>
                    <a:gd name="T0" fmla="*/ 3 w 3"/>
                    <a:gd name="T1" fmla="*/ 4 h 4"/>
                    <a:gd name="T2" fmla="*/ 2 w 3"/>
                    <a:gd name="T3" fmla="*/ 2 h 4"/>
                    <a:gd name="T4" fmla="*/ 0 w 3"/>
                    <a:gd name="T5" fmla="*/ 0 h 4"/>
                    <a:gd name="T6" fmla="*/ 0 w 3"/>
                    <a:gd name="T7" fmla="*/ 3 h 4"/>
                    <a:gd name="T8" fmla="*/ 3 w 3"/>
                    <a:gd name="T9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4">
                      <a:moveTo>
                        <a:pt x="3" y="4"/>
                      </a:moveTo>
                      <a:lnTo>
                        <a:pt x="2" y="2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5" name="Freeform 765">
                  <a:extLst>
                    <a:ext uri="{FF2B5EF4-FFF2-40B4-BE49-F238E27FC236}">
                      <a16:creationId xmlns:a16="http://schemas.microsoft.com/office/drawing/2014/main" id="{97B66C05-4389-438C-A5E1-0244490733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32084" y="5463637"/>
                  <a:ext cx="6716" cy="5304"/>
                </a:xfrm>
                <a:custGeom>
                  <a:avLst/>
                  <a:gdLst>
                    <a:gd name="T0" fmla="*/ 0 w 5"/>
                    <a:gd name="T1" fmla="*/ 2 h 2"/>
                    <a:gd name="T2" fmla="*/ 5 w 5"/>
                    <a:gd name="T3" fmla="*/ 0 h 2"/>
                    <a:gd name="T4" fmla="*/ 3 w 5"/>
                    <a:gd name="T5" fmla="*/ 0 h 2"/>
                    <a:gd name="T6" fmla="*/ 0 w 5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2">
                      <a:moveTo>
                        <a:pt x="0" y="2"/>
                      </a:moveTo>
                      <a:lnTo>
                        <a:pt x="5" y="0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6" name="Freeform 766">
                  <a:extLst>
                    <a:ext uri="{FF2B5EF4-FFF2-40B4-BE49-F238E27FC236}">
                      <a16:creationId xmlns:a16="http://schemas.microsoft.com/office/drawing/2014/main" id="{03D3DEE1-7E0B-490E-9947-ABB96160F0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63422" y="5410595"/>
                  <a:ext cx="15670" cy="29174"/>
                </a:xfrm>
                <a:custGeom>
                  <a:avLst/>
                  <a:gdLst>
                    <a:gd name="T0" fmla="*/ 8 w 14"/>
                    <a:gd name="T1" fmla="*/ 19 h 21"/>
                    <a:gd name="T2" fmla="*/ 7 w 14"/>
                    <a:gd name="T3" fmla="*/ 21 h 21"/>
                    <a:gd name="T4" fmla="*/ 9 w 14"/>
                    <a:gd name="T5" fmla="*/ 20 h 21"/>
                    <a:gd name="T6" fmla="*/ 12 w 14"/>
                    <a:gd name="T7" fmla="*/ 16 h 21"/>
                    <a:gd name="T8" fmla="*/ 13 w 14"/>
                    <a:gd name="T9" fmla="*/ 11 h 21"/>
                    <a:gd name="T10" fmla="*/ 14 w 14"/>
                    <a:gd name="T11" fmla="*/ 8 h 21"/>
                    <a:gd name="T12" fmla="*/ 12 w 14"/>
                    <a:gd name="T13" fmla="*/ 7 h 21"/>
                    <a:gd name="T14" fmla="*/ 12 w 14"/>
                    <a:gd name="T15" fmla="*/ 4 h 21"/>
                    <a:gd name="T16" fmla="*/ 9 w 14"/>
                    <a:gd name="T17" fmla="*/ 5 h 21"/>
                    <a:gd name="T18" fmla="*/ 10 w 14"/>
                    <a:gd name="T19" fmla="*/ 0 h 21"/>
                    <a:gd name="T20" fmla="*/ 8 w 14"/>
                    <a:gd name="T21" fmla="*/ 0 h 21"/>
                    <a:gd name="T22" fmla="*/ 7 w 14"/>
                    <a:gd name="T23" fmla="*/ 2 h 21"/>
                    <a:gd name="T24" fmla="*/ 5 w 14"/>
                    <a:gd name="T25" fmla="*/ 3 h 21"/>
                    <a:gd name="T26" fmla="*/ 4 w 14"/>
                    <a:gd name="T27" fmla="*/ 3 h 21"/>
                    <a:gd name="T28" fmla="*/ 9 w 14"/>
                    <a:gd name="T29" fmla="*/ 8 h 21"/>
                    <a:gd name="T30" fmla="*/ 5 w 14"/>
                    <a:gd name="T31" fmla="*/ 9 h 21"/>
                    <a:gd name="T32" fmla="*/ 0 w 14"/>
                    <a:gd name="T33" fmla="*/ 10 h 21"/>
                    <a:gd name="T34" fmla="*/ 2 w 14"/>
                    <a:gd name="T35" fmla="*/ 11 h 21"/>
                    <a:gd name="T36" fmla="*/ 2 w 14"/>
                    <a:gd name="T37" fmla="*/ 13 h 21"/>
                    <a:gd name="T38" fmla="*/ 3 w 14"/>
                    <a:gd name="T39" fmla="*/ 11 h 21"/>
                    <a:gd name="T40" fmla="*/ 5 w 14"/>
                    <a:gd name="T41" fmla="*/ 13 h 21"/>
                    <a:gd name="T42" fmla="*/ 9 w 14"/>
                    <a:gd name="T43" fmla="*/ 15 h 21"/>
                    <a:gd name="T44" fmla="*/ 9 w 14"/>
                    <a:gd name="T45" fmla="*/ 16 h 21"/>
                    <a:gd name="T46" fmla="*/ 8 w 14"/>
                    <a:gd name="T47" fmla="*/ 19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4" h="21">
                      <a:moveTo>
                        <a:pt x="8" y="19"/>
                      </a:moveTo>
                      <a:lnTo>
                        <a:pt x="7" y="21"/>
                      </a:lnTo>
                      <a:lnTo>
                        <a:pt x="9" y="20"/>
                      </a:lnTo>
                      <a:lnTo>
                        <a:pt x="12" y="16"/>
                      </a:lnTo>
                      <a:lnTo>
                        <a:pt x="13" y="11"/>
                      </a:lnTo>
                      <a:lnTo>
                        <a:pt x="14" y="8"/>
                      </a:lnTo>
                      <a:lnTo>
                        <a:pt x="12" y="7"/>
                      </a:lnTo>
                      <a:lnTo>
                        <a:pt x="12" y="4"/>
                      </a:lnTo>
                      <a:lnTo>
                        <a:pt x="9" y="5"/>
                      </a:lnTo>
                      <a:lnTo>
                        <a:pt x="10" y="0"/>
                      </a:lnTo>
                      <a:lnTo>
                        <a:pt x="8" y="0"/>
                      </a:lnTo>
                      <a:lnTo>
                        <a:pt x="7" y="2"/>
                      </a:lnTo>
                      <a:lnTo>
                        <a:pt x="5" y="3"/>
                      </a:lnTo>
                      <a:lnTo>
                        <a:pt x="4" y="3"/>
                      </a:lnTo>
                      <a:lnTo>
                        <a:pt x="9" y="8"/>
                      </a:lnTo>
                      <a:lnTo>
                        <a:pt x="5" y="9"/>
                      </a:lnTo>
                      <a:lnTo>
                        <a:pt x="0" y="10"/>
                      </a:lnTo>
                      <a:lnTo>
                        <a:pt x="2" y="11"/>
                      </a:lnTo>
                      <a:lnTo>
                        <a:pt x="2" y="13"/>
                      </a:lnTo>
                      <a:lnTo>
                        <a:pt x="3" y="11"/>
                      </a:lnTo>
                      <a:lnTo>
                        <a:pt x="5" y="13"/>
                      </a:lnTo>
                      <a:lnTo>
                        <a:pt x="9" y="15"/>
                      </a:lnTo>
                      <a:lnTo>
                        <a:pt x="9" y="16"/>
                      </a:lnTo>
                      <a:lnTo>
                        <a:pt x="8" y="1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7" name="Freeform 767">
                  <a:extLst>
                    <a:ext uri="{FF2B5EF4-FFF2-40B4-BE49-F238E27FC236}">
                      <a16:creationId xmlns:a16="http://schemas.microsoft.com/office/drawing/2014/main" id="{DB1A780E-FBA1-45EE-B914-D10A15A6B9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79092" y="5407943"/>
                  <a:ext cx="2240" cy="7957"/>
                </a:xfrm>
                <a:custGeom>
                  <a:avLst/>
                  <a:gdLst>
                    <a:gd name="T0" fmla="*/ 0 w 2"/>
                    <a:gd name="T1" fmla="*/ 6 h 6"/>
                    <a:gd name="T2" fmla="*/ 1 w 2"/>
                    <a:gd name="T3" fmla="*/ 5 h 6"/>
                    <a:gd name="T4" fmla="*/ 2 w 2"/>
                    <a:gd name="T5" fmla="*/ 2 h 6"/>
                    <a:gd name="T6" fmla="*/ 2 w 2"/>
                    <a:gd name="T7" fmla="*/ 1 h 6"/>
                    <a:gd name="T8" fmla="*/ 0 w 2"/>
                    <a:gd name="T9" fmla="*/ 0 h 6"/>
                    <a:gd name="T10" fmla="*/ 0 w 2"/>
                    <a:gd name="T11" fmla="*/ 4 h 6"/>
                    <a:gd name="T12" fmla="*/ 0 w 2"/>
                    <a:gd name="T1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6">
                      <a:moveTo>
                        <a:pt x="0" y="6"/>
                      </a:moveTo>
                      <a:lnTo>
                        <a:pt x="1" y="5"/>
                      </a:ln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8" name="Freeform 768">
                  <a:extLst>
                    <a:ext uri="{FF2B5EF4-FFF2-40B4-BE49-F238E27FC236}">
                      <a16:creationId xmlns:a16="http://schemas.microsoft.com/office/drawing/2014/main" id="{95C8E254-CFC8-4C5B-93BA-534558D62B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81331" y="5405291"/>
                  <a:ext cx="4477" cy="5304"/>
                </a:xfrm>
                <a:custGeom>
                  <a:avLst/>
                  <a:gdLst>
                    <a:gd name="T0" fmla="*/ 2 w 3"/>
                    <a:gd name="T1" fmla="*/ 4 h 4"/>
                    <a:gd name="T2" fmla="*/ 3 w 3"/>
                    <a:gd name="T3" fmla="*/ 2 h 4"/>
                    <a:gd name="T4" fmla="*/ 3 w 3"/>
                    <a:gd name="T5" fmla="*/ 0 h 4"/>
                    <a:gd name="T6" fmla="*/ 1 w 3"/>
                    <a:gd name="T7" fmla="*/ 0 h 4"/>
                    <a:gd name="T8" fmla="*/ 0 w 3"/>
                    <a:gd name="T9" fmla="*/ 3 h 4"/>
                    <a:gd name="T10" fmla="*/ 1 w 3"/>
                    <a:gd name="T11" fmla="*/ 3 h 4"/>
                    <a:gd name="T12" fmla="*/ 2 w 3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" h="4">
                      <a:moveTo>
                        <a:pt x="2" y="4"/>
                      </a:moveTo>
                      <a:lnTo>
                        <a:pt x="3" y="2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2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9" name="Freeform 769">
                  <a:extLst>
                    <a:ext uri="{FF2B5EF4-FFF2-40B4-BE49-F238E27FC236}">
                      <a16:creationId xmlns:a16="http://schemas.microsoft.com/office/drawing/2014/main" id="{941955A9-4FB3-4FA5-9A72-ADE68C838A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83569" y="5410595"/>
                  <a:ext cx="4477" cy="2653"/>
                </a:xfrm>
                <a:custGeom>
                  <a:avLst/>
                  <a:gdLst>
                    <a:gd name="T0" fmla="*/ 0 w 4"/>
                    <a:gd name="T1" fmla="*/ 2 h 2"/>
                    <a:gd name="T2" fmla="*/ 4 w 4"/>
                    <a:gd name="T3" fmla="*/ 0 h 2"/>
                    <a:gd name="T4" fmla="*/ 0 w 4"/>
                    <a:gd name="T5" fmla="*/ 0 h 2"/>
                    <a:gd name="T6" fmla="*/ 0 w 4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0" y="2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0" name="Freeform 770">
                  <a:extLst>
                    <a:ext uri="{FF2B5EF4-FFF2-40B4-BE49-F238E27FC236}">
                      <a16:creationId xmlns:a16="http://schemas.microsoft.com/office/drawing/2014/main" id="{6E52DDFB-E315-4302-B773-6297752BD6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41038" y="5816362"/>
                  <a:ext cx="13431" cy="7957"/>
                </a:xfrm>
                <a:custGeom>
                  <a:avLst/>
                  <a:gdLst>
                    <a:gd name="T0" fmla="*/ 6 w 12"/>
                    <a:gd name="T1" fmla="*/ 5 h 5"/>
                    <a:gd name="T2" fmla="*/ 10 w 12"/>
                    <a:gd name="T3" fmla="*/ 4 h 5"/>
                    <a:gd name="T4" fmla="*/ 12 w 12"/>
                    <a:gd name="T5" fmla="*/ 2 h 5"/>
                    <a:gd name="T6" fmla="*/ 6 w 12"/>
                    <a:gd name="T7" fmla="*/ 0 h 5"/>
                    <a:gd name="T8" fmla="*/ 0 w 12"/>
                    <a:gd name="T9" fmla="*/ 3 h 5"/>
                    <a:gd name="T10" fmla="*/ 6 w 12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" h="5">
                      <a:moveTo>
                        <a:pt x="6" y="5"/>
                      </a:moveTo>
                      <a:lnTo>
                        <a:pt x="10" y="4"/>
                      </a:lnTo>
                      <a:lnTo>
                        <a:pt x="12" y="2"/>
                      </a:lnTo>
                      <a:lnTo>
                        <a:pt x="6" y="0"/>
                      </a:lnTo>
                      <a:lnTo>
                        <a:pt x="0" y="3"/>
                      </a:lnTo>
                      <a:lnTo>
                        <a:pt x="6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1" name="Freeform 775">
                  <a:extLst>
                    <a:ext uri="{FF2B5EF4-FFF2-40B4-BE49-F238E27FC236}">
                      <a16:creationId xmlns:a16="http://schemas.microsoft.com/office/drawing/2014/main" id="{2D8723CB-8F7D-466B-B464-54C85439C4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59717" y="5638673"/>
                  <a:ext cx="2240" cy="2653"/>
                </a:xfrm>
                <a:custGeom>
                  <a:avLst/>
                  <a:gdLst>
                    <a:gd name="T0" fmla="*/ 0 w 1"/>
                    <a:gd name="T1" fmla="*/ 0 h 2"/>
                    <a:gd name="T2" fmla="*/ 0 w 1"/>
                    <a:gd name="T3" fmla="*/ 2 h 2"/>
                    <a:gd name="T4" fmla="*/ 1 w 1"/>
                    <a:gd name="T5" fmla="*/ 0 h 2"/>
                    <a:gd name="T6" fmla="*/ 1 w 1"/>
                    <a:gd name="T7" fmla="*/ 0 h 2"/>
                    <a:gd name="T8" fmla="*/ 0 w 1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" h="2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2" name="Freeform 776">
                  <a:extLst>
                    <a:ext uri="{FF2B5EF4-FFF2-40B4-BE49-F238E27FC236}">
                      <a16:creationId xmlns:a16="http://schemas.microsoft.com/office/drawing/2014/main" id="{78A8DDF0-F1B6-4FB0-9E11-A4DE12B49D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0470" y="5681107"/>
                  <a:ext cx="6716" cy="2653"/>
                </a:xfrm>
                <a:custGeom>
                  <a:avLst/>
                  <a:gdLst>
                    <a:gd name="T0" fmla="*/ 6 w 8"/>
                    <a:gd name="T1" fmla="*/ 3 h 3"/>
                    <a:gd name="T2" fmla="*/ 8 w 8"/>
                    <a:gd name="T3" fmla="*/ 2 h 3"/>
                    <a:gd name="T4" fmla="*/ 6 w 8"/>
                    <a:gd name="T5" fmla="*/ 0 h 3"/>
                    <a:gd name="T6" fmla="*/ 3 w 8"/>
                    <a:gd name="T7" fmla="*/ 0 h 3"/>
                    <a:gd name="T8" fmla="*/ 0 w 8"/>
                    <a:gd name="T9" fmla="*/ 0 h 3"/>
                    <a:gd name="T10" fmla="*/ 4 w 8"/>
                    <a:gd name="T11" fmla="*/ 2 h 3"/>
                    <a:gd name="T12" fmla="*/ 6 w 8"/>
                    <a:gd name="T13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3">
                      <a:moveTo>
                        <a:pt x="6" y="3"/>
                      </a:moveTo>
                      <a:lnTo>
                        <a:pt x="8" y="2"/>
                      </a:lnTo>
                      <a:lnTo>
                        <a:pt x="6" y="0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4" y="2"/>
                      </a:lnTo>
                      <a:lnTo>
                        <a:pt x="6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3" name="Freeform 777">
                  <a:extLst>
                    <a:ext uri="{FF2B5EF4-FFF2-40B4-BE49-F238E27FC236}">
                      <a16:creationId xmlns:a16="http://schemas.microsoft.com/office/drawing/2014/main" id="{809591D4-A199-42C2-9FDB-64664D7DE7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4802" y="5625412"/>
                  <a:ext cx="127596" cy="161777"/>
                </a:xfrm>
                <a:custGeom>
                  <a:avLst/>
                  <a:gdLst>
                    <a:gd name="T0" fmla="*/ 16 w 113"/>
                    <a:gd name="T1" fmla="*/ 109 h 120"/>
                    <a:gd name="T2" fmla="*/ 6 w 113"/>
                    <a:gd name="T3" fmla="*/ 112 h 120"/>
                    <a:gd name="T4" fmla="*/ 6 w 113"/>
                    <a:gd name="T5" fmla="*/ 103 h 120"/>
                    <a:gd name="T6" fmla="*/ 9 w 113"/>
                    <a:gd name="T7" fmla="*/ 99 h 120"/>
                    <a:gd name="T8" fmla="*/ 6 w 113"/>
                    <a:gd name="T9" fmla="*/ 96 h 120"/>
                    <a:gd name="T10" fmla="*/ 13 w 113"/>
                    <a:gd name="T11" fmla="*/ 91 h 120"/>
                    <a:gd name="T12" fmla="*/ 26 w 113"/>
                    <a:gd name="T13" fmla="*/ 86 h 120"/>
                    <a:gd name="T14" fmla="*/ 39 w 113"/>
                    <a:gd name="T15" fmla="*/ 80 h 120"/>
                    <a:gd name="T16" fmla="*/ 16 w 113"/>
                    <a:gd name="T17" fmla="*/ 86 h 120"/>
                    <a:gd name="T18" fmla="*/ 29 w 113"/>
                    <a:gd name="T19" fmla="*/ 75 h 120"/>
                    <a:gd name="T20" fmla="*/ 34 w 113"/>
                    <a:gd name="T21" fmla="*/ 68 h 120"/>
                    <a:gd name="T22" fmla="*/ 24 w 113"/>
                    <a:gd name="T23" fmla="*/ 64 h 120"/>
                    <a:gd name="T24" fmla="*/ 17 w 113"/>
                    <a:gd name="T25" fmla="*/ 60 h 120"/>
                    <a:gd name="T26" fmla="*/ 13 w 113"/>
                    <a:gd name="T27" fmla="*/ 55 h 120"/>
                    <a:gd name="T28" fmla="*/ 17 w 113"/>
                    <a:gd name="T29" fmla="*/ 53 h 120"/>
                    <a:gd name="T30" fmla="*/ 20 w 113"/>
                    <a:gd name="T31" fmla="*/ 50 h 120"/>
                    <a:gd name="T32" fmla="*/ 29 w 113"/>
                    <a:gd name="T33" fmla="*/ 46 h 120"/>
                    <a:gd name="T34" fmla="*/ 22 w 113"/>
                    <a:gd name="T35" fmla="*/ 44 h 120"/>
                    <a:gd name="T36" fmla="*/ 21 w 113"/>
                    <a:gd name="T37" fmla="*/ 43 h 120"/>
                    <a:gd name="T38" fmla="*/ 22 w 113"/>
                    <a:gd name="T39" fmla="*/ 38 h 120"/>
                    <a:gd name="T40" fmla="*/ 17 w 113"/>
                    <a:gd name="T41" fmla="*/ 37 h 120"/>
                    <a:gd name="T42" fmla="*/ 27 w 113"/>
                    <a:gd name="T43" fmla="*/ 32 h 120"/>
                    <a:gd name="T44" fmla="*/ 40 w 113"/>
                    <a:gd name="T45" fmla="*/ 37 h 120"/>
                    <a:gd name="T46" fmla="*/ 52 w 113"/>
                    <a:gd name="T47" fmla="*/ 33 h 120"/>
                    <a:gd name="T48" fmla="*/ 56 w 113"/>
                    <a:gd name="T49" fmla="*/ 28 h 120"/>
                    <a:gd name="T50" fmla="*/ 58 w 113"/>
                    <a:gd name="T51" fmla="*/ 22 h 120"/>
                    <a:gd name="T52" fmla="*/ 59 w 113"/>
                    <a:gd name="T53" fmla="*/ 17 h 120"/>
                    <a:gd name="T54" fmla="*/ 60 w 113"/>
                    <a:gd name="T55" fmla="*/ 12 h 120"/>
                    <a:gd name="T56" fmla="*/ 71 w 113"/>
                    <a:gd name="T57" fmla="*/ 5 h 120"/>
                    <a:gd name="T58" fmla="*/ 81 w 113"/>
                    <a:gd name="T59" fmla="*/ 2 h 120"/>
                    <a:gd name="T60" fmla="*/ 80 w 113"/>
                    <a:gd name="T61" fmla="*/ 9 h 120"/>
                    <a:gd name="T62" fmla="*/ 82 w 113"/>
                    <a:gd name="T63" fmla="*/ 2 h 120"/>
                    <a:gd name="T64" fmla="*/ 97 w 113"/>
                    <a:gd name="T65" fmla="*/ 1 h 120"/>
                    <a:gd name="T66" fmla="*/ 85 w 113"/>
                    <a:gd name="T67" fmla="*/ 11 h 120"/>
                    <a:gd name="T68" fmla="*/ 72 w 113"/>
                    <a:gd name="T69" fmla="*/ 18 h 120"/>
                    <a:gd name="T70" fmla="*/ 68 w 113"/>
                    <a:gd name="T71" fmla="*/ 27 h 120"/>
                    <a:gd name="T72" fmla="*/ 80 w 113"/>
                    <a:gd name="T73" fmla="*/ 35 h 120"/>
                    <a:gd name="T74" fmla="*/ 88 w 113"/>
                    <a:gd name="T75" fmla="*/ 29 h 120"/>
                    <a:gd name="T76" fmla="*/ 98 w 113"/>
                    <a:gd name="T77" fmla="*/ 32 h 120"/>
                    <a:gd name="T78" fmla="*/ 103 w 113"/>
                    <a:gd name="T79" fmla="*/ 39 h 120"/>
                    <a:gd name="T80" fmla="*/ 113 w 113"/>
                    <a:gd name="T81" fmla="*/ 39 h 120"/>
                    <a:gd name="T82" fmla="*/ 108 w 113"/>
                    <a:gd name="T83" fmla="*/ 45 h 120"/>
                    <a:gd name="T84" fmla="*/ 112 w 113"/>
                    <a:gd name="T85" fmla="*/ 55 h 120"/>
                    <a:gd name="T86" fmla="*/ 112 w 113"/>
                    <a:gd name="T87" fmla="*/ 66 h 120"/>
                    <a:gd name="T88" fmla="*/ 107 w 113"/>
                    <a:gd name="T89" fmla="*/ 84 h 120"/>
                    <a:gd name="T90" fmla="*/ 102 w 113"/>
                    <a:gd name="T91" fmla="*/ 93 h 120"/>
                    <a:gd name="T92" fmla="*/ 93 w 113"/>
                    <a:gd name="T93" fmla="*/ 98 h 120"/>
                    <a:gd name="T94" fmla="*/ 87 w 113"/>
                    <a:gd name="T95" fmla="*/ 97 h 120"/>
                    <a:gd name="T96" fmla="*/ 72 w 113"/>
                    <a:gd name="T97" fmla="*/ 100 h 120"/>
                    <a:gd name="T98" fmla="*/ 66 w 113"/>
                    <a:gd name="T99" fmla="*/ 104 h 120"/>
                    <a:gd name="T100" fmla="*/ 54 w 113"/>
                    <a:gd name="T101" fmla="*/ 110 h 120"/>
                    <a:gd name="T102" fmla="*/ 49 w 113"/>
                    <a:gd name="T103" fmla="*/ 108 h 120"/>
                    <a:gd name="T104" fmla="*/ 49 w 113"/>
                    <a:gd name="T105" fmla="*/ 113 h 120"/>
                    <a:gd name="T106" fmla="*/ 42 w 113"/>
                    <a:gd name="T107" fmla="*/ 115 h 120"/>
                    <a:gd name="T108" fmla="*/ 18 w 113"/>
                    <a:gd name="T109" fmla="*/ 120 h 120"/>
                    <a:gd name="T110" fmla="*/ 18 w 113"/>
                    <a:gd name="T111" fmla="*/ 115 h 120"/>
                    <a:gd name="T112" fmla="*/ 12 w 113"/>
                    <a:gd name="T113" fmla="*/ 115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13" h="120">
                      <a:moveTo>
                        <a:pt x="9" y="116"/>
                      </a:moveTo>
                      <a:lnTo>
                        <a:pt x="6" y="116"/>
                      </a:lnTo>
                      <a:lnTo>
                        <a:pt x="12" y="112"/>
                      </a:lnTo>
                      <a:lnTo>
                        <a:pt x="16" y="109"/>
                      </a:lnTo>
                      <a:lnTo>
                        <a:pt x="18" y="109"/>
                      </a:lnTo>
                      <a:lnTo>
                        <a:pt x="15" y="109"/>
                      </a:lnTo>
                      <a:lnTo>
                        <a:pt x="10" y="110"/>
                      </a:lnTo>
                      <a:lnTo>
                        <a:pt x="6" y="112"/>
                      </a:lnTo>
                      <a:lnTo>
                        <a:pt x="2" y="110"/>
                      </a:lnTo>
                      <a:lnTo>
                        <a:pt x="1" y="109"/>
                      </a:lnTo>
                      <a:lnTo>
                        <a:pt x="1" y="107"/>
                      </a:lnTo>
                      <a:lnTo>
                        <a:pt x="6" y="103"/>
                      </a:lnTo>
                      <a:lnTo>
                        <a:pt x="12" y="100"/>
                      </a:lnTo>
                      <a:lnTo>
                        <a:pt x="16" y="99"/>
                      </a:lnTo>
                      <a:lnTo>
                        <a:pt x="12" y="99"/>
                      </a:lnTo>
                      <a:lnTo>
                        <a:pt x="9" y="99"/>
                      </a:lnTo>
                      <a:lnTo>
                        <a:pt x="0" y="100"/>
                      </a:lnTo>
                      <a:lnTo>
                        <a:pt x="0" y="98"/>
                      </a:lnTo>
                      <a:lnTo>
                        <a:pt x="1" y="97"/>
                      </a:lnTo>
                      <a:lnTo>
                        <a:pt x="6" y="96"/>
                      </a:lnTo>
                      <a:lnTo>
                        <a:pt x="10" y="94"/>
                      </a:lnTo>
                      <a:lnTo>
                        <a:pt x="13" y="96"/>
                      </a:lnTo>
                      <a:lnTo>
                        <a:pt x="17" y="96"/>
                      </a:lnTo>
                      <a:lnTo>
                        <a:pt x="13" y="91"/>
                      </a:lnTo>
                      <a:lnTo>
                        <a:pt x="17" y="89"/>
                      </a:lnTo>
                      <a:lnTo>
                        <a:pt x="20" y="88"/>
                      </a:lnTo>
                      <a:lnTo>
                        <a:pt x="23" y="86"/>
                      </a:lnTo>
                      <a:lnTo>
                        <a:pt x="26" y="86"/>
                      </a:lnTo>
                      <a:lnTo>
                        <a:pt x="36" y="84"/>
                      </a:lnTo>
                      <a:lnTo>
                        <a:pt x="44" y="82"/>
                      </a:lnTo>
                      <a:lnTo>
                        <a:pt x="42" y="82"/>
                      </a:lnTo>
                      <a:lnTo>
                        <a:pt x="39" y="80"/>
                      </a:lnTo>
                      <a:lnTo>
                        <a:pt x="34" y="82"/>
                      </a:lnTo>
                      <a:lnTo>
                        <a:pt x="28" y="83"/>
                      </a:lnTo>
                      <a:lnTo>
                        <a:pt x="23" y="84"/>
                      </a:lnTo>
                      <a:lnTo>
                        <a:pt x="16" y="86"/>
                      </a:lnTo>
                      <a:lnTo>
                        <a:pt x="20" y="83"/>
                      </a:lnTo>
                      <a:lnTo>
                        <a:pt x="24" y="81"/>
                      </a:lnTo>
                      <a:lnTo>
                        <a:pt x="29" y="77"/>
                      </a:lnTo>
                      <a:lnTo>
                        <a:pt x="29" y="75"/>
                      </a:lnTo>
                      <a:lnTo>
                        <a:pt x="29" y="73"/>
                      </a:lnTo>
                      <a:lnTo>
                        <a:pt x="29" y="72"/>
                      </a:lnTo>
                      <a:lnTo>
                        <a:pt x="31" y="70"/>
                      </a:lnTo>
                      <a:lnTo>
                        <a:pt x="34" y="68"/>
                      </a:lnTo>
                      <a:lnTo>
                        <a:pt x="39" y="67"/>
                      </a:lnTo>
                      <a:lnTo>
                        <a:pt x="43" y="65"/>
                      </a:lnTo>
                      <a:lnTo>
                        <a:pt x="28" y="65"/>
                      </a:lnTo>
                      <a:lnTo>
                        <a:pt x="24" y="64"/>
                      </a:lnTo>
                      <a:lnTo>
                        <a:pt x="20" y="62"/>
                      </a:lnTo>
                      <a:lnTo>
                        <a:pt x="21" y="59"/>
                      </a:lnTo>
                      <a:lnTo>
                        <a:pt x="18" y="59"/>
                      </a:lnTo>
                      <a:lnTo>
                        <a:pt x="17" y="60"/>
                      </a:lnTo>
                      <a:lnTo>
                        <a:pt x="15" y="60"/>
                      </a:lnTo>
                      <a:lnTo>
                        <a:pt x="13" y="60"/>
                      </a:lnTo>
                      <a:lnTo>
                        <a:pt x="16" y="57"/>
                      </a:lnTo>
                      <a:lnTo>
                        <a:pt x="13" y="55"/>
                      </a:lnTo>
                      <a:lnTo>
                        <a:pt x="15" y="55"/>
                      </a:lnTo>
                      <a:lnTo>
                        <a:pt x="16" y="55"/>
                      </a:lnTo>
                      <a:lnTo>
                        <a:pt x="16" y="54"/>
                      </a:lnTo>
                      <a:lnTo>
                        <a:pt x="17" y="53"/>
                      </a:lnTo>
                      <a:lnTo>
                        <a:pt x="21" y="53"/>
                      </a:lnTo>
                      <a:lnTo>
                        <a:pt x="24" y="53"/>
                      </a:lnTo>
                      <a:lnTo>
                        <a:pt x="21" y="51"/>
                      </a:lnTo>
                      <a:lnTo>
                        <a:pt x="20" y="50"/>
                      </a:lnTo>
                      <a:lnTo>
                        <a:pt x="21" y="49"/>
                      </a:lnTo>
                      <a:lnTo>
                        <a:pt x="24" y="48"/>
                      </a:lnTo>
                      <a:lnTo>
                        <a:pt x="27" y="48"/>
                      </a:lnTo>
                      <a:lnTo>
                        <a:pt x="29" y="46"/>
                      </a:lnTo>
                      <a:lnTo>
                        <a:pt x="29" y="45"/>
                      </a:lnTo>
                      <a:lnTo>
                        <a:pt x="28" y="45"/>
                      </a:lnTo>
                      <a:lnTo>
                        <a:pt x="26" y="45"/>
                      </a:lnTo>
                      <a:lnTo>
                        <a:pt x="22" y="44"/>
                      </a:lnTo>
                      <a:lnTo>
                        <a:pt x="21" y="44"/>
                      </a:lnTo>
                      <a:lnTo>
                        <a:pt x="20" y="45"/>
                      </a:lnTo>
                      <a:lnTo>
                        <a:pt x="20" y="44"/>
                      </a:lnTo>
                      <a:lnTo>
                        <a:pt x="21" y="43"/>
                      </a:lnTo>
                      <a:lnTo>
                        <a:pt x="23" y="44"/>
                      </a:lnTo>
                      <a:lnTo>
                        <a:pt x="22" y="41"/>
                      </a:lnTo>
                      <a:lnTo>
                        <a:pt x="22" y="39"/>
                      </a:lnTo>
                      <a:lnTo>
                        <a:pt x="22" y="38"/>
                      </a:lnTo>
                      <a:lnTo>
                        <a:pt x="20" y="39"/>
                      </a:lnTo>
                      <a:lnTo>
                        <a:pt x="21" y="37"/>
                      </a:lnTo>
                      <a:lnTo>
                        <a:pt x="20" y="34"/>
                      </a:lnTo>
                      <a:lnTo>
                        <a:pt x="17" y="37"/>
                      </a:lnTo>
                      <a:lnTo>
                        <a:pt x="20" y="32"/>
                      </a:lnTo>
                      <a:lnTo>
                        <a:pt x="21" y="33"/>
                      </a:lnTo>
                      <a:lnTo>
                        <a:pt x="23" y="33"/>
                      </a:lnTo>
                      <a:lnTo>
                        <a:pt x="27" y="32"/>
                      </a:lnTo>
                      <a:lnTo>
                        <a:pt x="31" y="30"/>
                      </a:lnTo>
                      <a:lnTo>
                        <a:pt x="37" y="32"/>
                      </a:lnTo>
                      <a:lnTo>
                        <a:pt x="39" y="33"/>
                      </a:lnTo>
                      <a:lnTo>
                        <a:pt x="40" y="37"/>
                      </a:lnTo>
                      <a:lnTo>
                        <a:pt x="42" y="34"/>
                      </a:lnTo>
                      <a:lnTo>
                        <a:pt x="43" y="33"/>
                      </a:lnTo>
                      <a:lnTo>
                        <a:pt x="47" y="33"/>
                      </a:lnTo>
                      <a:lnTo>
                        <a:pt x="52" y="33"/>
                      </a:lnTo>
                      <a:lnTo>
                        <a:pt x="54" y="33"/>
                      </a:lnTo>
                      <a:lnTo>
                        <a:pt x="56" y="32"/>
                      </a:lnTo>
                      <a:lnTo>
                        <a:pt x="53" y="30"/>
                      </a:lnTo>
                      <a:lnTo>
                        <a:pt x="56" y="28"/>
                      </a:lnTo>
                      <a:lnTo>
                        <a:pt x="60" y="27"/>
                      </a:lnTo>
                      <a:lnTo>
                        <a:pt x="64" y="24"/>
                      </a:lnTo>
                      <a:lnTo>
                        <a:pt x="65" y="22"/>
                      </a:lnTo>
                      <a:lnTo>
                        <a:pt x="58" y="22"/>
                      </a:lnTo>
                      <a:lnTo>
                        <a:pt x="55" y="22"/>
                      </a:lnTo>
                      <a:lnTo>
                        <a:pt x="52" y="21"/>
                      </a:lnTo>
                      <a:lnTo>
                        <a:pt x="54" y="17"/>
                      </a:lnTo>
                      <a:lnTo>
                        <a:pt x="59" y="17"/>
                      </a:lnTo>
                      <a:lnTo>
                        <a:pt x="58" y="14"/>
                      </a:lnTo>
                      <a:lnTo>
                        <a:pt x="59" y="14"/>
                      </a:lnTo>
                      <a:lnTo>
                        <a:pt x="61" y="14"/>
                      </a:lnTo>
                      <a:lnTo>
                        <a:pt x="60" y="12"/>
                      </a:lnTo>
                      <a:lnTo>
                        <a:pt x="61" y="9"/>
                      </a:lnTo>
                      <a:lnTo>
                        <a:pt x="64" y="6"/>
                      </a:lnTo>
                      <a:lnTo>
                        <a:pt x="68" y="5"/>
                      </a:lnTo>
                      <a:lnTo>
                        <a:pt x="71" y="5"/>
                      </a:lnTo>
                      <a:lnTo>
                        <a:pt x="79" y="5"/>
                      </a:lnTo>
                      <a:lnTo>
                        <a:pt x="77" y="2"/>
                      </a:lnTo>
                      <a:lnTo>
                        <a:pt x="79" y="1"/>
                      </a:lnTo>
                      <a:lnTo>
                        <a:pt x="81" y="2"/>
                      </a:lnTo>
                      <a:lnTo>
                        <a:pt x="82" y="5"/>
                      </a:lnTo>
                      <a:lnTo>
                        <a:pt x="82" y="6"/>
                      </a:lnTo>
                      <a:lnTo>
                        <a:pt x="81" y="7"/>
                      </a:lnTo>
                      <a:lnTo>
                        <a:pt x="80" y="9"/>
                      </a:lnTo>
                      <a:lnTo>
                        <a:pt x="82" y="8"/>
                      </a:lnTo>
                      <a:lnTo>
                        <a:pt x="85" y="7"/>
                      </a:lnTo>
                      <a:lnTo>
                        <a:pt x="85" y="5"/>
                      </a:lnTo>
                      <a:lnTo>
                        <a:pt x="82" y="2"/>
                      </a:lnTo>
                      <a:lnTo>
                        <a:pt x="87" y="0"/>
                      </a:lnTo>
                      <a:lnTo>
                        <a:pt x="90" y="0"/>
                      </a:lnTo>
                      <a:lnTo>
                        <a:pt x="93" y="1"/>
                      </a:lnTo>
                      <a:lnTo>
                        <a:pt x="97" y="1"/>
                      </a:lnTo>
                      <a:lnTo>
                        <a:pt x="95" y="3"/>
                      </a:lnTo>
                      <a:lnTo>
                        <a:pt x="91" y="6"/>
                      </a:lnTo>
                      <a:lnTo>
                        <a:pt x="87" y="8"/>
                      </a:lnTo>
                      <a:lnTo>
                        <a:pt x="85" y="11"/>
                      </a:lnTo>
                      <a:lnTo>
                        <a:pt x="84" y="14"/>
                      </a:lnTo>
                      <a:lnTo>
                        <a:pt x="81" y="17"/>
                      </a:lnTo>
                      <a:lnTo>
                        <a:pt x="77" y="19"/>
                      </a:lnTo>
                      <a:lnTo>
                        <a:pt x="72" y="18"/>
                      </a:lnTo>
                      <a:lnTo>
                        <a:pt x="76" y="22"/>
                      </a:lnTo>
                      <a:lnTo>
                        <a:pt x="72" y="23"/>
                      </a:lnTo>
                      <a:lnTo>
                        <a:pt x="69" y="24"/>
                      </a:lnTo>
                      <a:lnTo>
                        <a:pt x="68" y="27"/>
                      </a:lnTo>
                      <a:lnTo>
                        <a:pt x="68" y="28"/>
                      </a:lnTo>
                      <a:lnTo>
                        <a:pt x="70" y="30"/>
                      </a:lnTo>
                      <a:lnTo>
                        <a:pt x="75" y="33"/>
                      </a:lnTo>
                      <a:lnTo>
                        <a:pt x="80" y="35"/>
                      </a:lnTo>
                      <a:lnTo>
                        <a:pt x="85" y="37"/>
                      </a:lnTo>
                      <a:lnTo>
                        <a:pt x="86" y="35"/>
                      </a:lnTo>
                      <a:lnTo>
                        <a:pt x="87" y="33"/>
                      </a:lnTo>
                      <a:lnTo>
                        <a:pt x="88" y="29"/>
                      </a:lnTo>
                      <a:lnTo>
                        <a:pt x="90" y="28"/>
                      </a:lnTo>
                      <a:lnTo>
                        <a:pt x="93" y="29"/>
                      </a:lnTo>
                      <a:lnTo>
                        <a:pt x="96" y="30"/>
                      </a:lnTo>
                      <a:lnTo>
                        <a:pt x="98" y="32"/>
                      </a:lnTo>
                      <a:lnTo>
                        <a:pt x="100" y="34"/>
                      </a:lnTo>
                      <a:lnTo>
                        <a:pt x="101" y="35"/>
                      </a:lnTo>
                      <a:lnTo>
                        <a:pt x="102" y="38"/>
                      </a:lnTo>
                      <a:lnTo>
                        <a:pt x="103" y="39"/>
                      </a:lnTo>
                      <a:lnTo>
                        <a:pt x="107" y="39"/>
                      </a:lnTo>
                      <a:lnTo>
                        <a:pt x="109" y="38"/>
                      </a:lnTo>
                      <a:lnTo>
                        <a:pt x="111" y="38"/>
                      </a:lnTo>
                      <a:lnTo>
                        <a:pt x="113" y="39"/>
                      </a:lnTo>
                      <a:lnTo>
                        <a:pt x="111" y="40"/>
                      </a:lnTo>
                      <a:lnTo>
                        <a:pt x="107" y="43"/>
                      </a:lnTo>
                      <a:lnTo>
                        <a:pt x="107" y="43"/>
                      </a:lnTo>
                      <a:lnTo>
                        <a:pt x="108" y="45"/>
                      </a:lnTo>
                      <a:lnTo>
                        <a:pt x="109" y="46"/>
                      </a:lnTo>
                      <a:lnTo>
                        <a:pt x="109" y="49"/>
                      </a:lnTo>
                      <a:lnTo>
                        <a:pt x="111" y="51"/>
                      </a:lnTo>
                      <a:lnTo>
                        <a:pt x="112" y="55"/>
                      </a:lnTo>
                      <a:lnTo>
                        <a:pt x="112" y="59"/>
                      </a:lnTo>
                      <a:lnTo>
                        <a:pt x="111" y="60"/>
                      </a:lnTo>
                      <a:lnTo>
                        <a:pt x="109" y="61"/>
                      </a:lnTo>
                      <a:lnTo>
                        <a:pt x="112" y="66"/>
                      </a:lnTo>
                      <a:lnTo>
                        <a:pt x="112" y="71"/>
                      </a:lnTo>
                      <a:lnTo>
                        <a:pt x="111" y="76"/>
                      </a:lnTo>
                      <a:lnTo>
                        <a:pt x="108" y="81"/>
                      </a:lnTo>
                      <a:lnTo>
                        <a:pt x="107" y="84"/>
                      </a:lnTo>
                      <a:lnTo>
                        <a:pt x="106" y="88"/>
                      </a:lnTo>
                      <a:lnTo>
                        <a:pt x="103" y="92"/>
                      </a:lnTo>
                      <a:lnTo>
                        <a:pt x="100" y="92"/>
                      </a:lnTo>
                      <a:lnTo>
                        <a:pt x="102" y="93"/>
                      </a:lnTo>
                      <a:lnTo>
                        <a:pt x="102" y="96"/>
                      </a:lnTo>
                      <a:lnTo>
                        <a:pt x="100" y="97"/>
                      </a:lnTo>
                      <a:lnTo>
                        <a:pt x="97" y="98"/>
                      </a:lnTo>
                      <a:lnTo>
                        <a:pt x="93" y="98"/>
                      </a:lnTo>
                      <a:lnTo>
                        <a:pt x="91" y="98"/>
                      </a:lnTo>
                      <a:lnTo>
                        <a:pt x="88" y="97"/>
                      </a:lnTo>
                      <a:lnTo>
                        <a:pt x="86" y="94"/>
                      </a:lnTo>
                      <a:lnTo>
                        <a:pt x="87" y="97"/>
                      </a:lnTo>
                      <a:lnTo>
                        <a:pt x="86" y="98"/>
                      </a:lnTo>
                      <a:lnTo>
                        <a:pt x="81" y="99"/>
                      </a:lnTo>
                      <a:lnTo>
                        <a:pt x="76" y="99"/>
                      </a:lnTo>
                      <a:lnTo>
                        <a:pt x="72" y="100"/>
                      </a:lnTo>
                      <a:lnTo>
                        <a:pt x="70" y="102"/>
                      </a:lnTo>
                      <a:lnTo>
                        <a:pt x="70" y="103"/>
                      </a:lnTo>
                      <a:lnTo>
                        <a:pt x="69" y="104"/>
                      </a:lnTo>
                      <a:lnTo>
                        <a:pt x="66" y="104"/>
                      </a:lnTo>
                      <a:lnTo>
                        <a:pt x="63" y="105"/>
                      </a:lnTo>
                      <a:lnTo>
                        <a:pt x="60" y="108"/>
                      </a:lnTo>
                      <a:lnTo>
                        <a:pt x="58" y="109"/>
                      </a:lnTo>
                      <a:lnTo>
                        <a:pt x="54" y="110"/>
                      </a:lnTo>
                      <a:lnTo>
                        <a:pt x="55" y="108"/>
                      </a:lnTo>
                      <a:lnTo>
                        <a:pt x="54" y="107"/>
                      </a:lnTo>
                      <a:lnTo>
                        <a:pt x="52" y="107"/>
                      </a:lnTo>
                      <a:lnTo>
                        <a:pt x="49" y="108"/>
                      </a:lnTo>
                      <a:lnTo>
                        <a:pt x="52" y="108"/>
                      </a:lnTo>
                      <a:lnTo>
                        <a:pt x="52" y="109"/>
                      </a:lnTo>
                      <a:lnTo>
                        <a:pt x="52" y="112"/>
                      </a:lnTo>
                      <a:lnTo>
                        <a:pt x="49" y="113"/>
                      </a:lnTo>
                      <a:lnTo>
                        <a:pt x="47" y="114"/>
                      </a:lnTo>
                      <a:lnTo>
                        <a:pt x="45" y="115"/>
                      </a:lnTo>
                      <a:lnTo>
                        <a:pt x="44" y="115"/>
                      </a:lnTo>
                      <a:lnTo>
                        <a:pt x="42" y="115"/>
                      </a:lnTo>
                      <a:lnTo>
                        <a:pt x="36" y="118"/>
                      </a:lnTo>
                      <a:lnTo>
                        <a:pt x="29" y="119"/>
                      </a:lnTo>
                      <a:lnTo>
                        <a:pt x="22" y="119"/>
                      </a:lnTo>
                      <a:lnTo>
                        <a:pt x="18" y="120"/>
                      </a:lnTo>
                      <a:lnTo>
                        <a:pt x="15" y="120"/>
                      </a:lnTo>
                      <a:lnTo>
                        <a:pt x="20" y="116"/>
                      </a:lnTo>
                      <a:lnTo>
                        <a:pt x="15" y="118"/>
                      </a:lnTo>
                      <a:lnTo>
                        <a:pt x="18" y="115"/>
                      </a:lnTo>
                      <a:lnTo>
                        <a:pt x="23" y="114"/>
                      </a:lnTo>
                      <a:lnTo>
                        <a:pt x="20" y="113"/>
                      </a:lnTo>
                      <a:lnTo>
                        <a:pt x="16" y="114"/>
                      </a:lnTo>
                      <a:lnTo>
                        <a:pt x="12" y="115"/>
                      </a:lnTo>
                      <a:lnTo>
                        <a:pt x="9" y="116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5" name="Freeform 782">
                  <a:extLst>
                    <a:ext uri="{FF2B5EF4-FFF2-40B4-BE49-F238E27FC236}">
                      <a16:creationId xmlns:a16="http://schemas.microsoft.com/office/drawing/2014/main" id="{437BEA61-5408-4284-AE35-56E31C59BB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88007" y="6543030"/>
                  <a:ext cx="8954" cy="13261"/>
                </a:xfrm>
                <a:custGeom>
                  <a:avLst/>
                  <a:gdLst>
                    <a:gd name="T0" fmla="*/ 5 w 8"/>
                    <a:gd name="T1" fmla="*/ 8 h 8"/>
                    <a:gd name="T2" fmla="*/ 3 w 8"/>
                    <a:gd name="T3" fmla="*/ 7 h 8"/>
                    <a:gd name="T4" fmla="*/ 2 w 8"/>
                    <a:gd name="T5" fmla="*/ 6 h 8"/>
                    <a:gd name="T6" fmla="*/ 1 w 8"/>
                    <a:gd name="T7" fmla="*/ 6 h 8"/>
                    <a:gd name="T8" fmla="*/ 1 w 8"/>
                    <a:gd name="T9" fmla="*/ 6 h 8"/>
                    <a:gd name="T10" fmla="*/ 0 w 8"/>
                    <a:gd name="T11" fmla="*/ 3 h 8"/>
                    <a:gd name="T12" fmla="*/ 0 w 8"/>
                    <a:gd name="T13" fmla="*/ 1 h 8"/>
                    <a:gd name="T14" fmla="*/ 5 w 8"/>
                    <a:gd name="T15" fmla="*/ 0 h 8"/>
                    <a:gd name="T16" fmla="*/ 8 w 8"/>
                    <a:gd name="T17" fmla="*/ 1 h 8"/>
                    <a:gd name="T18" fmla="*/ 8 w 8"/>
                    <a:gd name="T19" fmla="*/ 3 h 8"/>
                    <a:gd name="T20" fmla="*/ 7 w 8"/>
                    <a:gd name="T21" fmla="*/ 6 h 8"/>
                    <a:gd name="T22" fmla="*/ 5 w 8"/>
                    <a:gd name="T2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" h="8">
                      <a:moveTo>
                        <a:pt x="5" y="8"/>
                      </a:moveTo>
                      <a:lnTo>
                        <a:pt x="3" y="7"/>
                      </a:lnTo>
                      <a:lnTo>
                        <a:pt x="2" y="6"/>
                      </a:lnTo>
                      <a:lnTo>
                        <a:pt x="1" y="6"/>
                      </a:lnTo>
                      <a:lnTo>
                        <a:pt x="1" y="6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5" y="0"/>
                      </a:lnTo>
                      <a:lnTo>
                        <a:pt x="8" y="1"/>
                      </a:lnTo>
                      <a:lnTo>
                        <a:pt x="8" y="3"/>
                      </a:lnTo>
                      <a:lnTo>
                        <a:pt x="7" y="6"/>
                      </a:lnTo>
                      <a:lnTo>
                        <a:pt x="5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6" name="Freeform 783">
                  <a:extLst>
                    <a:ext uri="{FF2B5EF4-FFF2-40B4-BE49-F238E27FC236}">
                      <a16:creationId xmlns:a16="http://schemas.microsoft.com/office/drawing/2014/main" id="{AE2C2569-7055-4D6F-8B72-776C4EBBDE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82025" y="5646629"/>
                  <a:ext cx="282053" cy="243991"/>
                </a:xfrm>
                <a:custGeom>
                  <a:avLst/>
                  <a:gdLst>
                    <a:gd name="T0" fmla="*/ 6 w 252"/>
                    <a:gd name="T1" fmla="*/ 52 h 185"/>
                    <a:gd name="T2" fmla="*/ 3 w 252"/>
                    <a:gd name="T3" fmla="*/ 40 h 185"/>
                    <a:gd name="T4" fmla="*/ 8 w 252"/>
                    <a:gd name="T5" fmla="*/ 37 h 185"/>
                    <a:gd name="T6" fmla="*/ 10 w 252"/>
                    <a:gd name="T7" fmla="*/ 32 h 185"/>
                    <a:gd name="T8" fmla="*/ 3 w 252"/>
                    <a:gd name="T9" fmla="*/ 32 h 185"/>
                    <a:gd name="T10" fmla="*/ 13 w 252"/>
                    <a:gd name="T11" fmla="*/ 29 h 185"/>
                    <a:gd name="T12" fmla="*/ 38 w 252"/>
                    <a:gd name="T13" fmla="*/ 21 h 185"/>
                    <a:gd name="T14" fmla="*/ 63 w 252"/>
                    <a:gd name="T15" fmla="*/ 8 h 185"/>
                    <a:gd name="T16" fmla="*/ 95 w 252"/>
                    <a:gd name="T17" fmla="*/ 0 h 185"/>
                    <a:gd name="T18" fmla="*/ 102 w 252"/>
                    <a:gd name="T19" fmla="*/ 4 h 185"/>
                    <a:gd name="T20" fmla="*/ 117 w 252"/>
                    <a:gd name="T21" fmla="*/ 16 h 185"/>
                    <a:gd name="T22" fmla="*/ 125 w 252"/>
                    <a:gd name="T23" fmla="*/ 16 h 185"/>
                    <a:gd name="T24" fmla="*/ 131 w 252"/>
                    <a:gd name="T25" fmla="*/ 16 h 185"/>
                    <a:gd name="T26" fmla="*/ 160 w 252"/>
                    <a:gd name="T27" fmla="*/ 15 h 185"/>
                    <a:gd name="T28" fmla="*/ 213 w 252"/>
                    <a:gd name="T29" fmla="*/ 16 h 185"/>
                    <a:gd name="T30" fmla="*/ 230 w 252"/>
                    <a:gd name="T31" fmla="*/ 31 h 185"/>
                    <a:gd name="T32" fmla="*/ 243 w 252"/>
                    <a:gd name="T33" fmla="*/ 62 h 185"/>
                    <a:gd name="T34" fmla="*/ 233 w 252"/>
                    <a:gd name="T35" fmla="*/ 72 h 185"/>
                    <a:gd name="T36" fmla="*/ 228 w 252"/>
                    <a:gd name="T37" fmla="*/ 83 h 185"/>
                    <a:gd name="T38" fmla="*/ 238 w 252"/>
                    <a:gd name="T39" fmla="*/ 90 h 185"/>
                    <a:gd name="T40" fmla="*/ 238 w 252"/>
                    <a:gd name="T41" fmla="*/ 105 h 185"/>
                    <a:gd name="T42" fmla="*/ 252 w 252"/>
                    <a:gd name="T43" fmla="*/ 126 h 185"/>
                    <a:gd name="T44" fmla="*/ 251 w 252"/>
                    <a:gd name="T45" fmla="*/ 137 h 185"/>
                    <a:gd name="T46" fmla="*/ 230 w 252"/>
                    <a:gd name="T47" fmla="*/ 154 h 185"/>
                    <a:gd name="T48" fmla="*/ 220 w 252"/>
                    <a:gd name="T49" fmla="*/ 171 h 185"/>
                    <a:gd name="T50" fmla="*/ 225 w 252"/>
                    <a:gd name="T51" fmla="*/ 184 h 185"/>
                    <a:gd name="T52" fmla="*/ 208 w 252"/>
                    <a:gd name="T53" fmla="*/ 180 h 185"/>
                    <a:gd name="T54" fmla="*/ 180 w 252"/>
                    <a:gd name="T55" fmla="*/ 173 h 185"/>
                    <a:gd name="T56" fmla="*/ 166 w 252"/>
                    <a:gd name="T57" fmla="*/ 173 h 185"/>
                    <a:gd name="T58" fmla="*/ 150 w 252"/>
                    <a:gd name="T59" fmla="*/ 179 h 185"/>
                    <a:gd name="T60" fmla="*/ 143 w 252"/>
                    <a:gd name="T61" fmla="*/ 170 h 185"/>
                    <a:gd name="T62" fmla="*/ 128 w 252"/>
                    <a:gd name="T63" fmla="*/ 171 h 185"/>
                    <a:gd name="T64" fmla="*/ 120 w 252"/>
                    <a:gd name="T65" fmla="*/ 163 h 185"/>
                    <a:gd name="T66" fmla="*/ 97 w 252"/>
                    <a:gd name="T67" fmla="*/ 153 h 185"/>
                    <a:gd name="T68" fmla="*/ 93 w 252"/>
                    <a:gd name="T69" fmla="*/ 144 h 185"/>
                    <a:gd name="T70" fmla="*/ 72 w 252"/>
                    <a:gd name="T71" fmla="*/ 139 h 185"/>
                    <a:gd name="T72" fmla="*/ 69 w 252"/>
                    <a:gd name="T73" fmla="*/ 149 h 185"/>
                    <a:gd name="T74" fmla="*/ 53 w 252"/>
                    <a:gd name="T75" fmla="*/ 139 h 185"/>
                    <a:gd name="T76" fmla="*/ 58 w 252"/>
                    <a:gd name="T77" fmla="*/ 133 h 185"/>
                    <a:gd name="T78" fmla="*/ 50 w 252"/>
                    <a:gd name="T79" fmla="*/ 134 h 185"/>
                    <a:gd name="T80" fmla="*/ 36 w 252"/>
                    <a:gd name="T81" fmla="*/ 129 h 185"/>
                    <a:gd name="T82" fmla="*/ 29 w 252"/>
                    <a:gd name="T83" fmla="*/ 123 h 185"/>
                    <a:gd name="T84" fmla="*/ 21 w 252"/>
                    <a:gd name="T85" fmla="*/ 126 h 185"/>
                    <a:gd name="T86" fmla="*/ 22 w 252"/>
                    <a:gd name="T87" fmla="*/ 110 h 185"/>
                    <a:gd name="T88" fmla="*/ 15 w 252"/>
                    <a:gd name="T89" fmla="*/ 100 h 185"/>
                    <a:gd name="T90" fmla="*/ 14 w 252"/>
                    <a:gd name="T91" fmla="*/ 93 h 185"/>
                    <a:gd name="T92" fmla="*/ 14 w 252"/>
                    <a:gd name="T93" fmla="*/ 82 h 185"/>
                    <a:gd name="T94" fmla="*/ 13 w 252"/>
                    <a:gd name="T95" fmla="*/ 74 h 1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252" h="185">
                      <a:moveTo>
                        <a:pt x="0" y="63"/>
                      </a:moveTo>
                      <a:lnTo>
                        <a:pt x="2" y="58"/>
                      </a:lnTo>
                      <a:lnTo>
                        <a:pt x="4" y="54"/>
                      </a:lnTo>
                      <a:lnTo>
                        <a:pt x="6" y="52"/>
                      </a:lnTo>
                      <a:lnTo>
                        <a:pt x="6" y="50"/>
                      </a:lnTo>
                      <a:lnTo>
                        <a:pt x="6" y="47"/>
                      </a:lnTo>
                      <a:lnTo>
                        <a:pt x="4" y="42"/>
                      </a:lnTo>
                      <a:lnTo>
                        <a:pt x="3" y="40"/>
                      </a:lnTo>
                      <a:lnTo>
                        <a:pt x="3" y="37"/>
                      </a:lnTo>
                      <a:lnTo>
                        <a:pt x="4" y="36"/>
                      </a:lnTo>
                      <a:lnTo>
                        <a:pt x="6" y="36"/>
                      </a:lnTo>
                      <a:lnTo>
                        <a:pt x="8" y="37"/>
                      </a:lnTo>
                      <a:lnTo>
                        <a:pt x="10" y="37"/>
                      </a:lnTo>
                      <a:lnTo>
                        <a:pt x="10" y="34"/>
                      </a:lnTo>
                      <a:lnTo>
                        <a:pt x="11" y="31"/>
                      </a:lnTo>
                      <a:lnTo>
                        <a:pt x="10" y="32"/>
                      </a:lnTo>
                      <a:lnTo>
                        <a:pt x="8" y="31"/>
                      </a:lnTo>
                      <a:lnTo>
                        <a:pt x="4" y="30"/>
                      </a:lnTo>
                      <a:lnTo>
                        <a:pt x="4" y="32"/>
                      </a:lnTo>
                      <a:lnTo>
                        <a:pt x="3" y="32"/>
                      </a:lnTo>
                      <a:lnTo>
                        <a:pt x="2" y="31"/>
                      </a:lnTo>
                      <a:lnTo>
                        <a:pt x="0" y="29"/>
                      </a:lnTo>
                      <a:lnTo>
                        <a:pt x="6" y="30"/>
                      </a:lnTo>
                      <a:lnTo>
                        <a:pt x="13" y="29"/>
                      </a:lnTo>
                      <a:lnTo>
                        <a:pt x="18" y="26"/>
                      </a:lnTo>
                      <a:lnTo>
                        <a:pt x="22" y="24"/>
                      </a:lnTo>
                      <a:lnTo>
                        <a:pt x="30" y="23"/>
                      </a:lnTo>
                      <a:lnTo>
                        <a:pt x="38" y="21"/>
                      </a:lnTo>
                      <a:lnTo>
                        <a:pt x="46" y="19"/>
                      </a:lnTo>
                      <a:lnTo>
                        <a:pt x="51" y="16"/>
                      </a:lnTo>
                      <a:lnTo>
                        <a:pt x="56" y="11"/>
                      </a:lnTo>
                      <a:lnTo>
                        <a:pt x="63" y="8"/>
                      </a:lnTo>
                      <a:lnTo>
                        <a:pt x="70" y="5"/>
                      </a:lnTo>
                      <a:lnTo>
                        <a:pt x="77" y="3"/>
                      </a:lnTo>
                      <a:lnTo>
                        <a:pt x="85" y="2"/>
                      </a:lnTo>
                      <a:lnTo>
                        <a:pt x="95" y="0"/>
                      </a:lnTo>
                      <a:lnTo>
                        <a:pt x="104" y="2"/>
                      </a:lnTo>
                      <a:lnTo>
                        <a:pt x="111" y="7"/>
                      </a:lnTo>
                      <a:lnTo>
                        <a:pt x="107" y="4"/>
                      </a:lnTo>
                      <a:lnTo>
                        <a:pt x="102" y="4"/>
                      </a:lnTo>
                      <a:lnTo>
                        <a:pt x="107" y="10"/>
                      </a:lnTo>
                      <a:lnTo>
                        <a:pt x="109" y="14"/>
                      </a:lnTo>
                      <a:lnTo>
                        <a:pt x="112" y="15"/>
                      </a:lnTo>
                      <a:lnTo>
                        <a:pt x="117" y="16"/>
                      </a:lnTo>
                      <a:lnTo>
                        <a:pt x="123" y="15"/>
                      </a:lnTo>
                      <a:lnTo>
                        <a:pt x="133" y="13"/>
                      </a:lnTo>
                      <a:lnTo>
                        <a:pt x="129" y="14"/>
                      </a:lnTo>
                      <a:lnTo>
                        <a:pt x="125" y="16"/>
                      </a:lnTo>
                      <a:lnTo>
                        <a:pt x="123" y="18"/>
                      </a:lnTo>
                      <a:lnTo>
                        <a:pt x="126" y="18"/>
                      </a:lnTo>
                      <a:lnTo>
                        <a:pt x="128" y="18"/>
                      </a:lnTo>
                      <a:lnTo>
                        <a:pt x="131" y="16"/>
                      </a:lnTo>
                      <a:lnTo>
                        <a:pt x="138" y="14"/>
                      </a:lnTo>
                      <a:lnTo>
                        <a:pt x="144" y="14"/>
                      </a:lnTo>
                      <a:lnTo>
                        <a:pt x="152" y="15"/>
                      </a:lnTo>
                      <a:lnTo>
                        <a:pt x="160" y="15"/>
                      </a:lnTo>
                      <a:lnTo>
                        <a:pt x="172" y="16"/>
                      </a:lnTo>
                      <a:lnTo>
                        <a:pt x="187" y="18"/>
                      </a:lnTo>
                      <a:lnTo>
                        <a:pt x="201" y="18"/>
                      </a:lnTo>
                      <a:lnTo>
                        <a:pt x="213" y="16"/>
                      </a:lnTo>
                      <a:lnTo>
                        <a:pt x="220" y="16"/>
                      </a:lnTo>
                      <a:lnTo>
                        <a:pt x="224" y="20"/>
                      </a:lnTo>
                      <a:lnTo>
                        <a:pt x="228" y="24"/>
                      </a:lnTo>
                      <a:lnTo>
                        <a:pt x="230" y="31"/>
                      </a:lnTo>
                      <a:lnTo>
                        <a:pt x="234" y="40"/>
                      </a:lnTo>
                      <a:lnTo>
                        <a:pt x="239" y="48"/>
                      </a:lnTo>
                      <a:lnTo>
                        <a:pt x="243" y="57"/>
                      </a:lnTo>
                      <a:lnTo>
                        <a:pt x="243" y="62"/>
                      </a:lnTo>
                      <a:lnTo>
                        <a:pt x="243" y="67"/>
                      </a:lnTo>
                      <a:lnTo>
                        <a:pt x="240" y="69"/>
                      </a:lnTo>
                      <a:lnTo>
                        <a:pt x="236" y="70"/>
                      </a:lnTo>
                      <a:lnTo>
                        <a:pt x="233" y="72"/>
                      </a:lnTo>
                      <a:lnTo>
                        <a:pt x="229" y="74"/>
                      </a:lnTo>
                      <a:lnTo>
                        <a:pt x="228" y="78"/>
                      </a:lnTo>
                      <a:lnTo>
                        <a:pt x="227" y="80"/>
                      </a:lnTo>
                      <a:lnTo>
                        <a:pt x="228" y="83"/>
                      </a:lnTo>
                      <a:lnTo>
                        <a:pt x="232" y="84"/>
                      </a:lnTo>
                      <a:lnTo>
                        <a:pt x="235" y="85"/>
                      </a:lnTo>
                      <a:lnTo>
                        <a:pt x="236" y="88"/>
                      </a:lnTo>
                      <a:lnTo>
                        <a:pt x="238" y="90"/>
                      </a:lnTo>
                      <a:lnTo>
                        <a:pt x="238" y="93"/>
                      </a:lnTo>
                      <a:lnTo>
                        <a:pt x="236" y="100"/>
                      </a:lnTo>
                      <a:lnTo>
                        <a:pt x="236" y="102"/>
                      </a:lnTo>
                      <a:lnTo>
                        <a:pt x="238" y="105"/>
                      </a:lnTo>
                      <a:lnTo>
                        <a:pt x="240" y="111"/>
                      </a:lnTo>
                      <a:lnTo>
                        <a:pt x="243" y="116"/>
                      </a:lnTo>
                      <a:lnTo>
                        <a:pt x="246" y="122"/>
                      </a:lnTo>
                      <a:lnTo>
                        <a:pt x="252" y="126"/>
                      </a:lnTo>
                      <a:lnTo>
                        <a:pt x="249" y="128"/>
                      </a:lnTo>
                      <a:lnTo>
                        <a:pt x="251" y="131"/>
                      </a:lnTo>
                      <a:lnTo>
                        <a:pt x="252" y="134"/>
                      </a:lnTo>
                      <a:lnTo>
                        <a:pt x="251" y="137"/>
                      </a:lnTo>
                      <a:lnTo>
                        <a:pt x="247" y="139"/>
                      </a:lnTo>
                      <a:lnTo>
                        <a:pt x="243" y="142"/>
                      </a:lnTo>
                      <a:lnTo>
                        <a:pt x="238" y="145"/>
                      </a:lnTo>
                      <a:lnTo>
                        <a:pt x="230" y="154"/>
                      </a:lnTo>
                      <a:lnTo>
                        <a:pt x="227" y="158"/>
                      </a:lnTo>
                      <a:lnTo>
                        <a:pt x="223" y="161"/>
                      </a:lnTo>
                      <a:lnTo>
                        <a:pt x="220" y="166"/>
                      </a:lnTo>
                      <a:lnTo>
                        <a:pt x="220" y="171"/>
                      </a:lnTo>
                      <a:lnTo>
                        <a:pt x="222" y="176"/>
                      </a:lnTo>
                      <a:lnTo>
                        <a:pt x="222" y="180"/>
                      </a:lnTo>
                      <a:lnTo>
                        <a:pt x="224" y="182"/>
                      </a:lnTo>
                      <a:lnTo>
                        <a:pt x="225" y="184"/>
                      </a:lnTo>
                      <a:lnTo>
                        <a:pt x="225" y="185"/>
                      </a:lnTo>
                      <a:lnTo>
                        <a:pt x="222" y="184"/>
                      </a:lnTo>
                      <a:lnTo>
                        <a:pt x="217" y="182"/>
                      </a:lnTo>
                      <a:lnTo>
                        <a:pt x="208" y="180"/>
                      </a:lnTo>
                      <a:lnTo>
                        <a:pt x="202" y="176"/>
                      </a:lnTo>
                      <a:lnTo>
                        <a:pt x="196" y="173"/>
                      </a:lnTo>
                      <a:lnTo>
                        <a:pt x="187" y="171"/>
                      </a:lnTo>
                      <a:lnTo>
                        <a:pt x="180" y="173"/>
                      </a:lnTo>
                      <a:lnTo>
                        <a:pt x="176" y="174"/>
                      </a:lnTo>
                      <a:lnTo>
                        <a:pt x="172" y="174"/>
                      </a:lnTo>
                      <a:lnTo>
                        <a:pt x="170" y="173"/>
                      </a:lnTo>
                      <a:lnTo>
                        <a:pt x="166" y="173"/>
                      </a:lnTo>
                      <a:lnTo>
                        <a:pt x="160" y="173"/>
                      </a:lnTo>
                      <a:lnTo>
                        <a:pt x="155" y="175"/>
                      </a:lnTo>
                      <a:lnTo>
                        <a:pt x="153" y="177"/>
                      </a:lnTo>
                      <a:lnTo>
                        <a:pt x="150" y="179"/>
                      </a:lnTo>
                      <a:lnTo>
                        <a:pt x="148" y="179"/>
                      </a:lnTo>
                      <a:lnTo>
                        <a:pt x="148" y="177"/>
                      </a:lnTo>
                      <a:lnTo>
                        <a:pt x="147" y="174"/>
                      </a:lnTo>
                      <a:lnTo>
                        <a:pt x="143" y="170"/>
                      </a:lnTo>
                      <a:lnTo>
                        <a:pt x="139" y="168"/>
                      </a:lnTo>
                      <a:lnTo>
                        <a:pt x="137" y="166"/>
                      </a:lnTo>
                      <a:lnTo>
                        <a:pt x="133" y="169"/>
                      </a:lnTo>
                      <a:lnTo>
                        <a:pt x="128" y="171"/>
                      </a:lnTo>
                      <a:lnTo>
                        <a:pt x="126" y="173"/>
                      </a:lnTo>
                      <a:lnTo>
                        <a:pt x="125" y="171"/>
                      </a:lnTo>
                      <a:lnTo>
                        <a:pt x="123" y="169"/>
                      </a:lnTo>
                      <a:lnTo>
                        <a:pt x="120" y="163"/>
                      </a:lnTo>
                      <a:lnTo>
                        <a:pt x="113" y="158"/>
                      </a:lnTo>
                      <a:lnTo>
                        <a:pt x="110" y="155"/>
                      </a:lnTo>
                      <a:lnTo>
                        <a:pt x="104" y="153"/>
                      </a:lnTo>
                      <a:lnTo>
                        <a:pt x="97" y="153"/>
                      </a:lnTo>
                      <a:lnTo>
                        <a:pt x="95" y="153"/>
                      </a:lnTo>
                      <a:lnTo>
                        <a:pt x="94" y="150"/>
                      </a:lnTo>
                      <a:lnTo>
                        <a:pt x="93" y="147"/>
                      </a:lnTo>
                      <a:lnTo>
                        <a:pt x="93" y="144"/>
                      </a:lnTo>
                      <a:lnTo>
                        <a:pt x="88" y="144"/>
                      </a:lnTo>
                      <a:lnTo>
                        <a:pt x="81" y="143"/>
                      </a:lnTo>
                      <a:lnTo>
                        <a:pt x="77" y="141"/>
                      </a:lnTo>
                      <a:lnTo>
                        <a:pt x="72" y="139"/>
                      </a:lnTo>
                      <a:lnTo>
                        <a:pt x="73" y="142"/>
                      </a:lnTo>
                      <a:lnTo>
                        <a:pt x="74" y="144"/>
                      </a:lnTo>
                      <a:lnTo>
                        <a:pt x="72" y="147"/>
                      </a:lnTo>
                      <a:lnTo>
                        <a:pt x="69" y="149"/>
                      </a:lnTo>
                      <a:lnTo>
                        <a:pt x="65" y="149"/>
                      </a:lnTo>
                      <a:lnTo>
                        <a:pt x="63" y="148"/>
                      </a:lnTo>
                      <a:lnTo>
                        <a:pt x="59" y="143"/>
                      </a:lnTo>
                      <a:lnTo>
                        <a:pt x="53" y="139"/>
                      </a:lnTo>
                      <a:lnTo>
                        <a:pt x="56" y="138"/>
                      </a:lnTo>
                      <a:lnTo>
                        <a:pt x="57" y="137"/>
                      </a:lnTo>
                      <a:lnTo>
                        <a:pt x="58" y="136"/>
                      </a:lnTo>
                      <a:lnTo>
                        <a:pt x="58" y="133"/>
                      </a:lnTo>
                      <a:lnTo>
                        <a:pt x="57" y="132"/>
                      </a:lnTo>
                      <a:lnTo>
                        <a:pt x="54" y="132"/>
                      </a:lnTo>
                      <a:lnTo>
                        <a:pt x="51" y="133"/>
                      </a:lnTo>
                      <a:lnTo>
                        <a:pt x="50" y="134"/>
                      </a:lnTo>
                      <a:lnTo>
                        <a:pt x="48" y="132"/>
                      </a:lnTo>
                      <a:lnTo>
                        <a:pt x="47" y="131"/>
                      </a:lnTo>
                      <a:lnTo>
                        <a:pt x="42" y="129"/>
                      </a:lnTo>
                      <a:lnTo>
                        <a:pt x="36" y="129"/>
                      </a:lnTo>
                      <a:lnTo>
                        <a:pt x="32" y="127"/>
                      </a:lnTo>
                      <a:lnTo>
                        <a:pt x="31" y="125"/>
                      </a:lnTo>
                      <a:lnTo>
                        <a:pt x="30" y="123"/>
                      </a:lnTo>
                      <a:lnTo>
                        <a:pt x="29" y="123"/>
                      </a:lnTo>
                      <a:lnTo>
                        <a:pt x="26" y="121"/>
                      </a:lnTo>
                      <a:lnTo>
                        <a:pt x="24" y="121"/>
                      </a:lnTo>
                      <a:lnTo>
                        <a:pt x="22" y="123"/>
                      </a:lnTo>
                      <a:lnTo>
                        <a:pt x="21" y="126"/>
                      </a:lnTo>
                      <a:lnTo>
                        <a:pt x="19" y="126"/>
                      </a:lnTo>
                      <a:lnTo>
                        <a:pt x="21" y="118"/>
                      </a:lnTo>
                      <a:lnTo>
                        <a:pt x="22" y="113"/>
                      </a:lnTo>
                      <a:lnTo>
                        <a:pt x="22" y="110"/>
                      </a:lnTo>
                      <a:lnTo>
                        <a:pt x="18" y="106"/>
                      </a:lnTo>
                      <a:lnTo>
                        <a:pt x="16" y="104"/>
                      </a:lnTo>
                      <a:lnTo>
                        <a:pt x="15" y="102"/>
                      </a:lnTo>
                      <a:lnTo>
                        <a:pt x="15" y="100"/>
                      </a:lnTo>
                      <a:lnTo>
                        <a:pt x="14" y="99"/>
                      </a:lnTo>
                      <a:lnTo>
                        <a:pt x="13" y="96"/>
                      </a:lnTo>
                      <a:lnTo>
                        <a:pt x="13" y="95"/>
                      </a:lnTo>
                      <a:lnTo>
                        <a:pt x="14" y="93"/>
                      </a:lnTo>
                      <a:lnTo>
                        <a:pt x="15" y="90"/>
                      </a:lnTo>
                      <a:lnTo>
                        <a:pt x="15" y="86"/>
                      </a:lnTo>
                      <a:lnTo>
                        <a:pt x="14" y="83"/>
                      </a:lnTo>
                      <a:lnTo>
                        <a:pt x="14" y="82"/>
                      </a:lnTo>
                      <a:lnTo>
                        <a:pt x="13" y="80"/>
                      </a:lnTo>
                      <a:lnTo>
                        <a:pt x="11" y="79"/>
                      </a:lnTo>
                      <a:lnTo>
                        <a:pt x="10" y="77"/>
                      </a:lnTo>
                      <a:lnTo>
                        <a:pt x="13" y="74"/>
                      </a:lnTo>
                      <a:lnTo>
                        <a:pt x="13" y="72"/>
                      </a:lnTo>
                      <a:lnTo>
                        <a:pt x="11" y="70"/>
                      </a:lnTo>
                      <a:lnTo>
                        <a:pt x="0" y="63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7" name="Freeform 807">
                  <a:extLst>
                    <a:ext uri="{FF2B5EF4-FFF2-40B4-BE49-F238E27FC236}">
                      <a16:creationId xmlns:a16="http://schemas.microsoft.com/office/drawing/2014/main" id="{DABF82CD-6ED0-4092-8AC2-723D963C2D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96882" y="5232905"/>
                  <a:ext cx="11193" cy="7957"/>
                </a:xfrm>
                <a:custGeom>
                  <a:avLst/>
                  <a:gdLst>
                    <a:gd name="T0" fmla="*/ 5 w 9"/>
                    <a:gd name="T1" fmla="*/ 5 h 5"/>
                    <a:gd name="T2" fmla="*/ 9 w 9"/>
                    <a:gd name="T3" fmla="*/ 5 h 5"/>
                    <a:gd name="T4" fmla="*/ 8 w 9"/>
                    <a:gd name="T5" fmla="*/ 2 h 5"/>
                    <a:gd name="T6" fmla="*/ 5 w 9"/>
                    <a:gd name="T7" fmla="*/ 0 h 5"/>
                    <a:gd name="T8" fmla="*/ 0 w 9"/>
                    <a:gd name="T9" fmla="*/ 0 h 5"/>
                    <a:gd name="T10" fmla="*/ 5 w 9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5">
                      <a:moveTo>
                        <a:pt x="5" y="5"/>
                      </a:moveTo>
                      <a:lnTo>
                        <a:pt x="9" y="5"/>
                      </a:lnTo>
                      <a:lnTo>
                        <a:pt x="8" y="2"/>
                      </a:lnTo>
                      <a:lnTo>
                        <a:pt x="5" y="0"/>
                      </a:lnTo>
                      <a:lnTo>
                        <a:pt x="0" y="0"/>
                      </a:lnTo>
                      <a:lnTo>
                        <a:pt x="5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8" name="Freeform 809">
                  <a:extLst>
                    <a:ext uri="{FF2B5EF4-FFF2-40B4-BE49-F238E27FC236}">
                      <a16:creationId xmlns:a16="http://schemas.microsoft.com/office/drawing/2014/main" id="{360D40A3-CCE1-4D55-A978-6B6393AD13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08076" y="5235559"/>
                  <a:ext cx="2240" cy="2653"/>
                </a:xfrm>
                <a:custGeom>
                  <a:avLst/>
                  <a:gdLst>
                    <a:gd name="T0" fmla="*/ 4 w 4"/>
                    <a:gd name="T1" fmla="*/ 0 h 1"/>
                    <a:gd name="T2" fmla="*/ 0 w 4"/>
                    <a:gd name="T3" fmla="*/ 1 h 1"/>
                    <a:gd name="T4" fmla="*/ 4 w 4"/>
                    <a:gd name="T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1">
                      <a:moveTo>
                        <a:pt x="4" y="0"/>
                      </a:moveTo>
                      <a:lnTo>
                        <a:pt x="0" y="1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9" name="Freeform 810">
                  <a:extLst>
                    <a:ext uri="{FF2B5EF4-FFF2-40B4-BE49-F238E27FC236}">
                      <a16:creationId xmlns:a16="http://schemas.microsoft.com/office/drawing/2014/main" id="{F36127A8-03B1-4DF3-B332-55974302A5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11047" y="5248819"/>
                  <a:ext cx="13431" cy="7957"/>
                </a:xfrm>
                <a:custGeom>
                  <a:avLst/>
                  <a:gdLst>
                    <a:gd name="T0" fmla="*/ 0 w 11"/>
                    <a:gd name="T1" fmla="*/ 2 h 5"/>
                    <a:gd name="T2" fmla="*/ 11 w 11"/>
                    <a:gd name="T3" fmla="*/ 5 h 5"/>
                    <a:gd name="T4" fmla="*/ 9 w 11"/>
                    <a:gd name="T5" fmla="*/ 2 h 5"/>
                    <a:gd name="T6" fmla="*/ 7 w 11"/>
                    <a:gd name="T7" fmla="*/ 0 h 5"/>
                    <a:gd name="T8" fmla="*/ 4 w 11"/>
                    <a:gd name="T9" fmla="*/ 0 h 5"/>
                    <a:gd name="T10" fmla="*/ 4 w 11"/>
                    <a:gd name="T11" fmla="*/ 0 h 5"/>
                    <a:gd name="T12" fmla="*/ 6 w 11"/>
                    <a:gd name="T13" fmla="*/ 2 h 5"/>
                    <a:gd name="T14" fmla="*/ 3 w 11"/>
                    <a:gd name="T15" fmla="*/ 1 h 5"/>
                    <a:gd name="T16" fmla="*/ 0 w 11"/>
                    <a:gd name="T17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" h="5">
                      <a:moveTo>
                        <a:pt x="0" y="2"/>
                      </a:moveTo>
                      <a:lnTo>
                        <a:pt x="11" y="5"/>
                      </a:lnTo>
                      <a:lnTo>
                        <a:pt x="9" y="2"/>
                      </a:lnTo>
                      <a:lnTo>
                        <a:pt x="7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6" y="2"/>
                      </a:lnTo>
                      <a:lnTo>
                        <a:pt x="3" y="1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0" name="Freeform 811">
                  <a:extLst>
                    <a:ext uri="{FF2B5EF4-FFF2-40B4-BE49-F238E27FC236}">
                      <a16:creationId xmlns:a16="http://schemas.microsoft.com/office/drawing/2014/main" id="{47B30BD5-BAC5-4102-BAFF-44359F0B96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15524" y="5240863"/>
                  <a:ext cx="2240" cy="2653"/>
                </a:xfrm>
                <a:custGeom>
                  <a:avLst/>
                  <a:gdLst>
                    <a:gd name="T0" fmla="*/ 0 w 1"/>
                    <a:gd name="T1" fmla="*/ 0 h 4"/>
                    <a:gd name="T2" fmla="*/ 1 w 1"/>
                    <a:gd name="T3" fmla="*/ 4 h 4"/>
                    <a:gd name="T4" fmla="*/ 0 w 1"/>
                    <a:gd name="T5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" h="4">
                      <a:moveTo>
                        <a:pt x="0" y="0"/>
                      </a:moveTo>
                      <a:lnTo>
                        <a:pt x="1" y="4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1" name="Freeform 882">
                  <a:extLst>
                    <a:ext uri="{FF2B5EF4-FFF2-40B4-BE49-F238E27FC236}">
                      <a16:creationId xmlns:a16="http://schemas.microsoft.com/office/drawing/2014/main" id="{259F1771-6049-4124-875A-A49642D4E7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39376" y="5108259"/>
                  <a:ext cx="13431" cy="2653"/>
                </a:xfrm>
                <a:custGeom>
                  <a:avLst/>
                  <a:gdLst>
                    <a:gd name="T0" fmla="*/ 0 w 12"/>
                    <a:gd name="T1" fmla="*/ 1 h 2"/>
                    <a:gd name="T2" fmla="*/ 3 w 12"/>
                    <a:gd name="T3" fmla="*/ 2 h 2"/>
                    <a:gd name="T4" fmla="*/ 7 w 12"/>
                    <a:gd name="T5" fmla="*/ 2 h 2"/>
                    <a:gd name="T6" fmla="*/ 12 w 12"/>
                    <a:gd name="T7" fmla="*/ 0 h 2"/>
                    <a:gd name="T8" fmla="*/ 6 w 12"/>
                    <a:gd name="T9" fmla="*/ 0 h 2"/>
                    <a:gd name="T10" fmla="*/ 0 w 12"/>
                    <a:gd name="T11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" h="2">
                      <a:moveTo>
                        <a:pt x="0" y="1"/>
                      </a:moveTo>
                      <a:lnTo>
                        <a:pt x="3" y="2"/>
                      </a:lnTo>
                      <a:lnTo>
                        <a:pt x="7" y="2"/>
                      </a:lnTo>
                      <a:lnTo>
                        <a:pt x="12" y="0"/>
                      </a:lnTo>
                      <a:lnTo>
                        <a:pt x="6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2" name="Freeform 883">
                  <a:extLst>
                    <a:ext uri="{FF2B5EF4-FFF2-40B4-BE49-F238E27FC236}">
                      <a16:creationId xmlns:a16="http://schemas.microsoft.com/office/drawing/2014/main" id="{C6FB0C55-A3C9-4339-845D-CC81E920DA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22199" y="4843052"/>
                  <a:ext cx="6716" cy="0"/>
                </a:xfrm>
                <a:custGeom>
                  <a:avLst/>
                  <a:gdLst>
                    <a:gd name="T0" fmla="*/ 0 w 7"/>
                    <a:gd name="T1" fmla="*/ 2 h 2"/>
                    <a:gd name="T2" fmla="*/ 4 w 7"/>
                    <a:gd name="T3" fmla="*/ 2 h 2"/>
                    <a:gd name="T4" fmla="*/ 7 w 7"/>
                    <a:gd name="T5" fmla="*/ 0 h 2"/>
                    <a:gd name="T6" fmla="*/ 0 w 7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2">
                      <a:moveTo>
                        <a:pt x="0" y="2"/>
                      </a:moveTo>
                      <a:lnTo>
                        <a:pt x="4" y="2"/>
                      </a:lnTo>
                      <a:lnTo>
                        <a:pt x="7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3" name="Freeform 884">
                  <a:extLst>
                    <a:ext uri="{FF2B5EF4-FFF2-40B4-BE49-F238E27FC236}">
                      <a16:creationId xmlns:a16="http://schemas.microsoft.com/office/drawing/2014/main" id="{DFE90F72-1B9D-41C3-98CB-DC32378EA3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28916" y="4843052"/>
                  <a:ext cx="4477" cy="2653"/>
                </a:xfrm>
                <a:custGeom>
                  <a:avLst/>
                  <a:gdLst>
                    <a:gd name="T0" fmla="*/ 0 w 4"/>
                    <a:gd name="T1" fmla="*/ 1 h 1"/>
                    <a:gd name="T2" fmla="*/ 4 w 4"/>
                    <a:gd name="T3" fmla="*/ 0 h 1"/>
                    <a:gd name="T4" fmla="*/ 0 w 4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1">
                      <a:moveTo>
                        <a:pt x="0" y="1"/>
                      </a:moveTo>
                      <a:lnTo>
                        <a:pt x="4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4" name="Freeform 885">
                  <a:extLst>
                    <a:ext uri="{FF2B5EF4-FFF2-40B4-BE49-F238E27FC236}">
                      <a16:creationId xmlns:a16="http://schemas.microsoft.com/office/drawing/2014/main" id="{B03348E5-D4D3-439C-96D7-1F3082A4C2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35631" y="4837747"/>
                  <a:ext cx="4477" cy="2653"/>
                </a:xfrm>
                <a:custGeom>
                  <a:avLst/>
                  <a:gdLst>
                    <a:gd name="T0" fmla="*/ 0 w 3"/>
                    <a:gd name="T1" fmla="*/ 1 h 1"/>
                    <a:gd name="T2" fmla="*/ 3 w 3"/>
                    <a:gd name="T3" fmla="*/ 0 h 1"/>
                    <a:gd name="T4" fmla="*/ 0 w 3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1">
                      <a:moveTo>
                        <a:pt x="0" y="1"/>
                      </a:moveTo>
                      <a:lnTo>
                        <a:pt x="3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5" name="Freeform 886">
                  <a:extLst>
                    <a:ext uri="{FF2B5EF4-FFF2-40B4-BE49-F238E27FC236}">
                      <a16:creationId xmlns:a16="http://schemas.microsoft.com/office/drawing/2014/main" id="{1AC1B927-B3C0-480C-9376-6592017052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40108" y="5092346"/>
                  <a:ext cx="6716" cy="0"/>
                </a:xfrm>
                <a:custGeom>
                  <a:avLst/>
                  <a:gdLst>
                    <a:gd name="T0" fmla="*/ 0 w 6"/>
                    <a:gd name="T1" fmla="*/ 6 w 6"/>
                    <a:gd name="T2" fmla="*/ 4 w 6"/>
                    <a:gd name="T3" fmla="*/ 0 w 6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6">
                      <a:moveTo>
                        <a:pt x="0" y="0"/>
                      </a:move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6" name="Freeform 887">
                  <a:extLst>
                    <a:ext uri="{FF2B5EF4-FFF2-40B4-BE49-F238E27FC236}">
                      <a16:creationId xmlns:a16="http://schemas.microsoft.com/office/drawing/2014/main" id="{B93111B3-37C7-4514-AF1B-2BDBD0D2E9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46824" y="4835095"/>
                  <a:ext cx="8954" cy="2653"/>
                </a:xfrm>
                <a:custGeom>
                  <a:avLst/>
                  <a:gdLst>
                    <a:gd name="T0" fmla="*/ 0 w 9"/>
                    <a:gd name="T1" fmla="*/ 2 h 2"/>
                    <a:gd name="T2" fmla="*/ 2 w 9"/>
                    <a:gd name="T3" fmla="*/ 2 h 2"/>
                    <a:gd name="T4" fmla="*/ 4 w 9"/>
                    <a:gd name="T5" fmla="*/ 2 h 2"/>
                    <a:gd name="T6" fmla="*/ 9 w 9"/>
                    <a:gd name="T7" fmla="*/ 0 h 2"/>
                    <a:gd name="T8" fmla="*/ 0 w 9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2">
                      <a:moveTo>
                        <a:pt x="0" y="2"/>
                      </a:moveTo>
                      <a:lnTo>
                        <a:pt x="2" y="2"/>
                      </a:lnTo>
                      <a:lnTo>
                        <a:pt x="4" y="2"/>
                      </a:lnTo>
                      <a:lnTo>
                        <a:pt x="9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7" name="Freeform 888">
                  <a:extLst>
                    <a:ext uri="{FF2B5EF4-FFF2-40B4-BE49-F238E27FC236}">
                      <a16:creationId xmlns:a16="http://schemas.microsoft.com/office/drawing/2014/main" id="{341E9956-CC7D-4DF2-8B84-3FD086A18F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58016" y="5034001"/>
                  <a:ext cx="6716" cy="0"/>
                </a:xfrm>
                <a:custGeom>
                  <a:avLst/>
                  <a:gdLst>
                    <a:gd name="T0" fmla="*/ 4 w 7"/>
                    <a:gd name="T1" fmla="*/ 5 w 7"/>
                    <a:gd name="T2" fmla="*/ 7 w 7"/>
                    <a:gd name="T3" fmla="*/ 0 w 7"/>
                    <a:gd name="T4" fmla="*/ 4 w 7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</a:cxnLst>
                  <a:rect l="0" t="0" r="r" b="b"/>
                  <a:pathLst>
                    <a:path w="7">
                      <a:moveTo>
                        <a:pt x="4" y="0"/>
                      </a:moveTo>
                      <a:lnTo>
                        <a:pt x="5" y="0"/>
                      </a:lnTo>
                      <a:lnTo>
                        <a:pt x="7" y="0"/>
                      </a:lnTo>
                      <a:lnTo>
                        <a:pt x="0" y="0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8" name="Freeform 889">
                  <a:extLst>
                    <a:ext uri="{FF2B5EF4-FFF2-40B4-BE49-F238E27FC236}">
                      <a16:creationId xmlns:a16="http://schemas.microsoft.com/office/drawing/2014/main" id="{F7B03EC3-5154-438E-9040-71F179362B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62532" y="4710448"/>
                  <a:ext cx="6716" cy="0"/>
                </a:xfrm>
                <a:custGeom>
                  <a:avLst/>
                  <a:gdLst>
                    <a:gd name="T0" fmla="*/ 0 w 6"/>
                    <a:gd name="T1" fmla="*/ 6 w 6"/>
                    <a:gd name="T2" fmla="*/ 4 w 6"/>
                    <a:gd name="T3" fmla="*/ 0 w 6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6">
                      <a:moveTo>
                        <a:pt x="0" y="0"/>
                      </a:move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9" name="Freeform 890">
                  <a:extLst>
                    <a:ext uri="{FF2B5EF4-FFF2-40B4-BE49-F238E27FC236}">
                      <a16:creationId xmlns:a16="http://schemas.microsoft.com/office/drawing/2014/main" id="{B55BC28A-3879-40C0-AA90-FAF6197845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16257" y="4702491"/>
                  <a:ext cx="6716" cy="0"/>
                </a:xfrm>
                <a:custGeom>
                  <a:avLst/>
                  <a:gdLst>
                    <a:gd name="T0" fmla="*/ 0 w 6"/>
                    <a:gd name="T1" fmla="*/ 2 w 6"/>
                    <a:gd name="T2" fmla="*/ 6 w 6"/>
                    <a:gd name="T3" fmla="*/ 0 w 6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6">
                      <a:moveTo>
                        <a:pt x="0" y="0"/>
                      </a:moveTo>
                      <a:lnTo>
                        <a:pt x="2" y="0"/>
                      </a:lnTo>
                      <a:lnTo>
                        <a:pt x="6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0" name="Freeform 891">
                  <a:extLst>
                    <a:ext uri="{FF2B5EF4-FFF2-40B4-BE49-F238E27FC236}">
                      <a16:creationId xmlns:a16="http://schemas.microsoft.com/office/drawing/2014/main" id="{5E023962-22F2-4A0C-A2DD-2D4F947454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61027" y="4699840"/>
                  <a:ext cx="6716" cy="2653"/>
                </a:xfrm>
                <a:custGeom>
                  <a:avLst/>
                  <a:gdLst>
                    <a:gd name="T0" fmla="*/ 0 w 7"/>
                    <a:gd name="T1" fmla="*/ 2 h 2"/>
                    <a:gd name="T2" fmla="*/ 4 w 7"/>
                    <a:gd name="T3" fmla="*/ 2 h 2"/>
                    <a:gd name="T4" fmla="*/ 7 w 7"/>
                    <a:gd name="T5" fmla="*/ 0 h 2"/>
                    <a:gd name="T6" fmla="*/ 3 w 7"/>
                    <a:gd name="T7" fmla="*/ 0 h 2"/>
                    <a:gd name="T8" fmla="*/ 0 w 7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2">
                      <a:moveTo>
                        <a:pt x="0" y="2"/>
                      </a:moveTo>
                      <a:lnTo>
                        <a:pt x="4" y="2"/>
                      </a:lnTo>
                      <a:lnTo>
                        <a:pt x="7" y="0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1" name="Freeform 892">
                  <a:extLst>
                    <a:ext uri="{FF2B5EF4-FFF2-40B4-BE49-F238E27FC236}">
                      <a16:creationId xmlns:a16="http://schemas.microsoft.com/office/drawing/2014/main" id="{16890491-AD15-4EEA-A325-D59C67B53F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4458" y="4699840"/>
                  <a:ext cx="2240" cy="2653"/>
                </a:xfrm>
                <a:custGeom>
                  <a:avLst/>
                  <a:gdLst>
                    <a:gd name="T0" fmla="*/ 0 w 2"/>
                    <a:gd name="T1" fmla="*/ 2 h 2"/>
                    <a:gd name="T2" fmla="*/ 2 w 2"/>
                    <a:gd name="T3" fmla="*/ 0 h 2"/>
                    <a:gd name="T4" fmla="*/ 0 w 2"/>
                    <a:gd name="T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2">
                      <a:moveTo>
                        <a:pt x="0" y="2"/>
                      </a:moveTo>
                      <a:lnTo>
                        <a:pt x="2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2" name="Freeform 893">
                  <a:extLst>
                    <a:ext uri="{FF2B5EF4-FFF2-40B4-BE49-F238E27FC236}">
                      <a16:creationId xmlns:a16="http://schemas.microsoft.com/office/drawing/2014/main" id="{84DF641C-EF47-4A12-876E-88491D7729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87890" y="4702491"/>
                  <a:ext cx="11193" cy="0"/>
                </a:xfrm>
                <a:custGeom>
                  <a:avLst/>
                  <a:gdLst>
                    <a:gd name="T0" fmla="*/ 0 w 10"/>
                    <a:gd name="T1" fmla="*/ 0 h 1"/>
                    <a:gd name="T2" fmla="*/ 5 w 10"/>
                    <a:gd name="T3" fmla="*/ 1 h 1"/>
                    <a:gd name="T4" fmla="*/ 10 w 10"/>
                    <a:gd name="T5" fmla="*/ 0 h 1"/>
                    <a:gd name="T6" fmla="*/ 5 w 10"/>
                    <a:gd name="T7" fmla="*/ 0 h 1"/>
                    <a:gd name="T8" fmla="*/ 0 w 10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1">
                      <a:moveTo>
                        <a:pt x="0" y="0"/>
                      </a:moveTo>
                      <a:lnTo>
                        <a:pt x="5" y="1"/>
                      </a:lnTo>
                      <a:lnTo>
                        <a:pt x="10" y="0"/>
                      </a:lnTo>
                      <a:lnTo>
                        <a:pt x="5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3" name="Freeform 894">
                  <a:extLst>
                    <a:ext uri="{FF2B5EF4-FFF2-40B4-BE49-F238E27FC236}">
                      <a16:creationId xmlns:a16="http://schemas.microsoft.com/office/drawing/2014/main" id="{74CBB281-6F22-4E89-89F4-065EA8D7D8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01320" y="4699840"/>
                  <a:ext cx="2240" cy="0"/>
                </a:xfrm>
                <a:custGeom>
                  <a:avLst/>
                  <a:gdLst>
                    <a:gd name="T0" fmla="*/ 0 w 4"/>
                    <a:gd name="T1" fmla="*/ 4 w 4"/>
                    <a:gd name="T2" fmla="*/ 0 w 4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4">
                      <a:moveTo>
                        <a:pt x="0" y="0"/>
                      </a:moveTo>
                      <a:lnTo>
                        <a:pt x="4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4" name="Freeform 895">
                  <a:extLst>
                    <a:ext uri="{FF2B5EF4-FFF2-40B4-BE49-F238E27FC236}">
                      <a16:creationId xmlns:a16="http://schemas.microsoft.com/office/drawing/2014/main" id="{CA0CAC0F-4A7E-4AB3-8BD7-4E72BD7E6F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01320" y="4678623"/>
                  <a:ext cx="17908" cy="2653"/>
                </a:xfrm>
                <a:custGeom>
                  <a:avLst/>
                  <a:gdLst>
                    <a:gd name="T0" fmla="*/ 0 w 16"/>
                    <a:gd name="T1" fmla="*/ 2 h 3"/>
                    <a:gd name="T2" fmla="*/ 4 w 16"/>
                    <a:gd name="T3" fmla="*/ 3 h 3"/>
                    <a:gd name="T4" fmla="*/ 9 w 16"/>
                    <a:gd name="T5" fmla="*/ 3 h 3"/>
                    <a:gd name="T6" fmla="*/ 16 w 16"/>
                    <a:gd name="T7" fmla="*/ 0 h 3"/>
                    <a:gd name="T8" fmla="*/ 8 w 16"/>
                    <a:gd name="T9" fmla="*/ 0 h 3"/>
                    <a:gd name="T10" fmla="*/ 0 w 16"/>
                    <a:gd name="T11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6" h="3">
                      <a:moveTo>
                        <a:pt x="0" y="2"/>
                      </a:moveTo>
                      <a:lnTo>
                        <a:pt x="4" y="3"/>
                      </a:lnTo>
                      <a:lnTo>
                        <a:pt x="9" y="3"/>
                      </a:lnTo>
                      <a:lnTo>
                        <a:pt x="16" y="0"/>
                      </a:lnTo>
                      <a:lnTo>
                        <a:pt x="8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5" name="Freeform 896">
                  <a:extLst>
                    <a:ext uri="{FF2B5EF4-FFF2-40B4-BE49-F238E27FC236}">
                      <a16:creationId xmlns:a16="http://schemas.microsoft.com/office/drawing/2014/main" id="{1A329C8A-5703-4036-8295-7811C9BDA7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9228" y="4681275"/>
                  <a:ext cx="15670" cy="5304"/>
                </a:xfrm>
                <a:custGeom>
                  <a:avLst/>
                  <a:gdLst>
                    <a:gd name="T0" fmla="*/ 0 w 15"/>
                    <a:gd name="T1" fmla="*/ 1 h 4"/>
                    <a:gd name="T2" fmla="*/ 8 w 15"/>
                    <a:gd name="T3" fmla="*/ 4 h 4"/>
                    <a:gd name="T4" fmla="*/ 11 w 15"/>
                    <a:gd name="T5" fmla="*/ 2 h 4"/>
                    <a:gd name="T6" fmla="*/ 15 w 15"/>
                    <a:gd name="T7" fmla="*/ 1 h 4"/>
                    <a:gd name="T8" fmla="*/ 8 w 15"/>
                    <a:gd name="T9" fmla="*/ 0 h 4"/>
                    <a:gd name="T10" fmla="*/ 4 w 15"/>
                    <a:gd name="T11" fmla="*/ 0 h 4"/>
                    <a:gd name="T12" fmla="*/ 0 w 15"/>
                    <a:gd name="T13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" h="4">
                      <a:moveTo>
                        <a:pt x="0" y="1"/>
                      </a:moveTo>
                      <a:lnTo>
                        <a:pt x="8" y="4"/>
                      </a:lnTo>
                      <a:lnTo>
                        <a:pt x="11" y="2"/>
                      </a:lnTo>
                      <a:lnTo>
                        <a:pt x="15" y="1"/>
                      </a:lnTo>
                      <a:lnTo>
                        <a:pt x="8" y="0"/>
                      </a:lnTo>
                      <a:lnTo>
                        <a:pt x="4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6" name="Freeform 897">
                  <a:extLst>
                    <a:ext uri="{FF2B5EF4-FFF2-40B4-BE49-F238E27FC236}">
                      <a16:creationId xmlns:a16="http://schemas.microsoft.com/office/drawing/2014/main" id="{1BB15BEF-0C5A-460D-BA8C-E731DEE5E5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9228" y="4668015"/>
                  <a:ext cx="6716" cy="2653"/>
                </a:xfrm>
                <a:custGeom>
                  <a:avLst/>
                  <a:gdLst>
                    <a:gd name="T0" fmla="*/ 0 w 6"/>
                    <a:gd name="T1" fmla="*/ 1 h 1"/>
                    <a:gd name="T2" fmla="*/ 4 w 6"/>
                    <a:gd name="T3" fmla="*/ 1 h 1"/>
                    <a:gd name="T4" fmla="*/ 6 w 6"/>
                    <a:gd name="T5" fmla="*/ 0 h 1"/>
                    <a:gd name="T6" fmla="*/ 0 w 6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0" y="1"/>
                      </a:moveTo>
                      <a:lnTo>
                        <a:pt x="4" y="1"/>
                      </a:lnTo>
                      <a:lnTo>
                        <a:pt x="6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7" name="Freeform 898">
                  <a:extLst>
                    <a:ext uri="{FF2B5EF4-FFF2-40B4-BE49-F238E27FC236}">
                      <a16:creationId xmlns:a16="http://schemas.microsoft.com/office/drawing/2014/main" id="{5A0E2A9A-2E0A-468F-B0C4-2550963978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25945" y="4681275"/>
                  <a:ext cx="6716" cy="0"/>
                </a:xfrm>
                <a:custGeom>
                  <a:avLst/>
                  <a:gdLst>
                    <a:gd name="T0" fmla="*/ 0 w 6"/>
                    <a:gd name="T1" fmla="*/ 0 h 1"/>
                    <a:gd name="T2" fmla="*/ 4 w 6"/>
                    <a:gd name="T3" fmla="*/ 1 h 1"/>
                    <a:gd name="T4" fmla="*/ 6 w 6"/>
                    <a:gd name="T5" fmla="*/ 0 h 1"/>
                    <a:gd name="T6" fmla="*/ 0 w 6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0" y="0"/>
                      </a:moveTo>
                      <a:lnTo>
                        <a:pt x="4" y="1"/>
                      </a:lnTo>
                      <a:lnTo>
                        <a:pt x="6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8" name="Freeform 899">
                  <a:extLst>
                    <a:ext uri="{FF2B5EF4-FFF2-40B4-BE49-F238E27FC236}">
                      <a16:creationId xmlns:a16="http://schemas.microsoft.com/office/drawing/2014/main" id="{BCE5DFA5-DF35-40E0-8239-96861BBD49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39376" y="4694536"/>
                  <a:ext cx="4477" cy="0"/>
                </a:xfrm>
                <a:custGeom>
                  <a:avLst/>
                  <a:gdLst>
                    <a:gd name="T0" fmla="*/ 0 w 2"/>
                    <a:gd name="T1" fmla="*/ 2 w 2"/>
                    <a:gd name="T2" fmla="*/ 0 w 2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2">
                      <a:moveTo>
                        <a:pt x="0" y="0"/>
                      </a:move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9" name="Freeform 900">
                  <a:extLst>
                    <a:ext uri="{FF2B5EF4-FFF2-40B4-BE49-F238E27FC236}">
                      <a16:creationId xmlns:a16="http://schemas.microsoft.com/office/drawing/2014/main" id="{F624DAD5-D5EC-44C0-987F-BEAC3B7DB1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75192" y="4707796"/>
                  <a:ext cx="6716" cy="0"/>
                </a:xfrm>
                <a:custGeom>
                  <a:avLst/>
                  <a:gdLst>
                    <a:gd name="T0" fmla="*/ 0 w 7"/>
                    <a:gd name="T1" fmla="*/ 7 w 7"/>
                    <a:gd name="T2" fmla="*/ 0 w 7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7">
                      <a:moveTo>
                        <a:pt x="0" y="0"/>
                      </a:moveTo>
                      <a:lnTo>
                        <a:pt x="7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0" name="Freeform 901">
                  <a:extLst>
                    <a:ext uri="{FF2B5EF4-FFF2-40B4-BE49-F238E27FC236}">
                      <a16:creationId xmlns:a16="http://schemas.microsoft.com/office/drawing/2014/main" id="{61E5ABE4-226E-4D10-A6B7-6E04B8B46F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88623" y="4668015"/>
                  <a:ext cx="6716" cy="2653"/>
                </a:xfrm>
                <a:custGeom>
                  <a:avLst/>
                  <a:gdLst>
                    <a:gd name="T0" fmla="*/ 0 w 6"/>
                    <a:gd name="T1" fmla="*/ 0 h 1"/>
                    <a:gd name="T2" fmla="*/ 2 w 6"/>
                    <a:gd name="T3" fmla="*/ 1 h 1"/>
                    <a:gd name="T4" fmla="*/ 6 w 6"/>
                    <a:gd name="T5" fmla="*/ 1 h 1"/>
                    <a:gd name="T6" fmla="*/ 0 w 6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0" y="0"/>
                      </a:moveTo>
                      <a:lnTo>
                        <a:pt x="2" y="1"/>
                      </a:lnTo>
                      <a:lnTo>
                        <a:pt x="6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1" name="Freeform 902">
                  <a:extLst>
                    <a:ext uri="{FF2B5EF4-FFF2-40B4-BE49-F238E27FC236}">
                      <a16:creationId xmlns:a16="http://schemas.microsoft.com/office/drawing/2014/main" id="{CB2AD41B-9436-4EC6-9044-08B00C7279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93100" y="4665362"/>
                  <a:ext cx="31340" cy="5304"/>
                </a:xfrm>
                <a:custGeom>
                  <a:avLst/>
                  <a:gdLst>
                    <a:gd name="T0" fmla="*/ 0 w 27"/>
                    <a:gd name="T1" fmla="*/ 2 h 4"/>
                    <a:gd name="T2" fmla="*/ 6 w 27"/>
                    <a:gd name="T3" fmla="*/ 3 h 4"/>
                    <a:gd name="T4" fmla="*/ 14 w 27"/>
                    <a:gd name="T5" fmla="*/ 4 h 4"/>
                    <a:gd name="T6" fmla="*/ 22 w 27"/>
                    <a:gd name="T7" fmla="*/ 4 h 4"/>
                    <a:gd name="T8" fmla="*/ 27 w 27"/>
                    <a:gd name="T9" fmla="*/ 2 h 4"/>
                    <a:gd name="T10" fmla="*/ 13 w 27"/>
                    <a:gd name="T11" fmla="*/ 0 h 4"/>
                    <a:gd name="T12" fmla="*/ 0 w 27"/>
                    <a:gd name="T13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7" h="4">
                      <a:moveTo>
                        <a:pt x="0" y="2"/>
                      </a:moveTo>
                      <a:lnTo>
                        <a:pt x="6" y="3"/>
                      </a:lnTo>
                      <a:lnTo>
                        <a:pt x="14" y="4"/>
                      </a:lnTo>
                      <a:lnTo>
                        <a:pt x="22" y="4"/>
                      </a:lnTo>
                      <a:lnTo>
                        <a:pt x="27" y="2"/>
                      </a:lnTo>
                      <a:lnTo>
                        <a:pt x="1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2" name="Freeform 903">
                  <a:extLst>
                    <a:ext uri="{FF2B5EF4-FFF2-40B4-BE49-F238E27FC236}">
                      <a16:creationId xmlns:a16="http://schemas.microsoft.com/office/drawing/2014/main" id="{591B3BC9-286E-45A7-B7ED-23F09C20194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34244" y="5625412"/>
                  <a:ext cx="94018" cy="42433"/>
                </a:xfrm>
                <a:custGeom>
                  <a:avLst/>
                  <a:gdLst>
                    <a:gd name="T0" fmla="*/ 0 w 85"/>
                    <a:gd name="T1" fmla="*/ 28 h 32"/>
                    <a:gd name="T2" fmla="*/ 5 w 85"/>
                    <a:gd name="T3" fmla="*/ 22 h 32"/>
                    <a:gd name="T4" fmla="*/ 7 w 85"/>
                    <a:gd name="T5" fmla="*/ 16 h 32"/>
                    <a:gd name="T6" fmla="*/ 8 w 85"/>
                    <a:gd name="T7" fmla="*/ 12 h 32"/>
                    <a:gd name="T8" fmla="*/ 8 w 85"/>
                    <a:gd name="T9" fmla="*/ 11 h 32"/>
                    <a:gd name="T10" fmla="*/ 11 w 85"/>
                    <a:gd name="T11" fmla="*/ 11 h 32"/>
                    <a:gd name="T12" fmla="*/ 18 w 85"/>
                    <a:gd name="T13" fmla="*/ 11 h 32"/>
                    <a:gd name="T14" fmla="*/ 21 w 85"/>
                    <a:gd name="T15" fmla="*/ 9 h 32"/>
                    <a:gd name="T16" fmla="*/ 24 w 85"/>
                    <a:gd name="T17" fmla="*/ 8 h 32"/>
                    <a:gd name="T18" fmla="*/ 27 w 85"/>
                    <a:gd name="T19" fmla="*/ 6 h 32"/>
                    <a:gd name="T20" fmla="*/ 28 w 85"/>
                    <a:gd name="T21" fmla="*/ 3 h 32"/>
                    <a:gd name="T22" fmla="*/ 31 w 85"/>
                    <a:gd name="T23" fmla="*/ 1 h 32"/>
                    <a:gd name="T24" fmla="*/ 34 w 85"/>
                    <a:gd name="T25" fmla="*/ 0 h 32"/>
                    <a:gd name="T26" fmla="*/ 28 w 85"/>
                    <a:gd name="T27" fmla="*/ 5 h 32"/>
                    <a:gd name="T28" fmla="*/ 23 w 85"/>
                    <a:gd name="T29" fmla="*/ 11 h 32"/>
                    <a:gd name="T30" fmla="*/ 29 w 85"/>
                    <a:gd name="T31" fmla="*/ 12 h 32"/>
                    <a:gd name="T32" fmla="*/ 34 w 85"/>
                    <a:gd name="T33" fmla="*/ 12 h 32"/>
                    <a:gd name="T34" fmla="*/ 38 w 85"/>
                    <a:gd name="T35" fmla="*/ 11 h 32"/>
                    <a:gd name="T36" fmla="*/ 39 w 85"/>
                    <a:gd name="T37" fmla="*/ 8 h 32"/>
                    <a:gd name="T38" fmla="*/ 39 w 85"/>
                    <a:gd name="T39" fmla="*/ 5 h 32"/>
                    <a:gd name="T40" fmla="*/ 39 w 85"/>
                    <a:gd name="T41" fmla="*/ 2 h 32"/>
                    <a:gd name="T42" fmla="*/ 40 w 85"/>
                    <a:gd name="T43" fmla="*/ 0 h 32"/>
                    <a:gd name="T44" fmla="*/ 45 w 85"/>
                    <a:gd name="T45" fmla="*/ 1 h 32"/>
                    <a:gd name="T46" fmla="*/ 51 w 85"/>
                    <a:gd name="T47" fmla="*/ 3 h 32"/>
                    <a:gd name="T48" fmla="*/ 56 w 85"/>
                    <a:gd name="T49" fmla="*/ 5 h 32"/>
                    <a:gd name="T50" fmla="*/ 63 w 85"/>
                    <a:gd name="T51" fmla="*/ 7 h 32"/>
                    <a:gd name="T52" fmla="*/ 70 w 85"/>
                    <a:gd name="T53" fmla="*/ 7 h 32"/>
                    <a:gd name="T54" fmla="*/ 76 w 85"/>
                    <a:gd name="T55" fmla="*/ 7 h 32"/>
                    <a:gd name="T56" fmla="*/ 81 w 85"/>
                    <a:gd name="T57" fmla="*/ 11 h 32"/>
                    <a:gd name="T58" fmla="*/ 85 w 85"/>
                    <a:gd name="T59" fmla="*/ 14 h 32"/>
                    <a:gd name="T60" fmla="*/ 85 w 85"/>
                    <a:gd name="T61" fmla="*/ 16 h 32"/>
                    <a:gd name="T62" fmla="*/ 83 w 85"/>
                    <a:gd name="T63" fmla="*/ 18 h 32"/>
                    <a:gd name="T64" fmla="*/ 82 w 85"/>
                    <a:gd name="T65" fmla="*/ 21 h 32"/>
                    <a:gd name="T66" fmla="*/ 82 w 85"/>
                    <a:gd name="T67" fmla="*/ 24 h 32"/>
                    <a:gd name="T68" fmla="*/ 82 w 85"/>
                    <a:gd name="T69" fmla="*/ 28 h 32"/>
                    <a:gd name="T70" fmla="*/ 85 w 85"/>
                    <a:gd name="T71" fmla="*/ 30 h 32"/>
                    <a:gd name="T72" fmla="*/ 65 w 85"/>
                    <a:gd name="T73" fmla="*/ 32 h 32"/>
                    <a:gd name="T74" fmla="*/ 44 w 85"/>
                    <a:gd name="T75" fmla="*/ 32 h 32"/>
                    <a:gd name="T76" fmla="*/ 4 w 85"/>
                    <a:gd name="T77" fmla="*/ 28 h 32"/>
                    <a:gd name="T78" fmla="*/ 7 w 85"/>
                    <a:gd name="T79" fmla="*/ 25 h 32"/>
                    <a:gd name="T80" fmla="*/ 10 w 85"/>
                    <a:gd name="T81" fmla="*/ 23 h 32"/>
                    <a:gd name="T82" fmla="*/ 15 w 85"/>
                    <a:gd name="T83" fmla="*/ 22 h 32"/>
                    <a:gd name="T84" fmla="*/ 17 w 85"/>
                    <a:gd name="T85" fmla="*/ 22 h 32"/>
                    <a:gd name="T86" fmla="*/ 18 w 85"/>
                    <a:gd name="T87" fmla="*/ 19 h 32"/>
                    <a:gd name="T88" fmla="*/ 8 w 85"/>
                    <a:gd name="T89" fmla="*/ 19 h 32"/>
                    <a:gd name="T90" fmla="*/ 6 w 85"/>
                    <a:gd name="T91" fmla="*/ 21 h 32"/>
                    <a:gd name="T92" fmla="*/ 5 w 85"/>
                    <a:gd name="T93" fmla="*/ 23 h 32"/>
                    <a:gd name="T94" fmla="*/ 2 w 85"/>
                    <a:gd name="T95" fmla="*/ 25 h 32"/>
                    <a:gd name="T96" fmla="*/ 0 w 85"/>
                    <a:gd name="T97" fmla="*/ 28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85" h="32">
                      <a:moveTo>
                        <a:pt x="0" y="28"/>
                      </a:moveTo>
                      <a:lnTo>
                        <a:pt x="5" y="22"/>
                      </a:lnTo>
                      <a:lnTo>
                        <a:pt x="7" y="16"/>
                      </a:lnTo>
                      <a:lnTo>
                        <a:pt x="8" y="12"/>
                      </a:lnTo>
                      <a:lnTo>
                        <a:pt x="8" y="11"/>
                      </a:lnTo>
                      <a:lnTo>
                        <a:pt x="11" y="11"/>
                      </a:lnTo>
                      <a:lnTo>
                        <a:pt x="18" y="11"/>
                      </a:lnTo>
                      <a:lnTo>
                        <a:pt x="21" y="9"/>
                      </a:lnTo>
                      <a:lnTo>
                        <a:pt x="24" y="8"/>
                      </a:lnTo>
                      <a:lnTo>
                        <a:pt x="27" y="6"/>
                      </a:lnTo>
                      <a:lnTo>
                        <a:pt x="28" y="3"/>
                      </a:lnTo>
                      <a:lnTo>
                        <a:pt x="31" y="1"/>
                      </a:lnTo>
                      <a:lnTo>
                        <a:pt x="34" y="0"/>
                      </a:lnTo>
                      <a:lnTo>
                        <a:pt x="28" y="5"/>
                      </a:lnTo>
                      <a:lnTo>
                        <a:pt x="23" y="11"/>
                      </a:lnTo>
                      <a:lnTo>
                        <a:pt x="29" y="12"/>
                      </a:lnTo>
                      <a:lnTo>
                        <a:pt x="34" y="12"/>
                      </a:lnTo>
                      <a:lnTo>
                        <a:pt x="38" y="11"/>
                      </a:lnTo>
                      <a:lnTo>
                        <a:pt x="39" y="8"/>
                      </a:lnTo>
                      <a:lnTo>
                        <a:pt x="39" y="5"/>
                      </a:lnTo>
                      <a:lnTo>
                        <a:pt x="39" y="2"/>
                      </a:lnTo>
                      <a:lnTo>
                        <a:pt x="40" y="0"/>
                      </a:lnTo>
                      <a:lnTo>
                        <a:pt x="45" y="1"/>
                      </a:lnTo>
                      <a:lnTo>
                        <a:pt x="51" y="3"/>
                      </a:lnTo>
                      <a:lnTo>
                        <a:pt x="56" y="5"/>
                      </a:lnTo>
                      <a:lnTo>
                        <a:pt x="63" y="7"/>
                      </a:lnTo>
                      <a:lnTo>
                        <a:pt x="70" y="7"/>
                      </a:lnTo>
                      <a:lnTo>
                        <a:pt x="76" y="7"/>
                      </a:lnTo>
                      <a:lnTo>
                        <a:pt x="81" y="11"/>
                      </a:lnTo>
                      <a:lnTo>
                        <a:pt x="85" y="14"/>
                      </a:lnTo>
                      <a:lnTo>
                        <a:pt x="85" y="16"/>
                      </a:lnTo>
                      <a:lnTo>
                        <a:pt x="83" y="18"/>
                      </a:lnTo>
                      <a:lnTo>
                        <a:pt x="82" y="21"/>
                      </a:lnTo>
                      <a:lnTo>
                        <a:pt x="82" y="24"/>
                      </a:lnTo>
                      <a:lnTo>
                        <a:pt x="82" y="28"/>
                      </a:lnTo>
                      <a:lnTo>
                        <a:pt x="85" y="30"/>
                      </a:lnTo>
                      <a:lnTo>
                        <a:pt x="65" y="32"/>
                      </a:lnTo>
                      <a:lnTo>
                        <a:pt x="44" y="32"/>
                      </a:lnTo>
                      <a:lnTo>
                        <a:pt x="4" y="28"/>
                      </a:lnTo>
                      <a:lnTo>
                        <a:pt x="7" y="25"/>
                      </a:lnTo>
                      <a:lnTo>
                        <a:pt x="10" y="23"/>
                      </a:lnTo>
                      <a:lnTo>
                        <a:pt x="15" y="22"/>
                      </a:lnTo>
                      <a:lnTo>
                        <a:pt x="17" y="22"/>
                      </a:lnTo>
                      <a:lnTo>
                        <a:pt x="18" y="19"/>
                      </a:lnTo>
                      <a:lnTo>
                        <a:pt x="8" y="19"/>
                      </a:lnTo>
                      <a:lnTo>
                        <a:pt x="6" y="21"/>
                      </a:lnTo>
                      <a:lnTo>
                        <a:pt x="5" y="23"/>
                      </a:lnTo>
                      <a:lnTo>
                        <a:pt x="2" y="25"/>
                      </a:lnTo>
                      <a:lnTo>
                        <a:pt x="0" y="28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3" name="Freeform 904">
                  <a:extLst>
                    <a:ext uri="{FF2B5EF4-FFF2-40B4-BE49-F238E27FC236}">
                      <a16:creationId xmlns:a16="http://schemas.microsoft.com/office/drawing/2014/main" id="{0D68D29B-047E-4E43-A12B-F63A80695C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92405" y="5320425"/>
                  <a:ext cx="60441" cy="82216"/>
                </a:xfrm>
                <a:custGeom>
                  <a:avLst/>
                  <a:gdLst>
                    <a:gd name="T0" fmla="*/ 50 w 55"/>
                    <a:gd name="T1" fmla="*/ 56 h 62"/>
                    <a:gd name="T2" fmla="*/ 46 w 55"/>
                    <a:gd name="T3" fmla="*/ 60 h 62"/>
                    <a:gd name="T4" fmla="*/ 44 w 55"/>
                    <a:gd name="T5" fmla="*/ 62 h 62"/>
                    <a:gd name="T6" fmla="*/ 39 w 55"/>
                    <a:gd name="T7" fmla="*/ 62 h 62"/>
                    <a:gd name="T8" fmla="*/ 35 w 55"/>
                    <a:gd name="T9" fmla="*/ 61 h 62"/>
                    <a:gd name="T10" fmla="*/ 33 w 55"/>
                    <a:gd name="T11" fmla="*/ 59 h 62"/>
                    <a:gd name="T12" fmla="*/ 36 w 55"/>
                    <a:gd name="T13" fmla="*/ 56 h 62"/>
                    <a:gd name="T14" fmla="*/ 36 w 55"/>
                    <a:gd name="T15" fmla="*/ 54 h 62"/>
                    <a:gd name="T16" fmla="*/ 36 w 55"/>
                    <a:gd name="T17" fmla="*/ 52 h 62"/>
                    <a:gd name="T18" fmla="*/ 33 w 55"/>
                    <a:gd name="T19" fmla="*/ 49 h 62"/>
                    <a:gd name="T20" fmla="*/ 30 w 55"/>
                    <a:gd name="T21" fmla="*/ 44 h 62"/>
                    <a:gd name="T22" fmla="*/ 25 w 55"/>
                    <a:gd name="T23" fmla="*/ 43 h 62"/>
                    <a:gd name="T24" fmla="*/ 20 w 55"/>
                    <a:gd name="T25" fmla="*/ 43 h 62"/>
                    <a:gd name="T26" fmla="*/ 19 w 55"/>
                    <a:gd name="T27" fmla="*/ 43 h 62"/>
                    <a:gd name="T28" fmla="*/ 14 w 55"/>
                    <a:gd name="T29" fmla="*/ 41 h 62"/>
                    <a:gd name="T30" fmla="*/ 12 w 55"/>
                    <a:gd name="T31" fmla="*/ 39 h 62"/>
                    <a:gd name="T32" fmla="*/ 11 w 55"/>
                    <a:gd name="T33" fmla="*/ 38 h 62"/>
                    <a:gd name="T34" fmla="*/ 7 w 55"/>
                    <a:gd name="T35" fmla="*/ 36 h 62"/>
                    <a:gd name="T36" fmla="*/ 6 w 55"/>
                    <a:gd name="T37" fmla="*/ 33 h 62"/>
                    <a:gd name="T38" fmla="*/ 4 w 55"/>
                    <a:gd name="T39" fmla="*/ 29 h 62"/>
                    <a:gd name="T40" fmla="*/ 3 w 55"/>
                    <a:gd name="T41" fmla="*/ 25 h 62"/>
                    <a:gd name="T42" fmla="*/ 4 w 55"/>
                    <a:gd name="T43" fmla="*/ 27 h 62"/>
                    <a:gd name="T44" fmla="*/ 7 w 55"/>
                    <a:gd name="T45" fmla="*/ 24 h 62"/>
                    <a:gd name="T46" fmla="*/ 6 w 55"/>
                    <a:gd name="T47" fmla="*/ 23 h 62"/>
                    <a:gd name="T48" fmla="*/ 6 w 55"/>
                    <a:gd name="T49" fmla="*/ 19 h 62"/>
                    <a:gd name="T50" fmla="*/ 6 w 55"/>
                    <a:gd name="T51" fmla="*/ 19 h 62"/>
                    <a:gd name="T52" fmla="*/ 11 w 55"/>
                    <a:gd name="T53" fmla="*/ 22 h 62"/>
                    <a:gd name="T54" fmla="*/ 13 w 55"/>
                    <a:gd name="T55" fmla="*/ 22 h 62"/>
                    <a:gd name="T56" fmla="*/ 16 w 55"/>
                    <a:gd name="T57" fmla="*/ 23 h 62"/>
                    <a:gd name="T58" fmla="*/ 20 w 55"/>
                    <a:gd name="T59" fmla="*/ 24 h 62"/>
                    <a:gd name="T60" fmla="*/ 25 w 55"/>
                    <a:gd name="T61" fmla="*/ 24 h 62"/>
                    <a:gd name="T62" fmla="*/ 27 w 55"/>
                    <a:gd name="T63" fmla="*/ 23 h 62"/>
                    <a:gd name="T64" fmla="*/ 27 w 55"/>
                    <a:gd name="T65" fmla="*/ 18 h 62"/>
                    <a:gd name="T66" fmla="*/ 23 w 55"/>
                    <a:gd name="T67" fmla="*/ 14 h 62"/>
                    <a:gd name="T68" fmla="*/ 18 w 55"/>
                    <a:gd name="T69" fmla="*/ 14 h 62"/>
                    <a:gd name="T70" fmla="*/ 13 w 55"/>
                    <a:gd name="T71" fmla="*/ 13 h 62"/>
                    <a:gd name="T72" fmla="*/ 9 w 55"/>
                    <a:gd name="T73" fmla="*/ 12 h 62"/>
                    <a:gd name="T74" fmla="*/ 6 w 55"/>
                    <a:gd name="T75" fmla="*/ 9 h 62"/>
                    <a:gd name="T76" fmla="*/ 2 w 55"/>
                    <a:gd name="T77" fmla="*/ 6 h 62"/>
                    <a:gd name="T78" fmla="*/ 1 w 55"/>
                    <a:gd name="T79" fmla="*/ 2 h 62"/>
                    <a:gd name="T80" fmla="*/ 1 w 55"/>
                    <a:gd name="T81" fmla="*/ 0 h 62"/>
                    <a:gd name="T82" fmla="*/ 4 w 55"/>
                    <a:gd name="T83" fmla="*/ 2 h 62"/>
                    <a:gd name="T84" fmla="*/ 8 w 55"/>
                    <a:gd name="T85" fmla="*/ 3 h 62"/>
                    <a:gd name="T86" fmla="*/ 12 w 55"/>
                    <a:gd name="T87" fmla="*/ 4 h 62"/>
                    <a:gd name="T88" fmla="*/ 19 w 55"/>
                    <a:gd name="T89" fmla="*/ 7 h 62"/>
                    <a:gd name="T90" fmla="*/ 23 w 55"/>
                    <a:gd name="T91" fmla="*/ 8 h 62"/>
                    <a:gd name="T92" fmla="*/ 29 w 55"/>
                    <a:gd name="T93" fmla="*/ 11 h 62"/>
                    <a:gd name="T94" fmla="*/ 32 w 55"/>
                    <a:gd name="T95" fmla="*/ 12 h 62"/>
                    <a:gd name="T96" fmla="*/ 35 w 55"/>
                    <a:gd name="T97" fmla="*/ 12 h 62"/>
                    <a:gd name="T98" fmla="*/ 36 w 55"/>
                    <a:gd name="T99" fmla="*/ 14 h 62"/>
                    <a:gd name="T100" fmla="*/ 38 w 55"/>
                    <a:gd name="T101" fmla="*/ 17 h 62"/>
                    <a:gd name="T102" fmla="*/ 36 w 55"/>
                    <a:gd name="T103" fmla="*/ 20 h 62"/>
                    <a:gd name="T104" fmla="*/ 36 w 55"/>
                    <a:gd name="T105" fmla="*/ 23 h 62"/>
                    <a:gd name="T106" fmla="*/ 35 w 55"/>
                    <a:gd name="T107" fmla="*/ 27 h 62"/>
                    <a:gd name="T108" fmla="*/ 36 w 55"/>
                    <a:gd name="T109" fmla="*/ 31 h 62"/>
                    <a:gd name="T110" fmla="*/ 38 w 55"/>
                    <a:gd name="T111" fmla="*/ 34 h 62"/>
                    <a:gd name="T112" fmla="*/ 41 w 55"/>
                    <a:gd name="T113" fmla="*/ 36 h 62"/>
                    <a:gd name="T114" fmla="*/ 48 w 55"/>
                    <a:gd name="T115" fmla="*/ 40 h 62"/>
                    <a:gd name="T116" fmla="*/ 51 w 55"/>
                    <a:gd name="T117" fmla="*/ 45 h 62"/>
                    <a:gd name="T118" fmla="*/ 55 w 55"/>
                    <a:gd name="T119" fmla="*/ 50 h 62"/>
                    <a:gd name="T120" fmla="*/ 54 w 55"/>
                    <a:gd name="T121" fmla="*/ 52 h 62"/>
                    <a:gd name="T122" fmla="*/ 52 w 55"/>
                    <a:gd name="T123" fmla="*/ 55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55" h="62">
                      <a:moveTo>
                        <a:pt x="52" y="55"/>
                      </a:moveTo>
                      <a:lnTo>
                        <a:pt x="50" y="56"/>
                      </a:lnTo>
                      <a:lnTo>
                        <a:pt x="48" y="59"/>
                      </a:lnTo>
                      <a:lnTo>
                        <a:pt x="46" y="60"/>
                      </a:lnTo>
                      <a:lnTo>
                        <a:pt x="45" y="61"/>
                      </a:lnTo>
                      <a:lnTo>
                        <a:pt x="44" y="62"/>
                      </a:lnTo>
                      <a:lnTo>
                        <a:pt x="41" y="62"/>
                      </a:lnTo>
                      <a:lnTo>
                        <a:pt x="39" y="62"/>
                      </a:lnTo>
                      <a:lnTo>
                        <a:pt x="36" y="62"/>
                      </a:lnTo>
                      <a:lnTo>
                        <a:pt x="35" y="61"/>
                      </a:lnTo>
                      <a:lnTo>
                        <a:pt x="33" y="60"/>
                      </a:lnTo>
                      <a:lnTo>
                        <a:pt x="33" y="59"/>
                      </a:lnTo>
                      <a:lnTo>
                        <a:pt x="33" y="57"/>
                      </a:lnTo>
                      <a:lnTo>
                        <a:pt x="36" y="56"/>
                      </a:lnTo>
                      <a:lnTo>
                        <a:pt x="36" y="55"/>
                      </a:lnTo>
                      <a:lnTo>
                        <a:pt x="36" y="54"/>
                      </a:lnTo>
                      <a:lnTo>
                        <a:pt x="36" y="54"/>
                      </a:lnTo>
                      <a:lnTo>
                        <a:pt x="36" y="52"/>
                      </a:lnTo>
                      <a:lnTo>
                        <a:pt x="35" y="50"/>
                      </a:lnTo>
                      <a:lnTo>
                        <a:pt x="33" y="49"/>
                      </a:lnTo>
                      <a:lnTo>
                        <a:pt x="32" y="46"/>
                      </a:lnTo>
                      <a:lnTo>
                        <a:pt x="30" y="44"/>
                      </a:lnTo>
                      <a:lnTo>
                        <a:pt x="29" y="43"/>
                      </a:lnTo>
                      <a:lnTo>
                        <a:pt x="25" y="43"/>
                      </a:lnTo>
                      <a:lnTo>
                        <a:pt x="23" y="43"/>
                      </a:lnTo>
                      <a:lnTo>
                        <a:pt x="20" y="43"/>
                      </a:lnTo>
                      <a:lnTo>
                        <a:pt x="20" y="43"/>
                      </a:lnTo>
                      <a:lnTo>
                        <a:pt x="19" y="43"/>
                      </a:lnTo>
                      <a:lnTo>
                        <a:pt x="16" y="41"/>
                      </a:lnTo>
                      <a:lnTo>
                        <a:pt x="14" y="41"/>
                      </a:lnTo>
                      <a:lnTo>
                        <a:pt x="13" y="40"/>
                      </a:lnTo>
                      <a:lnTo>
                        <a:pt x="12" y="39"/>
                      </a:lnTo>
                      <a:lnTo>
                        <a:pt x="11" y="38"/>
                      </a:lnTo>
                      <a:lnTo>
                        <a:pt x="11" y="38"/>
                      </a:lnTo>
                      <a:lnTo>
                        <a:pt x="8" y="38"/>
                      </a:lnTo>
                      <a:lnTo>
                        <a:pt x="7" y="36"/>
                      </a:lnTo>
                      <a:lnTo>
                        <a:pt x="7" y="35"/>
                      </a:lnTo>
                      <a:lnTo>
                        <a:pt x="6" y="33"/>
                      </a:lnTo>
                      <a:lnTo>
                        <a:pt x="4" y="29"/>
                      </a:lnTo>
                      <a:lnTo>
                        <a:pt x="4" y="29"/>
                      </a:lnTo>
                      <a:lnTo>
                        <a:pt x="3" y="28"/>
                      </a:lnTo>
                      <a:lnTo>
                        <a:pt x="3" y="25"/>
                      </a:lnTo>
                      <a:lnTo>
                        <a:pt x="2" y="25"/>
                      </a:lnTo>
                      <a:lnTo>
                        <a:pt x="4" y="27"/>
                      </a:lnTo>
                      <a:lnTo>
                        <a:pt x="6" y="27"/>
                      </a:lnTo>
                      <a:lnTo>
                        <a:pt x="7" y="24"/>
                      </a:lnTo>
                      <a:lnTo>
                        <a:pt x="7" y="23"/>
                      </a:lnTo>
                      <a:lnTo>
                        <a:pt x="6" y="23"/>
                      </a:lnTo>
                      <a:lnTo>
                        <a:pt x="6" y="20"/>
                      </a:lnTo>
                      <a:lnTo>
                        <a:pt x="6" y="19"/>
                      </a:lnTo>
                      <a:lnTo>
                        <a:pt x="6" y="19"/>
                      </a:lnTo>
                      <a:lnTo>
                        <a:pt x="6" y="19"/>
                      </a:lnTo>
                      <a:lnTo>
                        <a:pt x="7" y="20"/>
                      </a:lnTo>
                      <a:lnTo>
                        <a:pt x="11" y="22"/>
                      </a:lnTo>
                      <a:lnTo>
                        <a:pt x="12" y="22"/>
                      </a:lnTo>
                      <a:lnTo>
                        <a:pt x="13" y="22"/>
                      </a:lnTo>
                      <a:lnTo>
                        <a:pt x="14" y="23"/>
                      </a:lnTo>
                      <a:lnTo>
                        <a:pt x="16" y="23"/>
                      </a:lnTo>
                      <a:lnTo>
                        <a:pt x="17" y="24"/>
                      </a:lnTo>
                      <a:lnTo>
                        <a:pt x="20" y="24"/>
                      </a:lnTo>
                      <a:lnTo>
                        <a:pt x="23" y="24"/>
                      </a:lnTo>
                      <a:lnTo>
                        <a:pt x="25" y="24"/>
                      </a:lnTo>
                      <a:lnTo>
                        <a:pt x="25" y="23"/>
                      </a:lnTo>
                      <a:lnTo>
                        <a:pt x="27" y="23"/>
                      </a:lnTo>
                      <a:lnTo>
                        <a:pt x="28" y="20"/>
                      </a:lnTo>
                      <a:lnTo>
                        <a:pt x="27" y="18"/>
                      </a:lnTo>
                      <a:lnTo>
                        <a:pt x="25" y="14"/>
                      </a:lnTo>
                      <a:lnTo>
                        <a:pt x="23" y="14"/>
                      </a:lnTo>
                      <a:lnTo>
                        <a:pt x="22" y="14"/>
                      </a:lnTo>
                      <a:lnTo>
                        <a:pt x="18" y="14"/>
                      </a:lnTo>
                      <a:lnTo>
                        <a:pt x="16" y="14"/>
                      </a:lnTo>
                      <a:lnTo>
                        <a:pt x="13" y="13"/>
                      </a:lnTo>
                      <a:lnTo>
                        <a:pt x="12" y="13"/>
                      </a:lnTo>
                      <a:lnTo>
                        <a:pt x="9" y="12"/>
                      </a:lnTo>
                      <a:lnTo>
                        <a:pt x="7" y="9"/>
                      </a:lnTo>
                      <a:lnTo>
                        <a:pt x="6" y="9"/>
                      </a:lnTo>
                      <a:lnTo>
                        <a:pt x="4" y="8"/>
                      </a:lnTo>
                      <a:lnTo>
                        <a:pt x="2" y="6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3" y="1"/>
                      </a:lnTo>
                      <a:lnTo>
                        <a:pt x="4" y="2"/>
                      </a:lnTo>
                      <a:lnTo>
                        <a:pt x="6" y="2"/>
                      </a:lnTo>
                      <a:lnTo>
                        <a:pt x="8" y="3"/>
                      </a:lnTo>
                      <a:lnTo>
                        <a:pt x="9" y="3"/>
                      </a:lnTo>
                      <a:lnTo>
                        <a:pt x="12" y="4"/>
                      </a:lnTo>
                      <a:lnTo>
                        <a:pt x="16" y="6"/>
                      </a:lnTo>
                      <a:lnTo>
                        <a:pt x="19" y="7"/>
                      </a:lnTo>
                      <a:lnTo>
                        <a:pt x="20" y="8"/>
                      </a:lnTo>
                      <a:lnTo>
                        <a:pt x="23" y="8"/>
                      </a:lnTo>
                      <a:lnTo>
                        <a:pt x="24" y="8"/>
                      </a:lnTo>
                      <a:lnTo>
                        <a:pt x="29" y="11"/>
                      </a:lnTo>
                      <a:lnTo>
                        <a:pt x="30" y="11"/>
                      </a:lnTo>
                      <a:lnTo>
                        <a:pt x="32" y="12"/>
                      </a:lnTo>
                      <a:lnTo>
                        <a:pt x="33" y="12"/>
                      </a:lnTo>
                      <a:lnTo>
                        <a:pt x="35" y="12"/>
                      </a:lnTo>
                      <a:lnTo>
                        <a:pt x="35" y="13"/>
                      </a:lnTo>
                      <a:lnTo>
                        <a:pt x="36" y="14"/>
                      </a:lnTo>
                      <a:lnTo>
                        <a:pt x="38" y="16"/>
                      </a:lnTo>
                      <a:lnTo>
                        <a:pt x="38" y="17"/>
                      </a:lnTo>
                      <a:lnTo>
                        <a:pt x="38" y="18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3"/>
                      </a:lnTo>
                      <a:lnTo>
                        <a:pt x="36" y="24"/>
                      </a:lnTo>
                      <a:lnTo>
                        <a:pt x="35" y="27"/>
                      </a:lnTo>
                      <a:lnTo>
                        <a:pt x="35" y="29"/>
                      </a:lnTo>
                      <a:lnTo>
                        <a:pt x="36" y="31"/>
                      </a:lnTo>
                      <a:lnTo>
                        <a:pt x="36" y="31"/>
                      </a:lnTo>
                      <a:lnTo>
                        <a:pt x="38" y="34"/>
                      </a:lnTo>
                      <a:lnTo>
                        <a:pt x="39" y="35"/>
                      </a:lnTo>
                      <a:lnTo>
                        <a:pt x="41" y="36"/>
                      </a:lnTo>
                      <a:lnTo>
                        <a:pt x="44" y="38"/>
                      </a:lnTo>
                      <a:lnTo>
                        <a:pt x="48" y="40"/>
                      </a:lnTo>
                      <a:lnTo>
                        <a:pt x="50" y="43"/>
                      </a:lnTo>
                      <a:lnTo>
                        <a:pt x="51" y="45"/>
                      </a:lnTo>
                      <a:lnTo>
                        <a:pt x="54" y="47"/>
                      </a:lnTo>
                      <a:lnTo>
                        <a:pt x="55" y="50"/>
                      </a:lnTo>
                      <a:lnTo>
                        <a:pt x="54" y="51"/>
                      </a:lnTo>
                      <a:lnTo>
                        <a:pt x="54" y="52"/>
                      </a:lnTo>
                      <a:lnTo>
                        <a:pt x="52" y="55"/>
                      </a:lnTo>
                      <a:lnTo>
                        <a:pt x="52" y="55"/>
                      </a:lnTo>
                      <a:lnTo>
                        <a:pt x="52" y="5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4" name="Freeform 905">
                  <a:extLst>
                    <a:ext uri="{FF2B5EF4-FFF2-40B4-BE49-F238E27FC236}">
                      <a16:creationId xmlns:a16="http://schemas.microsoft.com/office/drawing/2014/main" id="{09FDB2BB-833E-4C94-85B1-CB783ED326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87196" y="5368163"/>
                  <a:ext cx="80586" cy="74258"/>
                </a:xfrm>
                <a:custGeom>
                  <a:avLst/>
                  <a:gdLst>
                    <a:gd name="T0" fmla="*/ 51 w 73"/>
                    <a:gd name="T1" fmla="*/ 15 h 57"/>
                    <a:gd name="T2" fmla="*/ 47 w 73"/>
                    <a:gd name="T3" fmla="*/ 15 h 57"/>
                    <a:gd name="T4" fmla="*/ 41 w 73"/>
                    <a:gd name="T5" fmla="*/ 12 h 57"/>
                    <a:gd name="T6" fmla="*/ 35 w 73"/>
                    <a:gd name="T7" fmla="*/ 10 h 57"/>
                    <a:gd name="T8" fmla="*/ 32 w 73"/>
                    <a:gd name="T9" fmla="*/ 8 h 57"/>
                    <a:gd name="T10" fmla="*/ 26 w 73"/>
                    <a:gd name="T11" fmla="*/ 3 h 57"/>
                    <a:gd name="T12" fmla="*/ 23 w 73"/>
                    <a:gd name="T13" fmla="*/ 3 h 57"/>
                    <a:gd name="T14" fmla="*/ 21 w 73"/>
                    <a:gd name="T15" fmla="*/ 1 h 57"/>
                    <a:gd name="T16" fmla="*/ 16 w 73"/>
                    <a:gd name="T17" fmla="*/ 0 h 57"/>
                    <a:gd name="T18" fmla="*/ 15 w 73"/>
                    <a:gd name="T19" fmla="*/ 3 h 57"/>
                    <a:gd name="T20" fmla="*/ 10 w 73"/>
                    <a:gd name="T21" fmla="*/ 9 h 57"/>
                    <a:gd name="T22" fmla="*/ 5 w 73"/>
                    <a:gd name="T23" fmla="*/ 11 h 57"/>
                    <a:gd name="T24" fmla="*/ 1 w 73"/>
                    <a:gd name="T25" fmla="*/ 14 h 57"/>
                    <a:gd name="T26" fmla="*/ 0 w 73"/>
                    <a:gd name="T27" fmla="*/ 16 h 57"/>
                    <a:gd name="T28" fmla="*/ 1 w 73"/>
                    <a:gd name="T29" fmla="*/ 20 h 57"/>
                    <a:gd name="T30" fmla="*/ 6 w 73"/>
                    <a:gd name="T31" fmla="*/ 21 h 57"/>
                    <a:gd name="T32" fmla="*/ 11 w 73"/>
                    <a:gd name="T33" fmla="*/ 24 h 57"/>
                    <a:gd name="T34" fmla="*/ 14 w 73"/>
                    <a:gd name="T35" fmla="*/ 27 h 57"/>
                    <a:gd name="T36" fmla="*/ 15 w 73"/>
                    <a:gd name="T37" fmla="*/ 28 h 57"/>
                    <a:gd name="T38" fmla="*/ 15 w 73"/>
                    <a:gd name="T39" fmla="*/ 32 h 57"/>
                    <a:gd name="T40" fmla="*/ 19 w 73"/>
                    <a:gd name="T41" fmla="*/ 37 h 57"/>
                    <a:gd name="T42" fmla="*/ 22 w 73"/>
                    <a:gd name="T43" fmla="*/ 37 h 57"/>
                    <a:gd name="T44" fmla="*/ 25 w 73"/>
                    <a:gd name="T45" fmla="*/ 40 h 57"/>
                    <a:gd name="T46" fmla="*/ 27 w 73"/>
                    <a:gd name="T47" fmla="*/ 46 h 57"/>
                    <a:gd name="T48" fmla="*/ 30 w 73"/>
                    <a:gd name="T49" fmla="*/ 49 h 57"/>
                    <a:gd name="T50" fmla="*/ 31 w 73"/>
                    <a:gd name="T51" fmla="*/ 54 h 57"/>
                    <a:gd name="T52" fmla="*/ 33 w 73"/>
                    <a:gd name="T53" fmla="*/ 57 h 57"/>
                    <a:gd name="T54" fmla="*/ 36 w 73"/>
                    <a:gd name="T55" fmla="*/ 57 h 57"/>
                    <a:gd name="T56" fmla="*/ 39 w 73"/>
                    <a:gd name="T57" fmla="*/ 54 h 57"/>
                    <a:gd name="T58" fmla="*/ 41 w 73"/>
                    <a:gd name="T59" fmla="*/ 52 h 57"/>
                    <a:gd name="T60" fmla="*/ 42 w 73"/>
                    <a:gd name="T61" fmla="*/ 51 h 57"/>
                    <a:gd name="T62" fmla="*/ 44 w 73"/>
                    <a:gd name="T63" fmla="*/ 48 h 57"/>
                    <a:gd name="T64" fmla="*/ 47 w 73"/>
                    <a:gd name="T65" fmla="*/ 46 h 57"/>
                    <a:gd name="T66" fmla="*/ 51 w 73"/>
                    <a:gd name="T67" fmla="*/ 46 h 57"/>
                    <a:gd name="T68" fmla="*/ 54 w 73"/>
                    <a:gd name="T69" fmla="*/ 48 h 57"/>
                    <a:gd name="T70" fmla="*/ 60 w 73"/>
                    <a:gd name="T71" fmla="*/ 51 h 57"/>
                    <a:gd name="T72" fmla="*/ 64 w 73"/>
                    <a:gd name="T73" fmla="*/ 51 h 57"/>
                    <a:gd name="T74" fmla="*/ 67 w 73"/>
                    <a:gd name="T75" fmla="*/ 47 h 57"/>
                    <a:gd name="T76" fmla="*/ 68 w 73"/>
                    <a:gd name="T77" fmla="*/ 41 h 57"/>
                    <a:gd name="T78" fmla="*/ 70 w 73"/>
                    <a:gd name="T79" fmla="*/ 37 h 57"/>
                    <a:gd name="T80" fmla="*/ 73 w 73"/>
                    <a:gd name="T81" fmla="*/ 36 h 57"/>
                    <a:gd name="T82" fmla="*/ 71 w 73"/>
                    <a:gd name="T83" fmla="*/ 30 h 57"/>
                    <a:gd name="T84" fmla="*/ 68 w 73"/>
                    <a:gd name="T85" fmla="*/ 27 h 57"/>
                    <a:gd name="T86" fmla="*/ 64 w 73"/>
                    <a:gd name="T87" fmla="*/ 25 h 57"/>
                    <a:gd name="T88" fmla="*/ 60 w 73"/>
                    <a:gd name="T89" fmla="*/ 22 h 57"/>
                    <a:gd name="T90" fmla="*/ 58 w 73"/>
                    <a:gd name="T91" fmla="*/ 20 h 57"/>
                    <a:gd name="T92" fmla="*/ 55 w 73"/>
                    <a:gd name="T93" fmla="*/ 16 h 57"/>
                    <a:gd name="T94" fmla="*/ 53 w 73"/>
                    <a:gd name="T95" fmla="*/ 16 h 57"/>
                    <a:gd name="T96" fmla="*/ 52 w 73"/>
                    <a:gd name="T97" fmla="*/ 16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73" h="57">
                      <a:moveTo>
                        <a:pt x="52" y="16"/>
                      </a:moveTo>
                      <a:lnTo>
                        <a:pt x="51" y="15"/>
                      </a:lnTo>
                      <a:lnTo>
                        <a:pt x="48" y="15"/>
                      </a:lnTo>
                      <a:lnTo>
                        <a:pt x="47" y="15"/>
                      </a:lnTo>
                      <a:lnTo>
                        <a:pt x="44" y="15"/>
                      </a:lnTo>
                      <a:lnTo>
                        <a:pt x="41" y="12"/>
                      </a:lnTo>
                      <a:lnTo>
                        <a:pt x="37" y="11"/>
                      </a:lnTo>
                      <a:lnTo>
                        <a:pt x="35" y="10"/>
                      </a:lnTo>
                      <a:lnTo>
                        <a:pt x="33" y="9"/>
                      </a:lnTo>
                      <a:lnTo>
                        <a:pt x="32" y="8"/>
                      </a:lnTo>
                      <a:lnTo>
                        <a:pt x="31" y="6"/>
                      </a:lnTo>
                      <a:lnTo>
                        <a:pt x="26" y="3"/>
                      </a:lnTo>
                      <a:lnTo>
                        <a:pt x="25" y="3"/>
                      </a:lnTo>
                      <a:lnTo>
                        <a:pt x="23" y="3"/>
                      </a:lnTo>
                      <a:lnTo>
                        <a:pt x="21" y="3"/>
                      </a:lnTo>
                      <a:lnTo>
                        <a:pt x="21" y="1"/>
                      </a:lnTo>
                      <a:lnTo>
                        <a:pt x="19" y="1"/>
                      </a:lnTo>
                      <a:lnTo>
                        <a:pt x="16" y="0"/>
                      </a:lnTo>
                      <a:lnTo>
                        <a:pt x="15" y="1"/>
                      </a:lnTo>
                      <a:lnTo>
                        <a:pt x="15" y="3"/>
                      </a:lnTo>
                      <a:lnTo>
                        <a:pt x="11" y="9"/>
                      </a:lnTo>
                      <a:lnTo>
                        <a:pt x="10" y="9"/>
                      </a:lnTo>
                      <a:lnTo>
                        <a:pt x="7" y="10"/>
                      </a:lnTo>
                      <a:lnTo>
                        <a:pt x="5" y="11"/>
                      </a:lnTo>
                      <a:lnTo>
                        <a:pt x="1" y="12"/>
                      </a:lnTo>
                      <a:lnTo>
                        <a:pt x="1" y="14"/>
                      </a:lnTo>
                      <a:lnTo>
                        <a:pt x="1" y="15"/>
                      </a:lnTo>
                      <a:lnTo>
                        <a:pt x="0" y="16"/>
                      </a:lnTo>
                      <a:lnTo>
                        <a:pt x="0" y="19"/>
                      </a:lnTo>
                      <a:lnTo>
                        <a:pt x="1" y="20"/>
                      </a:lnTo>
                      <a:lnTo>
                        <a:pt x="5" y="20"/>
                      </a:lnTo>
                      <a:lnTo>
                        <a:pt x="6" y="21"/>
                      </a:lnTo>
                      <a:lnTo>
                        <a:pt x="9" y="22"/>
                      </a:lnTo>
                      <a:lnTo>
                        <a:pt x="11" y="24"/>
                      </a:lnTo>
                      <a:lnTo>
                        <a:pt x="12" y="25"/>
                      </a:lnTo>
                      <a:lnTo>
                        <a:pt x="14" y="27"/>
                      </a:lnTo>
                      <a:lnTo>
                        <a:pt x="14" y="27"/>
                      </a:lnTo>
                      <a:lnTo>
                        <a:pt x="15" y="28"/>
                      </a:lnTo>
                      <a:lnTo>
                        <a:pt x="15" y="28"/>
                      </a:lnTo>
                      <a:lnTo>
                        <a:pt x="15" y="32"/>
                      </a:lnTo>
                      <a:lnTo>
                        <a:pt x="17" y="36"/>
                      </a:lnTo>
                      <a:lnTo>
                        <a:pt x="19" y="37"/>
                      </a:lnTo>
                      <a:lnTo>
                        <a:pt x="21" y="37"/>
                      </a:lnTo>
                      <a:lnTo>
                        <a:pt x="22" y="37"/>
                      </a:lnTo>
                      <a:lnTo>
                        <a:pt x="23" y="38"/>
                      </a:lnTo>
                      <a:lnTo>
                        <a:pt x="25" y="40"/>
                      </a:lnTo>
                      <a:lnTo>
                        <a:pt x="26" y="42"/>
                      </a:lnTo>
                      <a:lnTo>
                        <a:pt x="27" y="46"/>
                      </a:lnTo>
                      <a:lnTo>
                        <a:pt x="28" y="47"/>
                      </a:lnTo>
                      <a:lnTo>
                        <a:pt x="30" y="49"/>
                      </a:lnTo>
                      <a:lnTo>
                        <a:pt x="31" y="52"/>
                      </a:lnTo>
                      <a:lnTo>
                        <a:pt x="31" y="54"/>
                      </a:lnTo>
                      <a:lnTo>
                        <a:pt x="32" y="55"/>
                      </a:lnTo>
                      <a:lnTo>
                        <a:pt x="33" y="57"/>
                      </a:lnTo>
                      <a:lnTo>
                        <a:pt x="35" y="57"/>
                      </a:lnTo>
                      <a:lnTo>
                        <a:pt x="36" y="57"/>
                      </a:lnTo>
                      <a:lnTo>
                        <a:pt x="38" y="55"/>
                      </a:lnTo>
                      <a:lnTo>
                        <a:pt x="39" y="54"/>
                      </a:lnTo>
                      <a:lnTo>
                        <a:pt x="41" y="53"/>
                      </a:lnTo>
                      <a:lnTo>
                        <a:pt x="41" y="52"/>
                      </a:lnTo>
                      <a:lnTo>
                        <a:pt x="42" y="52"/>
                      </a:lnTo>
                      <a:lnTo>
                        <a:pt x="42" y="51"/>
                      </a:lnTo>
                      <a:lnTo>
                        <a:pt x="42" y="49"/>
                      </a:lnTo>
                      <a:lnTo>
                        <a:pt x="44" y="48"/>
                      </a:lnTo>
                      <a:lnTo>
                        <a:pt x="46" y="47"/>
                      </a:lnTo>
                      <a:lnTo>
                        <a:pt x="47" y="46"/>
                      </a:lnTo>
                      <a:lnTo>
                        <a:pt x="48" y="46"/>
                      </a:lnTo>
                      <a:lnTo>
                        <a:pt x="51" y="46"/>
                      </a:lnTo>
                      <a:lnTo>
                        <a:pt x="52" y="46"/>
                      </a:lnTo>
                      <a:lnTo>
                        <a:pt x="54" y="48"/>
                      </a:lnTo>
                      <a:lnTo>
                        <a:pt x="57" y="51"/>
                      </a:lnTo>
                      <a:lnTo>
                        <a:pt x="60" y="51"/>
                      </a:lnTo>
                      <a:lnTo>
                        <a:pt x="63" y="51"/>
                      </a:lnTo>
                      <a:lnTo>
                        <a:pt x="64" y="51"/>
                      </a:lnTo>
                      <a:lnTo>
                        <a:pt x="65" y="49"/>
                      </a:lnTo>
                      <a:lnTo>
                        <a:pt x="67" y="47"/>
                      </a:lnTo>
                      <a:lnTo>
                        <a:pt x="68" y="43"/>
                      </a:lnTo>
                      <a:lnTo>
                        <a:pt x="68" y="41"/>
                      </a:lnTo>
                      <a:lnTo>
                        <a:pt x="68" y="38"/>
                      </a:lnTo>
                      <a:lnTo>
                        <a:pt x="70" y="37"/>
                      </a:lnTo>
                      <a:lnTo>
                        <a:pt x="71" y="37"/>
                      </a:lnTo>
                      <a:lnTo>
                        <a:pt x="73" y="36"/>
                      </a:lnTo>
                      <a:lnTo>
                        <a:pt x="73" y="33"/>
                      </a:lnTo>
                      <a:lnTo>
                        <a:pt x="71" y="30"/>
                      </a:lnTo>
                      <a:lnTo>
                        <a:pt x="69" y="28"/>
                      </a:lnTo>
                      <a:lnTo>
                        <a:pt x="68" y="27"/>
                      </a:lnTo>
                      <a:lnTo>
                        <a:pt x="65" y="27"/>
                      </a:lnTo>
                      <a:lnTo>
                        <a:pt x="64" y="25"/>
                      </a:lnTo>
                      <a:lnTo>
                        <a:pt x="62" y="24"/>
                      </a:lnTo>
                      <a:lnTo>
                        <a:pt x="60" y="22"/>
                      </a:lnTo>
                      <a:lnTo>
                        <a:pt x="59" y="22"/>
                      </a:lnTo>
                      <a:lnTo>
                        <a:pt x="58" y="20"/>
                      </a:lnTo>
                      <a:lnTo>
                        <a:pt x="57" y="17"/>
                      </a:lnTo>
                      <a:lnTo>
                        <a:pt x="55" y="16"/>
                      </a:lnTo>
                      <a:lnTo>
                        <a:pt x="54" y="16"/>
                      </a:lnTo>
                      <a:lnTo>
                        <a:pt x="53" y="16"/>
                      </a:lnTo>
                      <a:lnTo>
                        <a:pt x="52" y="16"/>
                      </a:lnTo>
                      <a:lnTo>
                        <a:pt x="52" y="16"/>
                      </a:lnTo>
                      <a:lnTo>
                        <a:pt x="52" y="1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5" name="Freeform 906">
                  <a:extLst>
                    <a:ext uri="{FF2B5EF4-FFF2-40B4-BE49-F238E27FC236}">
                      <a16:creationId xmlns:a16="http://schemas.microsoft.com/office/drawing/2014/main" id="{4B3DDA68-4E57-48C2-A745-08F13950AF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04370" y="4787357"/>
                  <a:ext cx="3989031" cy="1440077"/>
                </a:xfrm>
                <a:custGeom>
                  <a:avLst/>
                  <a:gdLst>
                    <a:gd name="T0" fmla="*/ 1215 w 3565"/>
                    <a:gd name="T1" fmla="*/ 43 h 1085"/>
                    <a:gd name="T2" fmla="*/ 1118 w 3565"/>
                    <a:gd name="T3" fmla="*/ 84 h 1085"/>
                    <a:gd name="T4" fmla="*/ 991 w 3565"/>
                    <a:gd name="T5" fmla="*/ 138 h 1085"/>
                    <a:gd name="T6" fmla="*/ 931 w 3565"/>
                    <a:gd name="T7" fmla="*/ 132 h 1085"/>
                    <a:gd name="T8" fmla="*/ 1050 w 3565"/>
                    <a:gd name="T9" fmla="*/ 259 h 1085"/>
                    <a:gd name="T10" fmla="*/ 951 w 3565"/>
                    <a:gd name="T11" fmla="*/ 281 h 1085"/>
                    <a:gd name="T12" fmla="*/ 814 w 3565"/>
                    <a:gd name="T13" fmla="*/ 121 h 1085"/>
                    <a:gd name="T14" fmla="*/ 838 w 3565"/>
                    <a:gd name="T15" fmla="*/ 239 h 1085"/>
                    <a:gd name="T16" fmla="*/ 636 w 3565"/>
                    <a:gd name="T17" fmla="*/ 233 h 1085"/>
                    <a:gd name="T18" fmla="*/ 469 w 3565"/>
                    <a:gd name="T19" fmla="*/ 252 h 1085"/>
                    <a:gd name="T20" fmla="*/ 343 w 3565"/>
                    <a:gd name="T21" fmla="*/ 258 h 1085"/>
                    <a:gd name="T22" fmla="*/ 221 w 3565"/>
                    <a:gd name="T23" fmla="*/ 339 h 1085"/>
                    <a:gd name="T24" fmla="*/ 124 w 3565"/>
                    <a:gd name="T25" fmla="*/ 301 h 1085"/>
                    <a:gd name="T26" fmla="*/ 282 w 3565"/>
                    <a:gd name="T27" fmla="*/ 275 h 1085"/>
                    <a:gd name="T28" fmla="*/ 75 w 3565"/>
                    <a:gd name="T29" fmla="*/ 201 h 1085"/>
                    <a:gd name="T30" fmla="*/ 46 w 3565"/>
                    <a:gd name="T31" fmla="*/ 345 h 1085"/>
                    <a:gd name="T32" fmla="*/ 35 w 3565"/>
                    <a:gd name="T33" fmla="*/ 497 h 1085"/>
                    <a:gd name="T34" fmla="*/ 119 w 3565"/>
                    <a:gd name="T35" fmla="*/ 642 h 1085"/>
                    <a:gd name="T36" fmla="*/ 215 w 3565"/>
                    <a:gd name="T37" fmla="*/ 753 h 1085"/>
                    <a:gd name="T38" fmla="*/ 369 w 3565"/>
                    <a:gd name="T39" fmla="*/ 840 h 1085"/>
                    <a:gd name="T40" fmla="*/ 337 w 3565"/>
                    <a:gd name="T41" fmla="*/ 933 h 1085"/>
                    <a:gd name="T42" fmla="*/ 503 w 3565"/>
                    <a:gd name="T43" fmla="*/ 1036 h 1085"/>
                    <a:gd name="T44" fmla="*/ 595 w 3565"/>
                    <a:gd name="T45" fmla="*/ 1001 h 1085"/>
                    <a:gd name="T46" fmla="*/ 568 w 3565"/>
                    <a:gd name="T47" fmla="*/ 874 h 1085"/>
                    <a:gd name="T48" fmla="*/ 637 w 3565"/>
                    <a:gd name="T49" fmla="*/ 746 h 1085"/>
                    <a:gd name="T50" fmla="*/ 817 w 3565"/>
                    <a:gd name="T51" fmla="*/ 765 h 1085"/>
                    <a:gd name="T52" fmla="*/ 888 w 3565"/>
                    <a:gd name="T53" fmla="*/ 706 h 1085"/>
                    <a:gd name="T54" fmla="*/ 1010 w 3565"/>
                    <a:gd name="T55" fmla="*/ 647 h 1085"/>
                    <a:gd name="T56" fmla="*/ 1171 w 3565"/>
                    <a:gd name="T57" fmla="*/ 671 h 1085"/>
                    <a:gd name="T58" fmla="*/ 1391 w 3565"/>
                    <a:gd name="T59" fmla="*/ 762 h 1085"/>
                    <a:gd name="T60" fmla="*/ 1598 w 3565"/>
                    <a:gd name="T61" fmla="*/ 817 h 1085"/>
                    <a:gd name="T62" fmla="*/ 1835 w 3565"/>
                    <a:gd name="T63" fmla="*/ 800 h 1085"/>
                    <a:gd name="T64" fmla="*/ 2120 w 3565"/>
                    <a:gd name="T65" fmla="*/ 821 h 1085"/>
                    <a:gd name="T66" fmla="*/ 2362 w 3565"/>
                    <a:gd name="T67" fmla="*/ 727 h 1085"/>
                    <a:gd name="T68" fmla="*/ 2591 w 3565"/>
                    <a:gd name="T69" fmla="*/ 810 h 1085"/>
                    <a:gd name="T70" fmla="*/ 2808 w 3565"/>
                    <a:gd name="T71" fmla="*/ 887 h 1085"/>
                    <a:gd name="T72" fmla="*/ 2820 w 3565"/>
                    <a:gd name="T73" fmla="*/ 1040 h 1085"/>
                    <a:gd name="T74" fmla="*/ 2927 w 3565"/>
                    <a:gd name="T75" fmla="*/ 906 h 1085"/>
                    <a:gd name="T76" fmla="*/ 2856 w 3565"/>
                    <a:gd name="T77" fmla="*/ 700 h 1085"/>
                    <a:gd name="T78" fmla="*/ 2710 w 3565"/>
                    <a:gd name="T79" fmla="*/ 662 h 1085"/>
                    <a:gd name="T80" fmla="*/ 2794 w 3565"/>
                    <a:gd name="T81" fmla="*/ 512 h 1085"/>
                    <a:gd name="T82" fmla="*/ 2967 w 3565"/>
                    <a:gd name="T83" fmla="*/ 518 h 1085"/>
                    <a:gd name="T84" fmla="*/ 3041 w 3565"/>
                    <a:gd name="T85" fmla="*/ 432 h 1085"/>
                    <a:gd name="T86" fmla="*/ 3141 w 3565"/>
                    <a:gd name="T87" fmla="*/ 415 h 1085"/>
                    <a:gd name="T88" fmla="*/ 3119 w 3565"/>
                    <a:gd name="T89" fmla="*/ 550 h 1085"/>
                    <a:gd name="T90" fmla="*/ 3284 w 3565"/>
                    <a:gd name="T91" fmla="*/ 704 h 1085"/>
                    <a:gd name="T92" fmla="*/ 3277 w 3565"/>
                    <a:gd name="T93" fmla="*/ 588 h 1085"/>
                    <a:gd name="T94" fmla="*/ 3212 w 3565"/>
                    <a:gd name="T95" fmla="*/ 485 h 1085"/>
                    <a:gd name="T96" fmla="*/ 3345 w 3565"/>
                    <a:gd name="T97" fmla="*/ 446 h 1085"/>
                    <a:gd name="T98" fmla="*/ 3399 w 3565"/>
                    <a:gd name="T99" fmla="*/ 384 h 1085"/>
                    <a:gd name="T100" fmla="*/ 3370 w 3565"/>
                    <a:gd name="T101" fmla="*/ 339 h 1085"/>
                    <a:gd name="T102" fmla="*/ 3516 w 3565"/>
                    <a:gd name="T103" fmla="*/ 354 h 1085"/>
                    <a:gd name="T104" fmla="*/ 3544 w 3565"/>
                    <a:gd name="T105" fmla="*/ 308 h 1085"/>
                    <a:gd name="T106" fmla="*/ 3406 w 3565"/>
                    <a:gd name="T107" fmla="*/ 285 h 1085"/>
                    <a:gd name="T108" fmla="*/ 2972 w 3565"/>
                    <a:gd name="T109" fmla="*/ 200 h 1085"/>
                    <a:gd name="T110" fmla="*/ 2540 w 3565"/>
                    <a:gd name="T111" fmla="*/ 172 h 1085"/>
                    <a:gd name="T112" fmla="*/ 2389 w 3565"/>
                    <a:gd name="T113" fmla="*/ 143 h 1085"/>
                    <a:gd name="T114" fmla="*/ 2243 w 3565"/>
                    <a:gd name="T115" fmla="*/ 161 h 1085"/>
                    <a:gd name="T116" fmla="*/ 2045 w 3565"/>
                    <a:gd name="T117" fmla="*/ 141 h 1085"/>
                    <a:gd name="T118" fmla="*/ 1891 w 3565"/>
                    <a:gd name="T119" fmla="*/ 114 h 1085"/>
                    <a:gd name="T120" fmla="*/ 1605 w 3565"/>
                    <a:gd name="T121" fmla="*/ 100 h 1085"/>
                    <a:gd name="T122" fmla="*/ 1617 w 3565"/>
                    <a:gd name="T123" fmla="*/ 70 h 1085"/>
                    <a:gd name="T124" fmla="*/ 1443 w 3565"/>
                    <a:gd name="T125" fmla="*/ 14 h 10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565" h="1085">
                      <a:moveTo>
                        <a:pt x="1377" y="0"/>
                      </a:moveTo>
                      <a:lnTo>
                        <a:pt x="1370" y="0"/>
                      </a:lnTo>
                      <a:lnTo>
                        <a:pt x="1363" y="1"/>
                      </a:lnTo>
                      <a:lnTo>
                        <a:pt x="1359" y="2"/>
                      </a:lnTo>
                      <a:lnTo>
                        <a:pt x="1355" y="4"/>
                      </a:lnTo>
                      <a:lnTo>
                        <a:pt x="1350" y="7"/>
                      </a:lnTo>
                      <a:lnTo>
                        <a:pt x="1345" y="7"/>
                      </a:lnTo>
                      <a:lnTo>
                        <a:pt x="1352" y="8"/>
                      </a:lnTo>
                      <a:lnTo>
                        <a:pt x="1343" y="13"/>
                      </a:lnTo>
                      <a:lnTo>
                        <a:pt x="1345" y="16"/>
                      </a:lnTo>
                      <a:lnTo>
                        <a:pt x="1343" y="16"/>
                      </a:lnTo>
                      <a:lnTo>
                        <a:pt x="1343" y="18"/>
                      </a:lnTo>
                      <a:lnTo>
                        <a:pt x="1344" y="19"/>
                      </a:lnTo>
                      <a:lnTo>
                        <a:pt x="1347" y="22"/>
                      </a:lnTo>
                      <a:lnTo>
                        <a:pt x="1352" y="23"/>
                      </a:lnTo>
                      <a:lnTo>
                        <a:pt x="1353" y="24"/>
                      </a:lnTo>
                      <a:lnTo>
                        <a:pt x="1353" y="25"/>
                      </a:lnTo>
                      <a:lnTo>
                        <a:pt x="1354" y="27"/>
                      </a:lnTo>
                      <a:lnTo>
                        <a:pt x="1356" y="28"/>
                      </a:lnTo>
                      <a:lnTo>
                        <a:pt x="1361" y="29"/>
                      </a:lnTo>
                      <a:lnTo>
                        <a:pt x="1368" y="29"/>
                      </a:lnTo>
                      <a:lnTo>
                        <a:pt x="1363" y="29"/>
                      </a:lnTo>
                      <a:lnTo>
                        <a:pt x="1356" y="28"/>
                      </a:lnTo>
                      <a:lnTo>
                        <a:pt x="1350" y="28"/>
                      </a:lnTo>
                      <a:lnTo>
                        <a:pt x="1342" y="29"/>
                      </a:lnTo>
                      <a:lnTo>
                        <a:pt x="1333" y="29"/>
                      </a:lnTo>
                      <a:lnTo>
                        <a:pt x="1316" y="28"/>
                      </a:lnTo>
                      <a:lnTo>
                        <a:pt x="1322" y="33"/>
                      </a:lnTo>
                      <a:lnTo>
                        <a:pt x="1331" y="34"/>
                      </a:lnTo>
                      <a:lnTo>
                        <a:pt x="1338" y="35"/>
                      </a:lnTo>
                      <a:lnTo>
                        <a:pt x="1344" y="40"/>
                      </a:lnTo>
                      <a:lnTo>
                        <a:pt x="1334" y="39"/>
                      </a:lnTo>
                      <a:lnTo>
                        <a:pt x="1326" y="36"/>
                      </a:lnTo>
                      <a:lnTo>
                        <a:pt x="1317" y="35"/>
                      </a:lnTo>
                      <a:lnTo>
                        <a:pt x="1307" y="36"/>
                      </a:lnTo>
                      <a:lnTo>
                        <a:pt x="1310" y="38"/>
                      </a:lnTo>
                      <a:lnTo>
                        <a:pt x="1310" y="38"/>
                      </a:lnTo>
                      <a:lnTo>
                        <a:pt x="1310" y="38"/>
                      </a:lnTo>
                      <a:lnTo>
                        <a:pt x="1307" y="39"/>
                      </a:lnTo>
                      <a:lnTo>
                        <a:pt x="1304" y="39"/>
                      </a:lnTo>
                      <a:lnTo>
                        <a:pt x="1301" y="39"/>
                      </a:lnTo>
                      <a:lnTo>
                        <a:pt x="1307" y="40"/>
                      </a:lnTo>
                      <a:lnTo>
                        <a:pt x="1302" y="41"/>
                      </a:lnTo>
                      <a:lnTo>
                        <a:pt x="1296" y="41"/>
                      </a:lnTo>
                      <a:lnTo>
                        <a:pt x="1294" y="41"/>
                      </a:lnTo>
                      <a:lnTo>
                        <a:pt x="1291" y="43"/>
                      </a:lnTo>
                      <a:lnTo>
                        <a:pt x="1289" y="44"/>
                      </a:lnTo>
                      <a:lnTo>
                        <a:pt x="1286" y="44"/>
                      </a:lnTo>
                      <a:lnTo>
                        <a:pt x="1281" y="43"/>
                      </a:lnTo>
                      <a:lnTo>
                        <a:pt x="1279" y="41"/>
                      </a:lnTo>
                      <a:lnTo>
                        <a:pt x="1277" y="41"/>
                      </a:lnTo>
                      <a:lnTo>
                        <a:pt x="1268" y="44"/>
                      </a:lnTo>
                      <a:lnTo>
                        <a:pt x="1273" y="39"/>
                      </a:lnTo>
                      <a:lnTo>
                        <a:pt x="1262" y="38"/>
                      </a:lnTo>
                      <a:lnTo>
                        <a:pt x="1250" y="38"/>
                      </a:lnTo>
                      <a:lnTo>
                        <a:pt x="1237" y="38"/>
                      </a:lnTo>
                      <a:lnTo>
                        <a:pt x="1225" y="38"/>
                      </a:lnTo>
                      <a:lnTo>
                        <a:pt x="1231" y="39"/>
                      </a:lnTo>
                      <a:lnTo>
                        <a:pt x="1226" y="40"/>
                      </a:lnTo>
                      <a:lnTo>
                        <a:pt x="1222" y="39"/>
                      </a:lnTo>
                      <a:lnTo>
                        <a:pt x="1218" y="39"/>
                      </a:lnTo>
                      <a:lnTo>
                        <a:pt x="1214" y="39"/>
                      </a:lnTo>
                      <a:lnTo>
                        <a:pt x="1213" y="41"/>
                      </a:lnTo>
                      <a:lnTo>
                        <a:pt x="1214" y="43"/>
                      </a:lnTo>
                      <a:lnTo>
                        <a:pt x="1216" y="44"/>
                      </a:lnTo>
                      <a:lnTo>
                        <a:pt x="1218" y="44"/>
                      </a:lnTo>
                      <a:lnTo>
                        <a:pt x="1216" y="44"/>
                      </a:lnTo>
                      <a:lnTo>
                        <a:pt x="1215" y="43"/>
                      </a:lnTo>
                      <a:lnTo>
                        <a:pt x="1218" y="43"/>
                      </a:lnTo>
                      <a:lnTo>
                        <a:pt x="1222" y="43"/>
                      </a:lnTo>
                      <a:lnTo>
                        <a:pt x="1225" y="43"/>
                      </a:lnTo>
                      <a:lnTo>
                        <a:pt x="1237" y="43"/>
                      </a:lnTo>
                      <a:lnTo>
                        <a:pt x="1229" y="45"/>
                      </a:lnTo>
                      <a:lnTo>
                        <a:pt x="1221" y="46"/>
                      </a:lnTo>
                      <a:lnTo>
                        <a:pt x="1204" y="47"/>
                      </a:lnTo>
                      <a:lnTo>
                        <a:pt x="1166" y="51"/>
                      </a:lnTo>
                      <a:lnTo>
                        <a:pt x="1166" y="52"/>
                      </a:lnTo>
                      <a:lnTo>
                        <a:pt x="1163" y="54"/>
                      </a:lnTo>
                      <a:lnTo>
                        <a:pt x="1161" y="55"/>
                      </a:lnTo>
                      <a:lnTo>
                        <a:pt x="1157" y="55"/>
                      </a:lnTo>
                      <a:lnTo>
                        <a:pt x="1155" y="55"/>
                      </a:lnTo>
                      <a:lnTo>
                        <a:pt x="1151" y="55"/>
                      </a:lnTo>
                      <a:lnTo>
                        <a:pt x="1149" y="55"/>
                      </a:lnTo>
                      <a:lnTo>
                        <a:pt x="1150" y="55"/>
                      </a:lnTo>
                      <a:lnTo>
                        <a:pt x="1151" y="55"/>
                      </a:lnTo>
                      <a:lnTo>
                        <a:pt x="1147" y="56"/>
                      </a:lnTo>
                      <a:lnTo>
                        <a:pt x="1144" y="59"/>
                      </a:lnTo>
                      <a:lnTo>
                        <a:pt x="1140" y="61"/>
                      </a:lnTo>
                      <a:lnTo>
                        <a:pt x="1136" y="63"/>
                      </a:lnTo>
                      <a:lnTo>
                        <a:pt x="1131" y="63"/>
                      </a:lnTo>
                      <a:lnTo>
                        <a:pt x="1127" y="63"/>
                      </a:lnTo>
                      <a:lnTo>
                        <a:pt x="1122" y="62"/>
                      </a:lnTo>
                      <a:lnTo>
                        <a:pt x="1117" y="62"/>
                      </a:lnTo>
                      <a:lnTo>
                        <a:pt x="1120" y="63"/>
                      </a:lnTo>
                      <a:lnTo>
                        <a:pt x="1125" y="65"/>
                      </a:lnTo>
                      <a:lnTo>
                        <a:pt x="1130" y="65"/>
                      </a:lnTo>
                      <a:lnTo>
                        <a:pt x="1133" y="66"/>
                      </a:lnTo>
                      <a:lnTo>
                        <a:pt x="1133" y="67"/>
                      </a:lnTo>
                      <a:lnTo>
                        <a:pt x="1128" y="67"/>
                      </a:lnTo>
                      <a:lnTo>
                        <a:pt x="1124" y="66"/>
                      </a:lnTo>
                      <a:lnTo>
                        <a:pt x="1125" y="67"/>
                      </a:lnTo>
                      <a:lnTo>
                        <a:pt x="1125" y="68"/>
                      </a:lnTo>
                      <a:lnTo>
                        <a:pt x="1125" y="71"/>
                      </a:lnTo>
                      <a:lnTo>
                        <a:pt x="1127" y="73"/>
                      </a:lnTo>
                      <a:lnTo>
                        <a:pt x="1124" y="72"/>
                      </a:lnTo>
                      <a:lnTo>
                        <a:pt x="1124" y="73"/>
                      </a:lnTo>
                      <a:lnTo>
                        <a:pt x="1125" y="76"/>
                      </a:lnTo>
                      <a:lnTo>
                        <a:pt x="1123" y="76"/>
                      </a:lnTo>
                      <a:lnTo>
                        <a:pt x="1120" y="76"/>
                      </a:lnTo>
                      <a:lnTo>
                        <a:pt x="1115" y="75"/>
                      </a:lnTo>
                      <a:lnTo>
                        <a:pt x="1111" y="71"/>
                      </a:lnTo>
                      <a:lnTo>
                        <a:pt x="1106" y="71"/>
                      </a:lnTo>
                      <a:lnTo>
                        <a:pt x="1107" y="72"/>
                      </a:lnTo>
                      <a:lnTo>
                        <a:pt x="1108" y="72"/>
                      </a:lnTo>
                      <a:lnTo>
                        <a:pt x="1107" y="73"/>
                      </a:lnTo>
                      <a:lnTo>
                        <a:pt x="1104" y="73"/>
                      </a:lnTo>
                      <a:lnTo>
                        <a:pt x="1106" y="75"/>
                      </a:lnTo>
                      <a:lnTo>
                        <a:pt x="1107" y="76"/>
                      </a:lnTo>
                      <a:lnTo>
                        <a:pt x="1113" y="77"/>
                      </a:lnTo>
                      <a:lnTo>
                        <a:pt x="1125" y="78"/>
                      </a:lnTo>
                      <a:lnTo>
                        <a:pt x="1123" y="78"/>
                      </a:lnTo>
                      <a:lnTo>
                        <a:pt x="1123" y="78"/>
                      </a:lnTo>
                      <a:lnTo>
                        <a:pt x="1124" y="79"/>
                      </a:lnTo>
                      <a:lnTo>
                        <a:pt x="1128" y="79"/>
                      </a:lnTo>
                      <a:lnTo>
                        <a:pt x="1130" y="79"/>
                      </a:lnTo>
                      <a:lnTo>
                        <a:pt x="1133" y="81"/>
                      </a:lnTo>
                      <a:lnTo>
                        <a:pt x="1136" y="82"/>
                      </a:lnTo>
                      <a:lnTo>
                        <a:pt x="1133" y="83"/>
                      </a:lnTo>
                      <a:lnTo>
                        <a:pt x="1131" y="84"/>
                      </a:lnTo>
                      <a:lnTo>
                        <a:pt x="1130" y="84"/>
                      </a:lnTo>
                      <a:lnTo>
                        <a:pt x="1125" y="82"/>
                      </a:lnTo>
                      <a:lnTo>
                        <a:pt x="1120" y="81"/>
                      </a:lnTo>
                      <a:lnTo>
                        <a:pt x="1114" y="81"/>
                      </a:lnTo>
                      <a:lnTo>
                        <a:pt x="1120" y="84"/>
                      </a:lnTo>
                      <a:lnTo>
                        <a:pt x="1114" y="83"/>
                      </a:lnTo>
                      <a:lnTo>
                        <a:pt x="1118" y="84"/>
                      </a:lnTo>
                      <a:lnTo>
                        <a:pt x="1122" y="86"/>
                      </a:lnTo>
                      <a:lnTo>
                        <a:pt x="1129" y="86"/>
                      </a:lnTo>
                      <a:lnTo>
                        <a:pt x="1139" y="89"/>
                      </a:lnTo>
                      <a:lnTo>
                        <a:pt x="1147" y="90"/>
                      </a:lnTo>
                      <a:lnTo>
                        <a:pt x="1141" y="90"/>
                      </a:lnTo>
                      <a:lnTo>
                        <a:pt x="1146" y="94"/>
                      </a:lnTo>
                      <a:lnTo>
                        <a:pt x="1143" y="97"/>
                      </a:lnTo>
                      <a:lnTo>
                        <a:pt x="1136" y="97"/>
                      </a:lnTo>
                      <a:lnTo>
                        <a:pt x="1129" y="95"/>
                      </a:lnTo>
                      <a:lnTo>
                        <a:pt x="1124" y="95"/>
                      </a:lnTo>
                      <a:lnTo>
                        <a:pt x="1122" y="97"/>
                      </a:lnTo>
                      <a:lnTo>
                        <a:pt x="1118" y="98"/>
                      </a:lnTo>
                      <a:lnTo>
                        <a:pt x="1115" y="99"/>
                      </a:lnTo>
                      <a:lnTo>
                        <a:pt x="1112" y="100"/>
                      </a:lnTo>
                      <a:lnTo>
                        <a:pt x="1108" y="100"/>
                      </a:lnTo>
                      <a:lnTo>
                        <a:pt x="1104" y="99"/>
                      </a:lnTo>
                      <a:lnTo>
                        <a:pt x="1101" y="99"/>
                      </a:lnTo>
                      <a:lnTo>
                        <a:pt x="1097" y="99"/>
                      </a:lnTo>
                      <a:lnTo>
                        <a:pt x="1076" y="102"/>
                      </a:lnTo>
                      <a:lnTo>
                        <a:pt x="1054" y="102"/>
                      </a:lnTo>
                      <a:lnTo>
                        <a:pt x="1047" y="100"/>
                      </a:lnTo>
                      <a:lnTo>
                        <a:pt x="1038" y="100"/>
                      </a:lnTo>
                      <a:lnTo>
                        <a:pt x="1028" y="103"/>
                      </a:lnTo>
                      <a:lnTo>
                        <a:pt x="1024" y="104"/>
                      </a:lnTo>
                      <a:lnTo>
                        <a:pt x="1022" y="105"/>
                      </a:lnTo>
                      <a:lnTo>
                        <a:pt x="1024" y="105"/>
                      </a:lnTo>
                      <a:lnTo>
                        <a:pt x="1024" y="105"/>
                      </a:lnTo>
                      <a:lnTo>
                        <a:pt x="1023" y="108"/>
                      </a:lnTo>
                      <a:lnTo>
                        <a:pt x="1022" y="109"/>
                      </a:lnTo>
                      <a:lnTo>
                        <a:pt x="1020" y="110"/>
                      </a:lnTo>
                      <a:lnTo>
                        <a:pt x="1022" y="110"/>
                      </a:lnTo>
                      <a:lnTo>
                        <a:pt x="1024" y="111"/>
                      </a:lnTo>
                      <a:lnTo>
                        <a:pt x="1026" y="113"/>
                      </a:lnTo>
                      <a:lnTo>
                        <a:pt x="1024" y="114"/>
                      </a:lnTo>
                      <a:lnTo>
                        <a:pt x="1022" y="114"/>
                      </a:lnTo>
                      <a:lnTo>
                        <a:pt x="1028" y="114"/>
                      </a:lnTo>
                      <a:lnTo>
                        <a:pt x="1033" y="116"/>
                      </a:lnTo>
                      <a:lnTo>
                        <a:pt x="1037" y="120"/>
                      </a:lnTo>
                      <a:lnTo>
                        <a:pt x="1039" y="125"/>
                      </a:lnTo>
                      <a:lnTo>
                        <a:pt x="1042" y="129"/>
                      </a:lnTo>
                      <a:lnTo>
                        <a:pt x="1047" y="132"/>
                      </a:lnTo>
                      <a:lnTo>
                        <a:pt x="1052" y="135"/>
                      </a:lnTo>
                      <a:lnTo>
                        <a:pt x="1056" y="135"/>
                      </a:lnTo>
                      <a:lnTo>
                        <a:pt x="1070" y="136"/>
                      </a:lnTo>
                      <a:lnTo>
                        <a:pt x="1077" y="137"/>
                      </a:lnTo>
                      <a:lnTo>
                        <a:pt x="1082" y="141"/>
                      </a:lnTo>
                      <a:lnTo>
                        <a:pt x="1087" y="143"/>
                      </a:lnTo>
                      <a:lnTo>
                        <a:pt x="1091" y="146"/>
                      </a:lnTo>
                      <a:lnTo>
                        <a:pt x="1096" y="147"/>
                      </a:lnTo>
                      <a:lnTo>
                        <a:pt x="1098" y="151"/>
                      </a:lnTo>
                      <a:lnTo>
                        <a:pt x="1085" y="153"/>
                      </a:lnTo>
                      <a:lnTo>
                        <a:pt x="1072" y="151"/>
                      </a:lnTo>
                      <a:lnTo>
                        <a:pt x="1063" y="147"/>
                      </a:lnTo>
                      <a:lnTo>
                        <a:pt x="1052" y="145"/>
                      </a:lnTo>
                      <a:lnTo>
                        <a:pt x="1054" y="145"/>
                      </a:lnTo>
                      <a:lnTo>
                        <a:pt x="1055" y="145"/>
                      </a:lnTo>
                      <a:lnTo>
                        <a:pt x="1054" y="143"/>
                      </a:lnTo>
                      <a:lnTo>
                        <a:pt x="1052" y="142"/>
                      </a:lnTo>
                      <a:lnTo>
                        <a:pt x="1049" y="141"/>
                      </a:lnTo>
                      <a:lnTo>
                        <a:pt x="1044" y="140"/>
                      </a:lnTo>
                      <a:lnTo>
                        <a:pt x="1038" y="140"/>
                      </a:lnTo>
                      <a:lnTo>
                        <a:pt x="1028" y="137"/>
                      </a:lnTo>
                      <a:lnTo>
                        <a:pt x="1018" y="135"/>
                      </a:lnTo>
                      <a:lnTo>
                        <a:pt x="1008" y="135"/>
                      </a:lnTo>
                      <a:lnTo>
                        <a:pt x="1004" y="135"/>
                      </a:lnTo>
                      <a:lnTo>
                        <a:pt x="1000" y="135"/>
                      </a:lnTo>
                      <a:lnTo>
                        <a:pt x="996" y="136"/>
                      </a:lnTo>
                      <a:lnTo>
                        <a:pt x="991" y="138"/>
                      </a:lnTo>
                      <a:lnTo>
                        <a:pt x="988" y="140"/>
                      </a:lnTo>
                      <a:lnTo>
                        <a:pt x="984" y="140"/>
                      </a:lnTo>
                      <a:lnTo>
                        <a:pt x="984" y="142"/>
                      </a:lnTo>
                      <a:lnTo>
                        <a:pt x="986" y="143"/>
                      </a:lnTo>
                      <a:lnTo>
                        <a:pt x="989" y="143"/>
                      </a:lnTo>
                      <a:lnTo>
                        <a:pt x="991" y="142"/>
                      </a:lnTo>
                      <a:lnTo>
                        <a:pt x="999" y="143"/>
                      </a:lnTo>
                      <a:lnTo>
                        <a:pt x="1004" y="147"/>
                      </a:lnTo>
                      <a:lnTo>
                        <a:pt x="997" y="150"/>
                      </a:lnTo>
                      <a:lnTo>
                        <a:pt x="992" y="150"/>
                      </a:lnTo>
                      <a:lnTo>
                        <a:pt x="986" y="147"/>
                      </a:lnTo>
                      <a:lnTo>
                        <a:pt x="980" y="146"/>
                      </a:lnTo>
                      <a:lnTo>
                        <a:pt x="975" y="145"/>
                      </a:lnTo>
                      <a:lnTo>
                        <a:pt x="969" y="145"/>
                      </a:lnTo>
                      <a:lnTo>
                        <a:pt x="959" y="147"/>
                      </a:lnTo>
                      <a:lnTo>
                        <a:pt x="965" y="153"/>
                      </a:lnTo>
                      <a:lnTo>
                        <a:pt x="973" y="158"/>
                      </a:lnTo>
                      <a:lnTo>
                        <a:pt x="979" y="159"/>
                      </a:lnTo>
                      <a:lnTo>
                        <a:pt x="985" y="161"/>
                      </a:lnTo>
                      <a:lnTo>
                        <a:pt x="990" y="162"/>
                      </a:lnTo>
                      <a:lnTo>
                        <a:pt x="997" y="164"/>
                      </a:lnTo>
                      <a:lnTo>
                        <a:pt x="1004" y="164"/>
                      </a:lnTo>
                      <a:lnTo>
                        <a:pt x="1008" y="162"/>
                      </a:lnTo>
                      <a:lnTo>
                        <a:pt x="1010" y="164"/>
                      </a:lnTo>
                      <a:lnTo>
                        <a:pt x="1012" y="165"/>
                      </a:lnTo>
                      <a:lnTo>
                        <a:pt x="1015" y="165"/>
                      </a:lnTo>
                      <a:lnTo>
                        <a:pt x="1017" y="165"/>
                      </a:lnTo>
                      <a:lnTo>
                        <a:pt x="1021" y="169"/>
                      </a:lnTo>
                      <a:lnTo>
                        <a:pt x="1023" y="170"/>
                      </a:lnTo>
                      <a:lnTo>
                        <a:pt x="1026" y="170"/>
                      </a:lnTo>
                      <a:lnTo>
                        <a:pt x="1026" y="173"/>
                      </a:lnTo>
                      <a:lnTo>
                        <a:pt x="1032" y="173"/>
                      </a:lnTo>
                      <a:lnTo>
                        <a:pt x="1038" y="172"/>
                      </a:lnTo>
                      <a:lnTo>
                        <a:pt x="1034" y="175"/>
                      </a:lnTo>
                      <a:lnTo>
                        <a:pt x="1028" y="175"/>
                      </a:lnTo>
                      <a:lnTo>
                        <a:pt x="1022" y="174"/>
                      </a:lnTo>
                      <a:lnTo>
                        <a:pt x="1013" y="172"/>
                      </a:lnTo>
                      <a:lnTo>
                        <a:pt x="1006" y="169"/>
                      </a:lnTo>
                      <a:lnTo>
                        <a:pt x="1000" y="167"/>
                      </a:lnTo>
                      <a:lnTo>
                        <a:pt x="995" y="167"/>
                      </a:lnTo>
                      <a:lnTo>
                        <a:pt x="992" y="170"/>
                      </a:lnTo>
                      <a:lnTo>
                        <a:pt x="989" y="167"/>
                      </a:lnTo>
                      <a:lnTo>
                        <a:pt x="984" y="165"/>
                      </a:lnTo>
                      <a:lnTo>
                        <a:pt x="978" y="165"/>
                      </a:lnTo>
                      <a:lnTo>
                        <a:pt x="973" y="165"/>
                      </a:lnTo>
                      <a:lnTo>
                        <a:pt x="967" y="165"/>
                      </a:lnTo>
                      <a:lnTo>
                        <a:pt x="962" y="165"/>
                      </a:lnTo>
                      <a:lnTo>
                        <a:pt x="956" y="163"/>
                      </a:lnTo>
                      <a:lnTo>
                        <a:pt x="952" y="161"/>
                      </a:lnTo>
                      <a:lnTo>
                        <a:pt x="954" y="161"/>
                      </a:lnTo>
                      <a:lnTo>
                        <a:pt x="954" y="158"/>
                      </a:lnTo>
                      <a:lnTo>
                        <a:pt x="953" y="157"/>
                      </a:lnTo>
                      <a:lnTo>
                        <a:pt x="951" y="154"/>
                      </a:lnTo>
                      <a:lnTo>
                        <a:pt x="947" y="152"/>
                      </a:lnTo>
                      <a:lnTo>
                        <a:pt x="946" y="150"/>
                      </a:lnTo>
                      <a:lnTo>
                        <a:pt x="946" y="147"/>
                      </a:lnTo>
                      <a:lnTo>
                        <a:pt x="946" y="142"/>
                      </a:lnTo>
                      <a:lnTo>
                        <a:pt x="946" y="138"/>
                      </a:lnTo>
                      <a:lnTo>
                        <a:pt x="943" y="135"/>
                      </a:lnTo>
                      <a:lnTo>
                        <a:pt x="941" y="131"/>
                      </a:lnTo>
                      <a:lnTo>
                        <a:pt x="936" y="127"/>
                      </a:lnTo>
                      <a:lnTo>
                        <a:pt x="932" y="124"/>
                      </a:lnTo>
                      <a:lnTo>
                        <a:pt x="927" y="122"/>
                      </a:lnTo>
                      <a:lnTo>
                        <a:pt x="922" y="122"/>
                      </a:lnTo>
                      <a:lnTo>
                        <a:pt x="919" y="122"/>
                      </a:lnTo>
                      <a:lnTo>
                        <a:pt x="921" y="125"/>
                      </a:lnTo>
                      <a:lnTo>
                        <a:pt x="924" y="126"/>
                      </a:lnTo>
                      <a:lnTo>
                        <a:pt x="931" y="132"/>
                      </a:lnTo>
                      <a:lnTo>
                        <a:pt x="933" y="136"/>
                      </a:lnTo>
                      <a:lnTo>
                        <a:pt x="935" y="138"/>
                      </a:lnTo>
                      <a:lnTo>
                        <a:pt x="933" y="141"/>
                      </a:lnTo>
                      <a:lnTo>
                        <a:pt x="931" y="143"/>
                      </a:lnTo>
                      <a:lnTo>
                        <a:pt x="926" y="145"/>
                      </a:lnTo>
                      <a:lnTo>
                        <a:pt x="921" y="146"/>
                      </a:lnTo>
                      <a:lnTo>
                        <a:pt x="916" y="147"/>
                      </a:lnTo>
                      <a:lnTo>
                        <a:pt x="913" y="150"/>
                      </a:lnTo>
                      <a:lnTo>
                        <a:pt x="911" y="152"/>
                      </a:lnTo>
                      <a:lnTo>
                        <a:pt x="911" y="154"/>
                      </a:lnTo>
                      <a:lnTo>
                        <a:pt x="909" y="158"/>
                      </a:lnTo>
                      <a:lnTo>
                        <a:pt x="906" y="161"/>
                      </a:lnTo>
                      <a:lnTo>
                        <a:pt x="915" y="164"/>
                      </a:lnTo>
                      <a:lnTo>
                        <a:pt x="922" y="168"/>
                      </a:lnTo>
                      <a:lnTo>
                        <a:pt x="938" y="178"/>
                      </a:lnTo>
                      <a:lnTo>
                        <a:pt x="941" y="179"/>
                      </a:lnTo>
                      <a:lnTo>
                        <a:pt x="943" y="180"/>
                      </a:lnTo>
                      <a:lnTo>
                        <a:pt x="946" y="183"/>
                      </a:lnTo>
                      <a:lnTo>
                        <a:pt x="947" y="185"/>
                      </a:lnTo>
                      <a:lnTo>
                        <a:pt x="947" y="186"/>
                      </a:lnTo>
                      <a:lnTo>
                        <a:pt x="946" y="189"/>
                      </a:lnTo>
                      <a:lnTo>
                        <a:pt x="945" y="191"/>
                      </a:lnTo>
                      <a:lnTo>
                        <a:pt x="943" y="193"/>
                      </a:lnTo>
                      <a:lnTo>
                        <a:pt x="943" y="197"/>
                      </a:lnTo>
                      <a:lnTo>
                        <a:pt x="943" y="201"/>
                      </a:lnTo>
                      <a:lnTo>
                        <a:pt x="945" y="206"/>
                      </a:lnTo>
                      <a:lnTo>
                        <a:pt x="947" y="209"/>
                      </a:lnTo>
                      <a:lnTo>
                        <a:pt x="951" y="211"/>
                      </a:lnTo>
                      <a:lnTo>
                        <a:pt x="953" y="213"/>
                      </a:lnTo>
                      <a:lnTo>
                        <a:pt x="956" y="217"/>
                      </a:lnTo>
                      <a:lnTo>
                        <a:pt x="958" y="220"/>
                      </a:lnTo>
                      <a:lnTo>
                        <a:pt x="959" y="223"/>
                      </a:lnTo>
                      <a:lnTo>
                        <a:pt x="963" y="224"/>
                      </a:lnTo>
                      <a:lnTo>
                        <a:pt x="974" y="224"/>
                      </a:lnTo>
                      <a:lnTo>
                        <a:pt x="984" y="223"/>
                      </a:lnTo>
                      <a:lnTo>
                        <a:pt x="994" y="221"/>
                      </a:lnTo>
                      <a:lnTo>
                        <a:pt x="997" y="220"/>
                      </a:lnTo>
                      <a:lnTo>
                        <a:pt x="1002" y="221"/>
                      </a:lnTo>
                      <a:lnTo>
                        <a:pt x="1013" y="222"/>
                      </a:lnTo>
                      <a:lnTo>
                        <a:pt x="1022" y="223"/>
                      </a:lnTo>
                      <a:lnTo>
                        <a:pt x="1032" y="227"/>
                      </a:lnTo>
                      <a:lnTo>
                        <a:pt x="1042" y="229"/>
                      </a:lnTo>
                      <a:lnTo>
                        <a:pt x="1045" y="232"/>
                      </a:lnTo>
                      <a:lnTo>
                        <a:pt x="1049" y="234"/>
                      </a:lnTo>
                      <a:lnTo>
                        <a:pt x="1052" y="238"/>
                      </a:lnTo>
                      <a:lnTo>
                        <a:pt x="1054" y="240"/>
                      </a:lnTo>
                      <a:lnTo>
                        <a:pt x="1059" y="243"/>
                      </a:lnTo>
                      <a:lnTo>
                        <a:pt x="1063" y="247"/>
                      </a:lnTo>
                      <a:lnTo>
                        <a:pt x="1063" y="248"/>
                      </a:lnTo>
                      <a:lnTo>
                        <a:pt x="1060" y="249"/>
                      </a:lnTo>
                      <a:lnTo>
                        <a:pt x="1056" y="250"/>
                      </a:lnTo>
                      <a:lnTo>
                        <a:pt x="1055" y="252"/>
                      </a:lnTo>
                      <a:lnTo>
                        <a:pt x="1056" y="255"/>
                      </a:lnTo>
                      <a:lnTo>
                        <a:pt x="1058" y="258"/>
                      </a:lnTo>
                      <a:lnTo>
                        <a:pt x="1060" y="261"/>
                      </a:lnTo>
                      <a:lnTo>
                        <a:pt x="1063" y="263"/>
                      </a:lnTo>
                      <a:lnTo>
                        <a:pt x="1082" y="265"/>
                      </a:lnTo>
                      <a:lnTo>
                        <a:pt x="1085" y="266"/>
                      </a:lnTo>
                      <a:lnTo>
                        <a:pt x="1085" y="266"/>
                      </a:lnTo>
                      <a:lnTo>
                        <a:pt x="1087" y="265"/>
                      </a:lnTo>
                      <a:lnTo>
                        <a:pt x="1088" y="265"/>
                      </a:lnTo>
                      <a:lnTo>
                        <a:pt x="1091" y="265"/>
                      </a:lnTo>
                      <a:lnTo>
                        <a:pt x="1093" y="268"/>
                      </a:lnTo>
                      <a:lnTo>
                        <a:pt x="1083" y="266"/>
                      </a:lnTo>
                      <a:lnTo>
                        <a:pt x="1071" y="268"/>
                      </a:lnTo>
                      <a:lnTo>
                        <a:pt x="1059" y="265"/>
                      </a:lnTo>
                      <a:lnTo>
                        <a:pt x="1054" y="263"/>
                      </a:lnTo>
                      <a:lnTo>
                        <a:pt x="1050" y="259"/>
                      </a:lnTo>
                      <a:lnTo>
                        <a:pt x="1053" y="260"/>
                      </a:lnTo>
                      <a:lnTo>
                        <a:pt x="1053" y="259"/>
                      </a:lnTo>
                      <a:lnTo>
                        <a:pt x="1050" y="254"/>
                      </a:lnTo>
                      <a:lnTo>
                        <a:pt x="1045" y="245"/>
                      </a:lnTo>
                      <a:lnTo>
                        <a:pt x="1043" y="242"/>
                      </a:lnTo>
                      <a:lnTo>
                        <a:pt x="1040" y="239"/>
                      </a:lnTo>
                      <a:lnTo>
                        <a:pt x="1032" y="237"/>
                      </a:lnTo>
                      <a:lnTo>
                        <a:pt x="1028" y="234"/>
                      </a:lnTo>
                      <a:lnTo>
                        <a:pt x="1026" y="232"/>
                      </a:lnTo>
                      <a:lnTo>
                        <a:pt x="1022" y="229"/>
                      </a:lnTo>
                      <a:lnTo>
                        <a:pt x="1018" y="228"/>
                      </a:lnTo>
                      <a:lnTo>
                        <a:pt x="1012" y="227"/>
                      </a:lnTo>
                      <a:lnTo>
                        <a:pt x="1005" y="228"/>
                      </a:lnTo>
                      <a:lnTo>
                        <a:pt x="992" y="232"/>
                      </a:lnTo>
                      <a:lnTo>
                        <a:pt x="989" y="232"/>
                      </a:lnTo>
                      <a:lnTo>
                        <a:pt x="984" y="233"/>
                      </a:lnTo>
                      <a:lnTo>
                        <a:pt x="981" y="234"/>
                      </a:lnTo>
                      <a:lnTo>
                        <a:pt x="980" y="236"/>
                      </a:lnTo>
                      <a:lnTo>
                        <a:pt x="981" y="238"/>
                      </a:lnTo>
                      <a:lnTo>
                        <a:pt x="981" y="240"/>
                      </a:lnTo>
                      <a:lnTo>
                        <a:pt x="983" y="243"/>
                      </a:lnTo>
                      <a:lnTo>
                        <a:pt x="984" y="245"/>
                      </a:lnTo>
                      <a:lnTo>
                        <a:pt x="986" y="247"/>
                      </a:lnTo>
                      <a:lnTo>
                        <a:pt x="992" y="250"/>
                      </a:lnTo>
                      <a:lnTo>
                        <a:pt x="999" y="256"/>
                      </a:lnTo>
                      <a:lnTo>
                        <a:pt x="1001" y="259"/>
                      </a:lnTo>
                      <a:lnTo>
                        <a:pt x="1001" y="263"/>
                      </a:lnTo>
                      <a:lnTo>
                        <a:pt x="1000" y="265"/>
                      </a:lnTo>
                      <a:lnTo>
                        <a:pt x="996" y="268"/>
                      </a:lnTo>
                      <a:lnTo>
                        <a:pt x="992" y="270"/>
                      </a:lnTo>
                      <a:lnTo>
                        <a:pt x="991" y="274"/>
                      </a:lnTo>
                      <a:lnTo>
                        <a:pt x="992" y="279"/>
                      </a:lnTo>
                      <a:lnTo>
                        <a:pt x="991" y="282"/>
                      </a:lnTo>
                      <a:lnTo>
                        <a:pt x="990" y="287"/>
                      </a:lnTo>
                      <a:lnTo>
                        <a:pt x="985" y="288"/>
                      </a:lnTo>
                      <a:lnTo>
                        <a:pt x="981" y="290"/>
                      </a:lnTo>
                      <a:lnTo>
                        <a:pt x="976" y="292"/>
                      </a:lnTo>
                      <a:lnTo>
                        <a:pt x="974" y="293"/>
                      </a:lnTo>
                      <a:lnTo>
                        <a:pt x="970" y="295"/>
                      </a:lnTo>
                      <a:lnTo>
                        <a:pt x="969" y="296"/>
                      </a:lnTo>
                      <a:lnTo>
                        <a:pt x="969" y="299"/>
                      </a:lnTo>
                      <a:lnTo>
                        <a:pt x="969" y="302"/>
                      </a:lnTo>
                      <a:lnTo>
                        <a:pt x="968" y="303"/>
                      </a:lnTo>
                      <a:lnTo>
                        <a:pt x="963" y="306"/>
                      </a:lnTo>
                      <a:lnTo>
                        <a:pt x="957" y="304"/>
                      </a:lnTo>
                      <a:lnTo>
                        <a:pt x="952" y="302"/>
                      </a:lnTo>
                      <a:lnTo>
                        <a:pt x="940" y="302"/>
                      </a:lnTo>
                      <a:lnTo>
                        <a:pt x="929" y="302"/>
                      </a:lnTo>
                      <a:lnTo>
                        <a:pt x="917" y="299"/>
                      </a:lnTo>
                      <a:lnTo>
                        <a:pt x="906" y="298"/>
                      </a:lnTo>
                      <a:lnTo>
                        <a:pt x="901" y="296"/>
                      </a:lnTo>
                      <a:lnTo>
                        <a:pt x="898" y="293"/>
                      </a:lnTo>
                      <a:lnTo>
                        <a:pt x="894" y="291"/>
                      </a:lnTo>
                      <a:lnTo>
                        <a:pt x="890" y="288"/>
                      </a:lnTo>
                      <a:lnTo>
                        <a:pt x="894" y="288"/>
                      </a:lnTo>
                      <a:lnTo>
                        <a:pt x="899" y="288"/>
                      </a:lnTo>
                      <a:lnTo>
                        <a:pt x="909" y="288"/>
                      </a:lnTo>
                      <a:lnTo>
                        <a:pt x="913" y="290"/>
                      </a:lnTo>
                      <a:lnTo>
                        <a:pt x="916" y="291"/>
                      </a:lnTo>
                      <a:lnTo>
                        <a:pt x="920" y="292"/>
                      </a:lnTo>
                      <a:lnTo>
                        <a:pt x="924" y="292"/>
                      </a:lnTo>
                      <a:lnTo>
                        <a:pt x="933" y="288"/>
                      </a:lnTo>
                      <a:lnTo>
                        <a:pt x="942" y="286"/>
                      </a:lnTo>
                      <a:lnTo>
                        <a:pt x="945" y="285"/>
                      </a:lnTo>
                      <a:lnTo>
                        <a:pt x="949" y="284"/>
                      </a:lnTo>
                      <a:lnTo>
                        <a:pt x="951" y="282"/>
                      </a:lnTo>
                      <a:lnTo>
                        <a:pt x="952" y="281"/>
                      </a:lnTo>
                      <a:lnTo>
                        <a:pt x="951" y="281"/>
                      </a:lnTo>
                      <a:lnTo>
                        <a:pt x="948" y="280"/>
                      </a:lnTo>
                      <a:lnTo>
                        <a:pt x="954" y="279"/>
                      </a:lnTo>
                      <a:lnTo>
                        <a:pt x="952" y="276"/>
                      </a:lnTo>
                      <a:lnTo>
                        <a:pt x="956" y="274"/>
                      </a:lnTo>
                      <a:lnTo>
                        <a:pt x="957" y="269"/>
                      </a:lnTo>
                      <a:lnTo>
                        <a:pt x="961" y="265"/>
                      </a:lnTo>
                      <a:lnTo>
                        <a:pt x="965" y="263"/>
                      </a:lnTo>
                      <a:lnTo>
                        <a:pt x="964" y="260"/>
                      </a:lnTo>
                      <a:lnTo>
                        <a:pt x="963" y="258"/>
                      </a:lnTo>
                      <a:lnTo>
                        <a:pt x="963" y="255"/>
                      </a:lnTo>
                      <a:lnTo>
                        <a:pt x="961" y="253"/>
                      </a:lnTo>
                      <a:lnTo>
                        <a:pt x="959" y="250"/>
                      </a:lnTo>
                      <a:lnTo>
                        <a:pt x="961" y="247"/>
                      </a:lnTo>
                      <a:lnTo>
                        <a:pt x="963" y="243"/>
                      </a:lnTo>
                      <a:lnTo>
                        <a:pt x="963" y="240"/>
                      </a:lnTo>
                      <a:lnTo>
                        <a:pt x="961" y="239"/>
                      </a:lnTo>
                      <a:lnTo>
                        <a:pt x="957" y="237"/>
                      </a:lnTo>
                      <a:lnTo>
                        <a:pt x="952" y="236"/>
                      </a:lnTo>
                      <a:lnTo>
                        <a:pt x="949" y="234"/>
                      </a:lnTo>
                      <a:lnTo>
                        <a:pt x="947" y="233"/>
                      </a:lnTo>
                      <a:lnTo>
                        <a:pt x="938" y="231"/>
                      </a:lnTo>
                      <a:lnTo>
                        <a:pt x="935" y="228"/>
                      </a:lnTo>
                      <a:lnTo>
                        <a:pt x="932" y="226"/>
                      </a:lnTo>
                      <a:lnTo>
                        <a:pt x="931" y="223"/>
                      </a:lnTo>
                      <a:lnTo>
                        <a:pt x="931" y="221"/>
                      </a:lnTo>
                      <a:lnTo>
                        <a:pt x="931" y="218"/>
                      </a:lnTo>
                      <a:lnTo>
                        <a:pt x="930" y="217"/>
                      </a:lnTo>
                      <a:lnTo>
                        <a:pt x="929" y="216"/>
                      </a:lnTo>
                      <a:lnTo>
                        <a:pt x="929" y="213"/>
                      </a:lnTo>
                      <a:lnTo>
                        <a:pt x="926" y="210"/>
                      </a:lnTo>
                      <a:lnTo>
                        <a:pt x="925" y="209"/>
                      </a:lnTo>
                      <a:lnTo>
                        <a:pt x="925" y="206"/>
                      </a:lnTo>
                      <a:lnTo>
                        <a:pt x="922" y="202"/>
                      </a:lnTo>
                      <a:lnTo>
                        <a:pt x="919" y="199"/>
                      </a:lnTo>
                      <a:lnTo>
                        <a:pt x="915" y="195"/>
                      </a:lnTo>
                      <a:lnTo>
                        <a:pt x="914" y="191"/>
                      </a:lnTo>
                      <a:lnTo>
                        <a:pt x="914" y="190"/>
                      </a:lnTo>
                      <a:lnTo>
                        <a:pt x="915" y="189"/>
                      </a:lnTo>
                      <a:lnTo>
                        <a:pt x="916" y="188"/>
                      </a:lnTo>
                      <a:lnTo>
                        <a:pt x="915" y="185"/>
                      </a:lnTo>
                      <a:lnTo>
                        <a:pt x="914" y="183"/>
                      </a:lnTo>
                      <a:lnTo>
                        <a:pt x="913" y="178"/>
                      </a:lnTo>
                      <a:lnTo>
                        <a:pt x="909" y="174"/>
                      </a:lnTo>
                      <a:lnTo>
                        <a:pt x="906" y="172"/>
                      </a:lnTo>
                      <a:lnTo>
                        <a:pt x="897" y="168"/>
                      </a:lnTo>
                      <a:lnTo>
                        <a:pt x="888" y="164"/>
                      </a:lnTo>
                      <a:lnTo>
                        <a:pt x="883" y="162"/>
                      </a:lnTo>
                      <a:lnTo>
                        <a:pt x="879" y="158"/>
                      </a:lnTo>
                      <a:lnTo>
                        <a:pt x="883" y="157"/>
                      </a:lnTo>
                      <a:lnTo>
                        <a:pt x="885" y="156"/>
                      </a:lnTo>
                      <a:lnTo>
                        <a:pt x="887" y="153"/>
                      </a:lnTo>
                      <a:lnTo>
                        <a:pt x="887" y="152"/>
                      </a:lnTo>
                      <a:lnTo>
                        <a:pt x="885" y="151"/>
                      </a:lnTo>
                      <a:lnTo>
                        <a:pt x="885" y="150"/>
                      </a:lnTo>
                      <a:lnTo>
                        <a:pt x="888" y="145"/>
                      </a:lnTo>
                      <a:lnTo>
                        <a:pt x="888" y="140"/>
                      </a:lnTo>
                      <a:lnTo>
                        <a:pt x="887" y="134"/>
                      </a:lnTo>
                      <a:lnTo>
                        <a:pt x="882" y="129"/>
                      </a:lnTo>
                      <a:lnTo>
                        <a:pt x="877" y="125"/>
                      </a:lnTo>
                      <a:lnTo>
                        <a:pt x="871" y="124"/>
                      </a:lnTo>
                      <a:lnTo>
                        <a:pt x="865" y="124"/>
                      </a:lnTo>
                      <a:lnTo>
                        <a:pt x="857" y="122"/>
                      </a:lnTo>
                      <a:lnTo>
                        <a:pt x="850" y="121"/>
                      </a:lnTo>
                      <a:lnTo>
                        <a:pt x="841" y="121"/>
                      </a:lnTo>
                      <a:lnTo>
                        <a:pt x="826" y="122"/>
                      </a:lnTo>
                      <a:lnTo>
                        <a:pt x="819" y="122"/>
                      </a:lnTo>
                      <a:lnTo>
                        <a:pt x="812" y="121"/>
                      </a:lnTo>
                      <a:lnTo>
                        <a:pt x="814" y="121"/>
                      </a:lnTo>
                      <a:lnTo>
                        <a:pt x="814" y="120"/>
                      </a:lnTo>
                      <a:lnTo>
                        <a:pt x="813" y="120"/>
                      </a:lnTo>
                      <a:lnTo>
                        <a:pt x="810" y="120"/>
                      </a:lnTo>
                      <a:lnTo>
                        <a:pt x="808" y="121"/>
                      </a:lnTo>
                      <a:lnTo>
                        <a:pt x="806" y="125"/>
                      </a:lnTo>
                      <a:lnTo>
                        <a:pt x="804" y="129"/>
                      </a:lnTo>
                      <a:lnTo>
                        <a:pt x="804" y="135"/>
                      </a:lnTo>
                      <a:lnTo>
                        <a:pt x="806" y="142"/>
                      </a:lnTo>
                      <a:lnTo>
                        <a:pt x="807" y="148"/>
                      </a:lnTo>
                      <a:lnTo>
                        <a:pt x="804" y="153"/>
                      </a:lnTo>
                      <a:lnTo>
                        <a:pt x="801" y="157"/>
                      </a:lnTo>
                      <a:lnTo>
                        <a:pt x="797" y="159"/>
                      </a:lnTo>
                      <a:lnTo>
                        <a:pt x="787" y="163"/>
                      </a:lnTo>
                      <a:lnTo>
                        <a:pt x="785" y="165"/>
                      </a:lnTo>
                      <a:lnTo>
                        <a:pt x="782" y="168"/>
                      </a:lnTo>
                      <a:lnTo>
                        <a:pt x="782" y="172"/>
                      </a:lnTo>
                      <a:lnTo>
                        <a:pt x="785" y="172"/>
                      </a:lnTo>
                      <a:lnTo>
                        <a:pt x="783" y="173"/>
                      </a:lnTo>
                      <a:lnTo>
                        <a:pt x="782" y="174"/>
                      </a:lnTo>
                      <a:lnTo>
                        <a:pt x="785" y="177"/>
                      </a:lnTo>
                      <a:lnTo>
                        <a:pt x="788" y="178"/>
                      </a:lnTo>
                      <a:lnTo>
                        <a:pt x="791" y="178"/>
                      </a:lnTo>
                      <a:lnTo>
                        <a:pt x="796" y="178"/>
                      </a:lnTo>
                      <a:lnTo>
                        <a:pt x="798" y="179"/>
                      </a:lnTo>
                      <a:lnTo>
                        <a:pt x="799" y="183"/>
                      </a:lnTo>
                      <a:lnTo>
                        <a:pt x="801" y="186"/>
                      </a:lnTo>
                      <a:lnTo>
                        <a:pt x="802" y="190"/>
                      </a:lnTo>
                      <a:lnTo>
                        <a:pt x="802" y="191"/>
                      </a:lnTo>
                      <a:lnTo>
                        <a:pt x="803" y="193"/>
                      </a:lnTo>
                      <a:lnTo>
                        <a:pt x="806" y="195"/>
                      </a:lnTo>
                      <a:lnTo>
                        <a:pt x="808" y="196"/>
                      </a:lnTo>
                      <a:lnTo>
                        <a:pt x="808" y="199"/>
                      </a:lnTo>
                      <a:lnTo>
                        <a:pt x="806" y="200"/>
                      </a:lnTo>
                      <a:lnTo>
                        <a:pt x="802" y="200"/>
                      </a:lnTo>
                      <a:lnTo>
                        <a:pt x="801" y="200"/>
                      </a:lnTo>
                      <a:lnTo>
                        <a:pt x="802" y="206"/>
                      </a:lnTo>
                      <a:lnTo>
                        <a:pt x="803" y="209"/>
                      </a:lnTo>
                      <a:lnTo>
                        <a:pt x="807" y="211"/>
                      </a:lnTo>
                      <a:lnTo>
                        <a:pt x="808" y="209"/>
                      </a:lnTo>
                      <a:lnTo>
                        <a:pt x="812" y="209"/>
                      </a:lnTo>
                      <a:lnTo>
                        <a:pt x="817" y="210"/>
                      </a:lnTo>
                      <a:lnTo>
                        <a:pt x="820" y="211"/>
                      </a:lnTo>
                      <a:lnTo>
                        <a:pt x="826" y="213"/>
                      </a:lnTo>
                      <a:lnTo>
                        <a:pt x="829" y="213"/>
                      </a:lnTo>
                      <a:lnTo>
                        <a:pt x="833" y="212"/>
                      </a:lnTo>
                      <a:lnTo>
                        <a:pt x="834" y="216"/>
                      </a:lnTo>
                      <a:lnTo>
                        <a:pt x="835" y="218"/>
                      </a:lnTo>
                      <a:lnTo>
                        <a:pt x="838" y="221"/>
                      </a:lnTo>
                      <a:lnTo>
                        <a:pt x="845" y="226"/>
                      </a:lnTo>
                      <a:lnTo>
                        <a:pt x="850" y="228"/>
                      </a:lnTo>
                      <a:lnTo>
                        <a:pt x="855" y="229"/>
                      </a:lnTo>
                      <a:lnTo>
                        <a:pt x="858" y="228"/>
                      </a:lnTo>
                      <a:lnTo>
                        <a:pt x="861" y="228"/>
                      </a:lnTo>
                      <a:lnTo>
                        <a:pt x="863" y="229"/>
                      </a:lnTo>
                      <a:lnTo>
                        <a:pt x="861" y="231"/>
                      </a:lnTo>
                      <a:lnTo>
                        <a:pt x="862" y="232"/>
                      </a:lnTo>
                      <a:lnTo>
                        <a:pt x="863" y="234"/>
                      </a:lnTo>
                      <a:lnTo>
                        <a:pt x="862" y="237"/>
                      </a:lnTo>
                      <a:lnTo>
                        <a:pt x="861" y="242"/>
                      </a:lnTo>
                      <a:lnTo>
                        <a:pt x="861" y="243"/>
                      </a:lnTo>
                      <a:lnTo>
                        <a:pt x="861" y="245"/>
                      </a:lnTo>
                      <a:lnTo>
                        <a:pt x="861" y="248"/>
                      </a:lnTo>
                      <a:lnTo>
                        <a:pt x="861" y="249"/>
                      </a:lnTo>
                      <a:lnTo>
                        <a:pt x="856" y="248"/>
                      </a:lnTo>
                      <a:lnTo>
                        <a:pt x="850" y="244"/>
                      </a:lnTo>
                      <a:lnTo>
                        <a:pt x="847" y="243"/>
                      </a:lnTo>
                      <a:lnTo>
                        <a:pt x="846" y="243"/>
                      </a:lnTo>
                      <a:lnTo>
                        <a:pt x="838" y="239"/>
                      </a:lnTo>
                      <a:lnTo>
                        <a:pt x="830" y="236"/>
                      </a:lnTo>
                      <a:lnTo>
                        <a:pt x="822" y="232"/>
                      </a:lnTo>
                      <a:lnTo>
                        <a:pt x="813" y="229"/>
                      </a:lnTo>
                      <a:lnTo>
                        <a:pt x="798" y="227"/>
                      </a:lnTo>
                      <a:lnTo>
                        <a:pt x="794" y="227"/>
                      </a:lnTo>
                      <a:lnTo>
                        <a:pt x="790" y="224"/>
                      </a:lnTo>
                      <a:lnTo>
                        <a:pt x="788" y="224"/>
                      </a:lnTo>
                      <a:lnTo>
                        <a:pt x="787" y="223"/>
                      </a:lnTo>
                      <a:lnTo>
                        <a:pt x="787" y="223"/>
                      </a:lnTo>
                      <a:lnTo>
                        <a:pt x="790" y="223"/>
                      </a:lnTo>
                      <a:lnTo>
                        <a:pt x="785" y="222"/>
                      </a:lnTo>
                      <a:lnTo>
                        <a:pt x="780" y="221"/>
                      </a:lnTo>
                      <a:lnTo>
                        <a:pt x="774" y="220"/>
                      </a:lnTo>
                      <a:lnTo>
                        <a:pt x="771" y="221"/>
                      </a:lnTo>
                      <a:lnTo>
                        <a:pt x="769" y="223"/>
                      </a:lnTo>
                      <a:lnTo>
                        <a:pt x="767" y="222"/>
                      </a:lnTo>
                      <a:lnTo>
                        <a:pt x="767" y="220"/>
                      </a:lnTo>
                      <a:lnTo>
                        <a:pt x="770" y="218"/>
                      </a:lnTo>
                      <a:lnTo>
                        <a:pt x="753" y="213"/>
                      </a:lnTo>
                      <a:lnTo>
                        <a:pt x="737" y="209"/>
                      </a:lnTo>
                      <a:lnTo>
                        <a:pt x="721" y="207"/>
                      </a:lnTo>
                      <a:lnTo>
                        <a:pt x="703" y="206"/>
                      </a:lnTo>
                      <a:lnTo>
                        <a:pt x="694" y="206"/>
                      </a:lnTo>
                      <a:lnTo>
                        <a:pt x="685" y="205"/>
                      </a:lnTo>
                      <a:lnTo>
                        <a:pt x="680" y="204"/>
                      </a:lnTo>
                      <a:lnTo>
                        <a:pt x="676" y="204"/>
                      </a:lnTo>
                      <a:lnTo>
                        <a:pt x="674" y="205"/>
                      </a:lnTo>
                      <a:lnTo>
                        <a:pt x="673" y="209"/>
                      </a:lnTo>
                      <a:lnTo>
                        <a:pt x="670" y="209"/>
                      </a:lnTo>
                      <a:lnTo>
                        <a:pt x="669" y="210"/>
                      </a:lnTo>
                      <a:lnTo>
                        <a:pt x="667" y="210"/>
                      </a:lnTo>
                      <a:lnTo>
                        <a:pt x="665" y="210"/>
                      </a:lnTo>
                      <a:lnTo>
                        <a:pt x="664" y="211"/>
                      </a:lnTo>
                      <a:lnTo>
                        <a:pt x="672" y="215"/>
                      </a:lnTo>
                      <a:lnTo>
                        <a:pt x="678" y="221"/>
                      </a:lnTo>
                      <a:lnTo>
                        <a:pt x="680" y="223"/>
                      </a:lnTo>
                      <a:lnTo>
                        <a:pt x="683" y="223"/>
                      </a:lnTo>
                      <a:lnTo>
                        <a:pt x="685" y="223"/>
                      </a:lnTo>
                      <a:lnTo>
                        <a:pt x="688" y="224"/>
                      </a:lnTo>
                      <a:lnTo>
                        <a:pt x="689" y="229"/>
                      </a:lnTo>
                      <a:lnTo>
                        <a:pt x="688" y="232"/>
                      </a:lnTo>
                      <a:lnTo>
                        <a:pt x="685" y="233"/>
                      </a:lnTo>
                      <a:lnTo>
                        <a:pt x="681" y="234"/>
                      </a:lnTo>
                      <a:lnTo>
                        <a:pt x="673" y="236"/>
                      </a:lnTo>
                      <a:lnTo>
                        <a:pt x="670" y="237"/>
                      </a:lnTo>
                      <a:lnTo>
                        <a:pt x="668" y="238"/>
                      </a:lnTo>
                      <a:lnTo>
                        <a:pt x="670" y="238"/>
                      </a:lnTo>
                      <a:lnTo>
                        <a:pt x="672" y="240"/>
                      </a:lnTo>
                      <a:lnTo>
                        <a:pt x="674" y="242"/>
                      </a:lnTo>
                      <a:lnTo>
                        <a:pt x="674" y="244"/>
                      </a:lnTo>
                      <a:lnTo>
                        <a:pt x="672" y="245"/>
                      </a:lnTo>
                      <a:lnTo>
                        <a:pt x="669" y="245"/>
                      </a:lnTo>
                      <a:lnTo>
                        <a:pt x="665" y="245"/>
                      </a:lnTo>
                      <a:lnTo>
                        <a:pt x="663" y="244"/>
                      </a:lnTo>
                      <a:lnTo>
                        <a:pt x="658" y="243"/>
                      </a:lnTo>
                      <a:lnTo>
                        <a:pt x="656" y="239"/>
                      </a:lnTo>
                      <a:lnTo>
                        <a:pt x="656" y="237"/>
                      </a:lnTo>
                      <a:lnTo>
                        <a:pt x="657" y="236"/>
                      </a:lnTo>
                      <a:lnTo>
                        <a:pt x="659" y="234"/>
                      </a:lnTo>
                      <a:lnTo>
                        <a:pt x="657" y="233"/>
                      </a:lnTo>
                      <a:lnTo>
                        <a:pt x="652" y="231"/>
                      </a:lnTo>
                      <a:lnTo>
                        <a:pt x="649" y="228"/>
                      </a:lnTo>
                      <a:lnTo>
                        <a:pt x="649" y="227"/>
                      </a:lnTo>
                      <a:lnTo>
                        <a:pt x="651" y="227"/>
                      </a:lnTo>
                      <a:lnTo>
                        <a:pt x="642" y="228"/>
                      </a:lnTo>
                      <a:lnTo>
                        <a:pt x="637" y="228"/>
                      </a:lnTo>
                      <a:lnTo>
                        <a:pt x="633" y="231"/>
                      </a:lnTo>
                      <a:lnTo>
                        <a:pt x="636" y="233"/>
                      </a:lnTo>
                      <a:lnTo>
                        <a:pt x="635" y="233"/>
                      </a:lnTo>
                      <a:lnTo>
                        <a:pt x="631" y="232"/>
                      </a:lnTo>
                      <a:lnTo>
                        <a:pt x="628" y="231"/>
                      </a:lnTo>
                      <a:lnTo>
                        <a:pt x="627" y="232"/>
                      </a:lnTo>
                      <a:lnTo>
                        <a:pt x="627" y="233"/>
                      </a:lnTo>
                      <a:lnTo>
                        <a:pt x="626" y="234"/>
                      </a:lnTo>
                      <a:lnTo>
                        <a:pt x="622" y="234"/>
                      </a:lnTo>
                      <a:lnTo>
                        <a:pt x="620" y="236"/>
                      </a:lnTo>
                      <a:lnTo>
                        <a:pt x="619" y="237"/>
                      </a:lnTo>
                      <a:lnTo>
                        <a:pt x="615" y="239"/>
                      </a:lnTo>
                      <a:lnTo>
                        <a:pt x="610" y="239"/>
                      </a:lnTo>
                      <a:lnTo>
                        <a:pt x="606" y="238"/>
                      </a:lnTo>
                      <a:lnTo>
                        <a:pt x="601" y="238"/>
                      </a:lnTo>
                      <a:lnTo>
                        <a:pt x="597" y="237"/>
                      </a:lnTo>
                      <a:lnTo>
                        <a:pt x="583" y="238"/>
                      </a:lnTo>
                      <a:lnTo>
                        <a:pt x="577" y="239"/>
                      </a:lnTo>
                      <a:lnTo>
                        <a:pt x="572" y="242"/>
                      </a:lnTo>
                      <a:lnTo>
                        <a:pt x="569" y="245"/>
                      </a:lnTo>
                      <a:lnTo>
                        <a:pt x="569" y="250"/>
                      </a:lnTo>
                      <a:lnTo>
                        <a:pt x="567" y="250"/>
                      </a:lnTo>
                      <a:lnTo>
                        <a:pt x="565" y="249"/>
                      </a:lnTo>
                      <a:lnTo>
                        <a:pt x="562" y="247"/>
                      </a:lnTo>
                      <a:lnTo>
                        <a:pt x="560" y="247"/>
                      </a:lnTo>
                      <a:lnTo>
                        <a:pt x="556" y="249"/>
                      </a:lnTo>
                      <a:lnTo>
                        <a:pt x="555" y="249"/>
                      </a:lnTo>
                      <a:lnTo>
                        <a:pt x="553" y="247"/>
                      </a:lnTo>
                      <a:lnTo>
                        <a:pt x="550" y="249"/>
                      </a:lnTo>
                      <a:lnTo>
                        <a:pt x="544" y="249"/>
                      </a:lnTo>
                      <a:lnTo>
                        <a:pt x="539" y="249"/>
                      </a:lnTo>
                      <a:lnTo>
                        <a:pt x="534" y="248"/>
                      </a:lnTo>
                      <a:lnTo>
                        <a:pt x="535" y="245"/>
                      </a:lnTo>
                      <a:lnTo>
                        <a:pt x="539" y="244"/>
                      </a:lnTo>
                      <a:lnTo>
                        <a:pt x="542" y="244"/>
                      </a:lnTo>
                      <a:lnTo>
                        <a:pt x="546" y="243"/>
                      </a:lnTo>
                      <a:lnTo>
                        <a:pt x="544" y="240"/>
                      </a:lnTo>
                      <a:lnTo>
                        <a:pt x="541" y="237"/>
                      </a:lnTo>
                      <a:lnTo>
                        <a:pt x="540" y="233"/>
                      </a:lnTo>
                      <a:lnTo>
                        <a:pt x="541" y="232"/>
                      </a:lnTo>
                      <a:lnTo>
                        <a:pt x="544" y="232"/>
                      </a:lnTo>
                      <a:lnTo>
                        <a:pt x="539" y="231"/>
                      </a:lnTo>
                      <a:lnTo>
                        <a:pt x="534" y="229"/>
                      </a:lnTo>
                      <a:lnTo>
                        <a:pt x="539" y="229"/>
                      </a:lnTo>
                      <a:lnTo>
                        <a:pt x="544" y="229"/>
                      </a:lnTo>
                      <a:lnTo>
                        <a:pt x="547" y="228"/>
                      </a:lnTo>
                      <a:lnTo>
                        <a:pt x="552" y="227"/>
                      </a:lnTo>
                      <a:lnTo>
                        <a:pt x="541" y="227"/>
                      </a:lnTo>
                      <a:lnTo>
                        <a:pt x="530" y="229"/>
                      </a:lnTo>
                      <a:lnTo>
                        <a:pt x="519" y="233"/>
                      </a:lnTo>
                      <a:lnTo>
                        <a:pt x="510" y="239"/>
                      </a:lnTo>
                      <a:lnTo>
                        <a:pt x="515" y="240"/>
                      </a:lnTo>
                      <a:lnTo>
                        <a:pt x="520" y="243"/>
                      </a:lnTo>
                      <a:lnTo>
                        <a:pt x="518" y="244"/>
                      </a:lnTo>
                      <a:lnTo>
                        <a:pt x="514" y="245"/>
                      </a:lnTo>
                      <a:lnTo>
                        <a:pt x="512" y="247"/>
                      </a:lnTo>
                      <a:lnTo>
                        <a:pt x="509" y="245"/>
                      </a:lnTo>
                      <a:lnTo>
                        <a:pt x="509" y="244"/>
                      </a:lnTo>
                      <a:lnTo>
                        <a:pt x="509" y="243"/>
                      </a:lnTo>
                      <a:lnTo>
                        <a:pt x="509" y="242"/>
                      </a:lnTo>
                      <a:lnTo>
                        <a:pt x="508" y="240"/>
                      </a:lnTo>
                      <a:lnTo>
                        <a:pt x="504" y="239"/>
                      </a:lnTo>
                      <a:lnTo>
                        <a:pt x="502" y="240"/>
                      </a:lnTo>
                      <a:lnTo>
                        <a:pt x="496" y="243"/>
                      </a:lnTo>
                      <a:lnTo>
                        <a:pt x="493" y="244"/>
                      </a:lnTo>
                      <a:lnTo>
                        <a:pt x="490" y="244"/>
                      </a:lnTo>
                      <a:lnTo>
                        <a:pt x="483" y="244"/>
                      </a:lnTo>
                      <a:lnTo>
                        <a:pt x="478" y="245"/>
                      </a:lnTo>
                      <a:lnTo>
                        <a:pt x="474" y="249"/>
                      </a:lnTo>
                      <a:lnTo>
                        <a:pt x="469" y="252"/>
                      </a:lnTo>
                      <a:lnTo>
                        <a:pt x="464" y="254"/>
                      </a:lnTo>
                      <a:lnTo>
                        <a:pt x="451" y="258"/>
                      </a:lnTo>
                      <a:lnTo>
                        <a:pt x="445" y="259"/>
                      </a:lnTo>
                      <a:lnTo>
                        <a:pt x="439" y="258"/>
                      </a:lnTo>
                      <a:lnTo>
                        <a:pt x="445" y="261"/>
                      </a:lnTo>
                      <a:lnTo>
                        <a:pt x="450" y="265"/>
                      </a:lnTo>
                      <a:lnTo>
                        <a:pt x="446" y="264"/>
                      </a:lnTo>
                      <a:lnTo>
                        <a:pt x="442" y="264"/>
                      </a:lnTo>
                      <a:lnTo>
                        <a:pt x="435" y="264"/>
                      </a:lnTo>
                      <a:lnTo>
                        <a:pt x="432" y="265"/>
                      </a:lnTo>
                      <a:lnTo>
                        <a:pt x="429" y="266"/>
                      </a:lnTo>
                      <a:lnTo>
                        <a:pt x="428" y="266"/>
                      </a:lnTo>
                      <a:lnTo>
                        <a:pt x="426" y="266"/>
                      </a:lnTo>
                      <a:lnTo>
                        <a:pt x="423" y="268"/>
                      </a:lnTo>
                      <a:lnTo>
                        <a:pt x="426" y="269"/>
                      </a:lnTo>
                      <a:lnTo>
                        <a:pt x="427" y="271"/>
                      </a:lnTo>
                      <a:lnTo>
                        <a:pt x="424" y="277"/>
                      </a:lnTo>
                      <a:lnTo>
                        <a:pt x="424" y="280"/>
                      </a:lnTo>
                      <a:lnTo>
                        <a:pt x="426" y="282"/>
                      </a:lnTo>
                      <a:lnTo>
                        <a:pt x="427" y="285"/>
                      </a:lnTo>
                      <a:lnTo>
                        <a:pt x="424" y="286"/>
                      </a:lnTo>
                      <a:lnTo>
                        <a:pt x="422" y="287"/>
                      </a:lnTo>
                      <a:lnTo>
                        <a:pt x="419" y="287"/>
                      </a:lnTo>
                      <a:lnTo>
                        <a:pt x="416" y="287"/>
                      </a:lnTo>
                      <a:lnTo>
                        <a:pt x="413" y="287"/>
                      </a:lnTo>
                      <a:lnTo>
                        <a:pt x="407" y="288"/>
                      </a:lnTo>
                      <a:lnTo>
                        <a:pt x="401" y="290"/>
                      </a:lnTo>
                      <a:lnTo>
                        <a:pt x="403" y="287"/>
                      </a:lnTo>
                      <a:lnTo>
                        <a:pt x="395" y="287"/>
                      </a:lnTo>
                      <a:lnTo>
                        <a:pt x="390" y="287"/>
                      </a:lnTo>
                      <a:lnTo>
                        <a:pt x="386" y="286"/>
                      </a:lnTo>
                      <a:lnTo>
                        <a:pt x="381" y="282"/>
                      </a:lnTo>
                      <a:lnTo>
                        <a:pt x="378" y="277"/>
                      </a:lnTo>
                      <a:lnTo>
                        <a:pt x="370" y="276"/>
                      </a:lnTo>
                      <a:lnTo>
                        <a:pt x="367" y="276"/>
                      </a:lnTo>
                      <a:lnTo>
                        <a:pt x="364" y="274"/>
                      </a:lnTo>
                      <a:lnTo>
                        <a:pt x="363" y="271"/>
                      </a:lnTo>
                      <a:lnTo>
                        <a:pt x="364" y="269"/>
                      </a:lnTo>
                      <a:lnTo>
                        <a:pt x="367" y="266"/>
                      </a:lnTo>
                      <a:lnTo>
                        <a:pt x="370" y="266"/>
                      </a:lnTo>
                      <a:lnTo>
                        <a:pt x="369" y="263"/>
                      </a:lnTo>
                      <a:lnTo>
                        <a:pt x="376" y="261"/>
                      </a:lnTo>
                      <a:lnTo>
                        <a:pt x="384" y="261"/>
                      </a:lnTo>
                      <a:lnTo>
                        <a:pt x="390" y="261"/>
                      </a:lnTo>
                      <a:lnTo>
                        <a:pt x="397" y="260"/>
                      </a:lnTo>
                      <a:lnTo>
                        <a:pt x="395" y="255"/>
                      </a:lnTo>
                      <a:lnTo>
                        <a:pt x="390" y="252"/>
                      </a:lnTo>
                      <a:lnTo>
                        <a:pt x="380" y="247"/>
                      </a:lnTo>
                      <a:lnTo>
                        <a:pt x="371" y="242"/>
                      </a:lnTo>
                      <a:lnTo>
                        <a:pt x="367" y="240"/>
                      </a:lnTo>
                      <a:lnTo>
                        <a:pt x="362" y="239"/>
                      </a:lnTo>
                      <a:lnTo>
                        <a:pt x="354" y="239"/>
                      </a:lnTo>
                      <a:lnTo>
                        <a:pt x="348" y="239"/>
                      </a:lnTo>
                      <a:lnTo>
                        <a:pt x="341" y="240"/>
                      </a:lnTo>
                      <a:lnTo>
                        <a:pt x="335" y="239"/>
                      </a:lnTo>
                      <a:lnTo>
                        <a:pt x="331" y="238"/>
                      </a:lnTo>
                      <a:lnTo>
                        <a:pt x="326" y="237"/>
                      </a:lnTo>
                      <a:lnTo>
                        <a:pt x="322" y="237"/>
                      </a:lnTo>
                      <a:lnTo>
                        <a:pt x="319" y="238"/>
                      </a:lnTo>
                      <a:lnTo>
                        <a:pt x="328" y="242"/>
                      </a:lnTo>
                      <a:lnTo>
                        <a:pt x="339" y="245"/>
                      </a:lnTo>
                      <a:lnTo>
                        <a:pt x="341" y="248"/>
                      </a:lnTo>
                      <a:lnTo>
                        <a:pt x="341" y="250"/>
                      </a:lnTo>
                      <a:lnTo>
                        <a:pt x="342" y="253"/>
                      </a:lnTo>
                      <a:lnTo>
                        <a:pt x="343" y="254"/>
                      </a:lnTo>
                      <a:lnTo>
                        <a:pt x="342" y="255"/>
                      </a:lnTo>
                      <a:lnTo>
                        <a:pt x="341" y="255"/>
                      </a:lnTo>
                      <a:lnTo>
                        <a:pt x="343" y="258"/>
                      </a:lnTo>
                      <a:lnTo>
                        <a:pt x="341" y="259"/>
                      </a:lnTo>
                      <a:lnTo>
                        <a:pt x="341" y="259"/>
                      </a:lnTo>
                      <a:lnTo>
                        <a:pt x="342" y="260"/>
                      </a:lnTo>
                      <a:lnTo>
                        <a:pt x="342" y="263"/>
                      </a:lnTo>
                      <a:lnTo>
                        <a:pt x="339" y="269"/>
                      </a:lnTo>
                      <a:lnTo>
                        <a:pt x="338" y="274"/>
                      </a:lnTo>
                      <a:lnTo>
                        <a:pt x="338" y="276"/>
                      </a:lnTo>
                      <a:lnTo>
                        <a:pt x="341" y="277"/>
                      </a:lnTo>
                      <a:lnTo>
                        <a:pt x="348" y="280"/>
                      </a:lnTo>
                      <a:lnTo>
                        <a:pt x="352" y="281"/>
                      </a:lnTo>
                      <a:lnTo>
                        <a:pt x="355" y="284"/>
                      </a:lnTo>
                      <a:lnTo>
                        <a:pt x="357" y="286"/>
                      </a:lnTo>
                      <a:lnTo>
                        <a:pt x="357" y="290"/>
                      </a:lnTo>
                      <a:lnTo>
                        <a:pt x="358" y="292"/>
                      </a:lnTo>
                      <a:lnTo>
                        <a:pt x="360" y="293"/>
                      </a:lnTo>
                      <a:lnTo>
                        <a:pt x="358" y="295"/>
                      </a:lnTo>
                      <a:lnTo>
                        <a:pt x="355" y="297"/>
                      </a:lnTo>
                      <a:lnTo>
                        <a:pt x="354" y="303"/>
                      </a:lnTo>
                      <a:lnTo>
                        <a:pt x="357" y="311"/>
                      </a:lnTo>
                      <a:lnTo>
                        <a:pt x="359" y="315"/>
                      </a:lnTo>
                      <a:lnTo>
                        <a:pt x="354" y="311"/>
                      </a:lnTo>
                      <a:lnTo>
                        <a:pt x="352" y="308"/>
                      </a:lnTo>
                      <a:lnTo>
                        <a:pt x="349" y="307"/>
                      </a:lnTo>
                      <a:lnTo>
                        <a:pt x="344" y="307"/>
                      </a:lnTo>
                      <a:lnTo>
                        <a:pt x="342" y="308"/>
                      </a:lnTo>
                      <a:lnTo>
                        <a:pt x="342" y="311"/>
                      </a:lnTo>
                      <a:lnTo>
                        <a:pt x="338" y="309"/>
                      </a:lnTo>
                      <a:lnTo>
                        <a:pt x="344" y="306"/>
                      </a:lnTo>
                      <a:lnTo>
                        <a:pt x="342" y="303"/>
                      </a:lnTo>
                      <a:lnTo>
                        <a:pt x="338" y="301"/>
                      </a:lnTo>
                      <a:lnTo>
                        <a:pt x="335" y="301"/>
                      </a:lnTo>
                      <a:lnTo>
                        <a:pt x="331" y="299"/>
                      </a:lnTo>
                      <a:lnTo>
                        <a:pt x="324" y="299"/>
                      </a:lnTo>
                      <a:lnTo>
                        <a:pt x="316" y="298"/>
                      </a:lnTo>
                      <a:lnTo>
                        <a:pt x="312" y="297"/>
                      </a:lnTo>
                      <a:lnTo>
                        <a:pt x="310" y="299"/>
                      </a:lnTo>
                      <a:lnTo>
                        <a:pt x="304" y="304"/>
                      </a:lnTo>
                      <a:lnTo>
                        <a:pt x="296" y="309"/>
                      </a:lnTo>
                      <a:lnTo>
                        <a:pt x="289" y="312"/>
                      </a:lnTo>
                      <a:lnTo>
                        <a:pt x="282" y="314"/>
                      </a:lnTo>
                      <a:lnTo>
                        <a:pt x="274" y="319"/>
                      </a:lnTo>
                      <a:lnTo>
                        <a:pt x="272" y="322"/>
                      </a:lnTo>
                      <a:lnTo>
                        <a:pt x="268" y="323"/>
                      </a:lnTo>
                      <a:lnTo>
                        <a:pt x="264" y="325"/>
                      </a:lnTo>
                      <a:lnTo>
                        <a:pt x="263" y="328"/>
                      </a:lnTo>
                      <a:lnTo>
                        <a:pt x="266" y="331"/>
                      </a:lnTo>
                      <a:lnTo>
                        <a:pt x="269" y="335"/>
                      </a:lnTo>
                      <a:lnTo>
                        <a:pt x="274" y="338"/>
                      </a:lnTo>
                      <a:lnTo>
                        <a:pt x="277" y="340"/>
                      </a:lnTo>
                      <a:lnTo>
                        <a:pt x="284" y="346"/>
                      </a:lnTo>
                      <a:lnTo>
                        <a:pt x="288" y="355"/>
                      </a:lnTo>
                      <a:lnTo>
                        <a:pt x="285" y="354"/>
                      </a:lnTo>
                      <a:lnTo>
                        <a:pt x="280" y="352"/>
                      </a:lnTo>
                      <a:lnTo>
                        <a:pt x="277" y="351"/>
                      </a:lnTo>
                      <a:lnTo>
                        <a:pt x="273" y="351"/>
                      </a:lnTo>
                      <a:lnTo>
                        <a:pt x="267" y="352"/>
                      </a:lnTo>
                      <a:lnTo>
                        <a:pt x="260" y="351"/>
                      </a:lnTo>
                      <a:lnTo>
                        <a:pt x="251" y="349"/>
                      </a:lnTo>
                      <a:lnTo>
                        <a:pt x="242" y="347"/>
                      </a:lnTo>
                      <a:lnTo>
                        <a:pt x="239" y="349"/>
                      </a:lnTo>
                      <a:lnTo>
                        <a:pt x="236" y="350"/>
                      </a:lnTo>
                      <a:lnTo>
                        <a:pt x="234" y="350"/>
                      </a:lnTo>
                      <a:lnTo>
                        <a:pt x="233" y="347"/>
                      </a:lnTo>
                      <a:lnTo>
                        <a:pt x="236" y="346"/>
                      </a:lnTo>
                      <a:lnTo>
                        <a:pt x="239" y="345"/>
                      </a:lnTo>
                      <a:lnTo>
                        <a:pt x="233" y="345"/>
                      </a:lnTo>
                      <a:lnTo>
                        <a:pt x="226" y="343"/>
                      </a:lnTo>
                      <a:lnTo>
                        <a:pt x="221" y="339"/>
                      </a:lnTo>
                      <a:lnTo>
                        <a:pt x="215" y="336"/>
                      </a:lnTo>
                      <a:lnTo>
                        <a:pt x="209" y="335"/>
                      </a:lnTo>
                      <a:lnTo>
                        <a:pt x="205" y="335"/>
                      </a:lnTo>
                      <a:lnTo>
                        <a:pt x="204" y="338"/>
                      </a:lnTo>
                      <a:lnTo>
                        <a:pt x="201" y="341"/>
                      </a:lnTo>
                      <a:lnTo>
                        <a:pt x="199" y="343"/>
                      </a:lnTo>
                      <a:lnTo>
                        <a:pt x="196" y="343"/>
                      </a:lnTo>
                      <a:lnTo>
                        <a:pt x="204" y="351"/>
                      </a:lnTo>
                      <a:lnTo>
                        <a:pt x="214" y="357"/>
                      </a:lnTo>
                      <a:lnTo>
                        <a:pt x="219" y="360"/>
                      </a:lnTo>
                      <a:lnTo>
                        <a:pt x="224" y="358"/>
                      </a:lnTo>
                      <a:lnTo>
                        <a:pt x="226" y="358"/>
                      </a:lnTo>
                      <a:lnTo>
                        <a:pt x="229" y="360"/>
                      </a:lnTo>
                      <a:lnTo>
                        <a:pt x="234" y="361"/>
                      </a:lnTo>
                      <a:lnTo>
                        <a:pt x="234" y="363"/>
                      </a:lnTo>
                      <a:lnTo>
                        <a:pt x="234" y="365"/>
                      </a:lnTo>
                      <a:lnTo>
                        <a:pt x="236" y="370"/>
                      </a:lnTo>
                      <a:lnTo>
                        <a:pt x="236" y="371"/>
                      </a:lnTo>
                      <a:lnTo>
                        <a:pt x="236" y="372"/>
                      </a:lnTo>
                      <a:lnTo>
                        <a:pt x="234" y="373"/>
                      </a:lnTo>
                      <a:lnTo>
                        <a:pt x="230" y="373"/>
                      </a:lnTo>
                      <a:lnTo>
                        <a:pt x="228" y="373"/>
                      </a:lnTo>
                      <a:lnTo>
                        <a:pt x="225" y="374"/>
                      </a:lnTo>
                      <a:lnTo>
                        <a:pt x="223" y="374"/>
                      </a:lnTo>
                      <a:lnTo>
                        <a:pt x="220" y="374"/>
                      </a:lnTo>
                      <a:lnTo>
                        <a:pt x="212" y="373"/>
                      </a:lnTo>
                      <a:lnTo>
                        <a:pt x="203" y="371"/>
                      </a:lnTo>
                      <a:lnTo>
                        <a:pt x="197" y="367"/>
                      </a:lnTo>
                      <a:lnTo>
                        <a:pt x="192" y="363"/>
                      </a:lnTo>
                      <a:lnTo>
                        <a:pt x="191" y="363"/>
                      </a:lnTo>
                      <a:lnTo>
                        <a:pt x="191" y="363"/>
                      </a:lnTo>
                      <a:lnTo>
                        <a:pt x="189" y="365"/>
                      </a:lnTo>
                      <a:lnTo>
                        <a:pt x="188" y="362"/>
                      </a:lnTo>
                      <a:lnTo>
                        <a:pt x="183" y="360"/>
                      </a:lnTo>
                      <a:lnTo>
                        <a:pt x="181" y="360"/>
                      </a:lnTo>
                      <a:lnTo>
                        <a:pt x="178" y="360"/>
                      </a:lnTo>
                      <a:lnTo>
                        <a:pt x="176" y="360"/>
                      </a:lnTo>
                      <a:lnTo>
                        <a:pt x="172" y="360"/>
                      </a:lnTo>
                      <a:lnTo>
                        <a:pt x="167" y="357"/>
                      </a:lnTo>
                      <a:lnTo>
                        <a:pt x="161" y="355"/>
                      </a:lnTo>
                      <a:lnTo>
                        <a:pt x="164" y="351"/>
                      </a:lnTo>
                      <a:lnTo>
                        <a:pt x="161" y="350"/>
                      </a:lnTo>
                      <a:lnTo>
                        <a:pt x="165" y="347"/>
                      </a:lnTo>
                      <a:lnTo>
                        <a:pt x="162" y="347"/>
                      </a:lnTo>
                      <a:lnTo>
                        <a:pt x="160" y="345"/>
                      </a:lnTo>
                      <a:lnTo>
                        <a:pt x="159" y="343"/>
                      </a:lnTo>
                      <a:lnTo>
                        <a:pt x="156" y="341"/>
                      </a:lnTo>
                      <a:lnTo>
                        <a:pt x="157" y="340"/>
                      </a:lnTo>
                      <a:lnTo>
                        <a:pt x="157" y="339"/>
                      </a:lnTo>
                      <a:lnTo>
                        <a:pt x="155" y="336"/>
                      </a:lnTo>
                      <a:lnTo>
                        <a:pt x="151" y="334"/>
                      </a:lnTo>
                      <a:lnTo>
                        <a:pt x="148" y="331"/>
                      </a:lnTo>
                      <a:lnTo>
                        <a:pt x="148" y="330"/>
                      </a:lnTo>
                      <a:lnTo>
                        <a:pt x="149" y="329"/>
                      </a:lnTo>
                      <a:lnTo>
                        <a:pt x="151" y="327"/>
                      </a:lnTo>
                      <a:lnTo>
                        <a:pt x="154" y="324"/>
                      </a:lnTo>
                      <a:lnTo>
                        <a:pt x="154" y="323"/>
                      </a:lnTo>
                      <a:lnTo>
                        <a:pt x="153" y="320"/>
                      </a:lnTo>
                      <a:lnTo>
                        <a:pt x="155" y="320"/>
                      </a:lnTo>
                      <a:lnTo>
                        <a:pt x="156" y="320"/>
                      </a:lnTo>
                      <a:lnTo>
                        <a:pt x="154" y="317"/>
                      </a:lnTo>
                      <a:lnTo>
                        <a:pt x="150" y="313"/>
                      </a:lnTo>
                      <a:lnTo>
                        <a:pt x="146" y="311"/>
                      </a:lnTo>
                      <a:lnTo>
                        <a:pt x="140" y="307"/>
                      </a:lnTo>
                      <a:lnTo>
                        <a:pt x="133" y="304"/>
                      </a:lnTo>
                      <a:lnTo>
                        <a:pt x="118" y="303"/>
                      </a:lnTo>
                      <a:lnTo>
                        <a:pt x="123" y="302"/>
                      </a:lnTo>
                      <a:lnTo>
                        <a:pt x="124" y="301"/>
                      </a:lnTo>
                      <a:lnTo>
                        <a:pt x="124" y="298"/>
                      </a:lnTo>
                      <a:lnTo>
                        <a:pt x="121" y="298"/>
                      </a:lnTo>
                      <a:lnTo>
                        <a:pt x="117" y="298"/>
                      </a:lnTo>
                      <a:lnTo>
                        <a:pt x="113" y="298"/>
                      </a:lnTo>
                      <a:lnTo>
                        <a:pt x="110" y="297"/>
                      </a:lnTo>
                      <a:lnTo>
                        <a:pt x="114" y="296"/>
                      </a:lnTo>
                      <a:lnTo>
                        <a:pt x="121" y="297"/>
                      </a:lnTo>
                      <a:lnTo>
                        <a:pt x="117" y="295"/>
                      </a:lnTo>
                      <a:lnTo>
                        <a:pt x="113" y="295"/>
                      </a:lnTo>
                      <a:lnTo>
                        <a:pt x="110" y="296"/>
                      </a:lnTo>
                      <a:lnTo>
                        <a:pt x="107" y="295"/>
                      </a:lnTo>
                      <a:lnTo>
                        <a:pt x="110" y="295"/>
                      </a:lnTo>
                      <a:lnTo>
                        <a:pt x="112" y="295"/>
                      </a:lnTo>
                      <a:lnTo>
                        <a:pt x="113" y="293"/>
                      </a:lnTo>
                      <a:lnTo>
                        <a:pt x="116" y="295"/>
                      </a:lnTo>
                      <a:lnTo>
                        <a:pt x="113" y="292"/>
                      </a:lnTo>
                      <a:lnTo>
                        <a:pt x="110" y="292"/>
                      </a:lnTo>
                      <a:lnTo>
                        <a:pt x="103" y="291"/>
                      </a:lnTo>
                      <a:lnTo>
                        <a:pt x="106" y="291"/>
                      </a:lnTo>
                      <a:lnTo>
                        <a:pt x="106" y="291"/>
                      </a:lnTo>
                      <a:lnTo>
                        <a:pt x="103" y="288"/>
                      </a:lnTo>
                      <a:lnTo>
                        <a:pt x="100" y="287"/>
                      </a:lnTo>
                      <a:lnTo>
                        <a:pt x="96" y="287"/>
                      </a:lnTo>
                      <a:lnTo>
                        <a:pt x="98" y="284"/>
                      </a:lnTo>
                      <a:lnTo>
                        <a:pt x="95" y="282"/>
                      </a:lnTo>
                      <a:lnTo>
                        <a:pt x="91" y="281"/>
                      </a:lnTo>
                      <a:lnTo>
                        <a:pt x="82" y="279"/>
                      </a:lnTo>
                      <a:lnTo>
                        <a:pt x="89" y="279"/>
                      </a:lnTo>
                      <a:lnTo>
                        <a:pt x="91" y="279"/>
                      </a:lnTo>
                      <a:lnTo>
                        <a:pt x="94" y="279"/>
                      </a:lnTo>
                      <a:lnTo>
                        <a:pt x="100" y="281"/>
                      </a:lnTo>
                      <a:lnTo>
                        <a:pt x="106" y="281"/>
                      </a:lnTo>
                      <a:lnTo>
                        <a:pt x="105" y="281"/>
                      </a:lnTo>
                      <a:lnTo>
                        <a:pt x="105" y="282"/>
                      </a:lnTo>
                      <a:lnTo>
                        <a:pt x="106" y="284"/>
                      </a:lnTo>
                      <a:lnTo>
                        <a:pt x="107" y="286"/>
                      </a:lnTo>
                      <a:lnTo>
                        <a:pt x="113" y="288"/>
                      </a:lnTo>
                      <a:lnTo>
                        <a:pt x="116" y="290"/>
                      </a:lnTo>
                      <a:lnTo>
                        <a:pt x="117" y="290"/>
                      </a:lnTo>
                      <a:lnTo>
                        <a:pt x="122" y="290"/>
                      </a:lnTo>
                      <a:lnTo>
                        <a:pt x="126" y="291"/>
                      </a:lnTo>
                      <a:lnTo>
                        <a:pt x="130" y="292"/>
                      </a:lnTo>
                      <a:lnTo>
                        <a:pt x="132" y="292"/>
                      </a:lnTo>
                      <a:lnTo>
                        <a:pt x="134" y="290"/>
                      </a:lnTo>
                      <a:lnTo>
                        <a:pt x="134" y="292"/>
                      </a:lnTo>
                      <a:lnTo>
                        <a:pt x="137" y="293"/>
                      </a:lnTo>
                      <a:lnTo>
                        <a:pt x="139" y="295"/>
                      </a:lnTo>
                      <a:lnTo>
                        <a:pt x="142" y="296"/>
                      </a:lnTo>
                      <a:lnTo>
                        <a:pt x="144" y="297"/>
                      </a:lnTo>
                      <a:lnTo>
                        <a:pt x="148" y="296"/>
                      </a:lnTo>
                      <a:lnTo>
                        <a:pt x="151" y="296"/>
                      </a:lnTo>
                      <a:lnTo>
                        <a:pt x="154" y="296"/>
                      </a:lnTo>
                      <a:lnTo>
                        <a:pt x="170" y="302"/>
                      </a:lnTo>
                      <a:lnTo>
                        <a:pt x="185" y="303"/>
                      </a:lnTo>
                      <a:lnTo>
                        <a:pt x="194" y="304"/>
                      </a:lnTo>
                      <a:lnTo>
                        <a:pt x="204" y="307"/>
                      </a:lnTo>
                      <a:lnTo>
                        <a:pt x="224" y="309"/>
                      </a:lnTo>
                      <a:lnTo>
                        <a:pt x="240" y="309"/>
                      </a:lnTo>
                      <a:lnTo>
                        <a:pt x="257" y="307"/>
                      </a:lnTo>
                      <a:lnTo>
                        <a:pt x="264" y="304"/>
                      </a:lnTo>
                      <a:lnTo>
                        <a:pt x="271" y="302"/>
                      </a:lnTo>
                      <a:lnTo>
                        <a:pt x="282" y="293"/>
                      </a:lnTo>
                      <a:lnTo>
                        <a:pt x="285" y="288"/>
                      </a:lnTo>
                      <a:lnTo>
                        <a:pt x="288" y="285"/>
                      </a:lnTo>
                      <a:lnTo>
                        <a:pt x="288" y="280"/>
                      </a:lnTo>
                      <a:lnTo>
                        <a:pt x="287" y="277"/>
                      </a:lnTo>
                      <a:lnTo>
                        <a:pt x="283" y="276"/>
                      </a:lnTo>
                      <a:lnTo>
                        <a:pt x="282" y="275"/>
                      </a:lnTo>
                      <a:lnTo>
                        <a:pt x="280" y="274"/>
                      </a:lnTo>
                      <a:lnTo>
                        <a:pt x="279" y="270"/>
                      </a:lnTo>
                      <a:lnTo>
                        <a:pt x="278" y="269"/>
                      </a:lnTo>
                      <a:lnTo>
                        <a:pt x="277" y="265"/>
                      </a:lnTo>
                      <a:lnTo>
                        <a:pt x="276" y="264"/>
                      </a:lnTo>
                      <a:lnTo>
                        <a:pt x="273" y="264"/>
                      </a:lnTo>
                      <a:lnTo>
                        <a:pt x="271" y="263"/>
                      </a:lnTo>
                      <a:lnTo>
                        <a:pt x="264" y="260"/>
                      </a:lnTo>
                      <a:lnTo>
                        <a:pt x="261" y="259"/>
                      </a:lnTo>
                      <a:lnTo>
                        <a:pt x="258" y="258"/>
                      </a:lnTo>
                      <a:lnTo>
                        <a:pt x="252" y="253"/>
                      </a:lnTo>
                      <a:lnTo>
                        <a:pt x="246" y="250"/>
                      </a:lnTo>
                      <a:lnTo>
                        <a:pt x="248" y="253"/>
                      </a:lnTo>
                      <a:lnTo>
                        <a:pt x="241" y="253"/>
                      </a:lnTo>
                      <a:lnTo>
                        <a:pt x="234" y="252"/>
                      </a:lnTo>
                      <a:lnTo>
                        <a:pt x="220" y="244"/>
                      </a:lnTo>
                      <a:lnTo>
                        <a:pt x="223" y="247"/>
                      </a:lnTo>
                      <a:lnTo>
                        <a:pt x="215" y="244"/>
                      </a:lnTo>
                      <a:lnTo>
                        <a:pt x="209" y="242"/>
                      </a:lnTo>
                      <a:lnTo>
                        <a:pt x="202" y="238"/>
                      </a:lnTo>
                      <a:lnTo>
                        <a:pt x="196" y="234"/>
                      </a:lnTo>
                      <a:lnTo>
                        <a:pt x="178" y="229"/>
                      </a:lnTo>
                      <a:lnTo>
                        <a:pt x="161" y="223"/>
                      </a:lnTo>
                      <a:lnTo>
                        <a:pt x="154" y="222"/>
                      </a:lnTo>
                      <a:lnTo>
                        <a:pt x="146" y="221"/>
                      </a:lnTo>
                      <a:lnTo>
                        <a:pt x="140" y="221"/>
                      </a:lnTo>
                      <a:lnTo>
                        <a:pt x="133" y="221"/>
                      </a:lnTo>
                      <a:lnTo>
                        <a:pt x="127" y="220"/>
                      </a:lnTo>
                      <a:lnTo>
                        <a:pt x="119" y="218"/>
                      </a:lnTo>
                      <a:lnTo>
                        <a:pt x="113" y="218"/>
                      </a:lnTo>
                      <a:lnTo>
                        <a:pt x="108" y="218"/>
                      </a:lnTo>
                      <a:lnTo>
                        <a:pt x="107" y="221"/>
                      </a:lnTo>
                      <a:lnTo>
                        <a:pt x="105" y="222"/>
                      </a:lnTo>
                      <a:lnTo>
                        <a:pt x="101" y="224"/>
                      </a:lnTo>
                      <a:lnTo>
                        <a:pt x="97" y="228"/>
                      </a:lnTo>
                      <a:lnTo>
                        <a:pt x="97" y="226"/>
                      </a:lnTo>
                      <a:lnTo>
                        <a:pt x="100" y="224"/>
                      </a:lnTo>
                      <a:lnTo>
                        <a:pt x="102" y="223"/>
                      </a:lnTo>
                      <a:lnTo>
                        <a:pt x="105" y="222"/>
                      </a:lnTo>
                      <a:lnTo>
                        <a:pt x="103" y="222"/>
                      </a:lnTo>
                      <a:lnTo>
                        <a:pt x="102" y="221"/>
                      </a:lnTo>
                      <a:lnTo>
                        <a:pt x="102" y="221"/>
                      </a:lnTo>
                      <a:lnTo>
                        <a:pt x="105" y="220"/>
                      </a:lnTo>
                      <a:lnTo>
                        <a:pt x="102" y="220"/>
                      </a:lnTo>
                      <a:lnTo>
                        <a:pt x="102" y="218"/>
                      </a:lnTo>
                      <a:lnTo>
                        <a:pt x="103" y="218"/>
                      </a:lnTo>
                      <a:lnTo>
                        <a:pt x="105" y="217"/>
                      </a:lnTo>
                      <a:lnTo>
                        <a:pt x="102" y="216"/>
                      </a:lnTo>
                      <a:lnTo>
                        <a:pt x="98" y="216"/>
                      </a:lnTo>
                      <a:lnTo>
                        <a:pt x="92" y="217"/>
                      </a:lnTo>
                      <a:lnTo>
                        <a:pt x="95" y="215"/>
                      </a:lnTo>
                      <a:lnTo>
                        <a:pt x="90" y="215"/>
                      </a:lnTo>
                      <a:lnTo>
                        <a:pt x="85" y="213"/>
                      </a:lnTo>
                      <a:lnTo>
                        <a:pt x="81" y="215"/>
                      </a:lnTo>
                      <a:lnTo>
                        <a:pt x="82" y="213"/>
                      </a:lnTo>
                      <a:lnTo>
                        <a:pt x="78" y="211"/>
                      </a:lnTo>
                      <a:lnTo>
                        <a:pt x="73" y="209"/>
                      </a:lnTo>
                      <a:lnTo>
                        <a:pt x="74" y="206"/>
                      </a:lnTo>
                      <a:lnTo>
                        <a:pt x="75" y="209"/>
                      </a:lnTo>
                      <a:lnTo>
                        <a:pt x="79" y="210"/>
                      </a:lnTo>
                      <a:lnTo>
                        <a:pt x="85" y="211"/>
                      </a:lnTo>
                      <a:lnTo>
                        <a:pt x="92" y="211"/>
                      </a:lnTo>
                      <a:lnTo>
                        <a:pt x="94" y="210"/>
                      </a:lnTo>
                      <a:lnTo>
                        <a:pt x="95" y="207"/>
                      </a:lnTo>
                      <a:lnTo>
                        <a:pt x="87" y="206"/>
                      </a:lnTo>
                      <a:lnTo>
                        <a:pt x="84" y="205"/>
                      </a:lnTo>
                      <a:lnTo>
                        <a:pt x="80" y="204"/>
                      </a:lnTo>
                      <a:lnTo>
                        <a:pt x="75" y="201"/>
                      </a:lnTo>
                      <a:lnTo>
                        <a:pt x="71" y="201"/>
                      </a:lnTo>
                      <a:lnTo>
                        <a:pt x="69" y="201"/>
                      </a:lnTo>
                      <a:lnTo>
                        <a:pt x="71" y="204"/>
                      </a:lnTo>
                      <a:lnTo>
                        <a:pt x="68" y="204"/>
                      </a:lnTo>
                      <a:lnTo>
                        <a:pt x="66" y="204"/>
                      </a:lnTo>
                      <a:lnTo>
                        <a:pt x="65" y="205"/>
                      </a:lnTo>
                      <a:lnTo>
                        <a:pt x="64" y="206"/>
                      </a:lnTo>
                      <a:lnTo>
                        <a:pt x="63" y="207"/>
                      </a:lnTo>
                      <a:lnTo>
                        <a:pt x="60" y="209"/>
                      </a:lnTo>
                      <a:lnTo>
                        <a:pt x="54" y="206"/>
                      </a:lnTo>
                      <a:lnTo>
                        <a:pt x="47" y="205"/>
                      </a:lnTo>
                      <a:lnTo>
                        <a:pt x="49" y="207"/>
                      </a:lnTo>
                      <a:lnTo>
                        <a:pt x="50" y="209"/>
                      </a:lnTo>
                      <a:lnTo>
                        <a:pt x="49" y="211"/>
                      </a:lnTo>
                      <a:lnTo>
                        <a:pt x="47" y="212"/>
                      </a:lnTo>
                      <a:lnTo>
                        <a:pt x="44" y="212"/>
                      </a:lnTo>
                      <a:lnTo>
                        <a:pt x="41" y="211"/>
                      </a:lnTo>
                      <a:lnTo>
                        <a:pt x="35" y="209"/>
                      </a:lnTo>
                      <a:lnTo>
                        <a:pt x="35" y="212"/>
                      </a:lnTo>
                      <a:lnTo>
                        <a:pt x="35" y="213"/>
                      </a:lnTo>
                      <a:lnTo>
                        <a:pt x="31" y="216"/>
                      </a:lnTo>
                      <a:lnTo>
                        <a:pt x="26" y="217"/>
                      </a:lnTo>
                      <a:lnTo>
                        <a:pt x="21" y="218"/>
                      </a:lnTo>
                      <a:lnTo>
                        <a:pt x="19" y="220"/>
                      </a:lnTo>
                      <a:lnTo>
                        <a:pt x="19" y="221"/>
                      </a:lnTo>
                      <a:lnTo>
                        <a:pt x="19" y="222"/>
                      </a:lnTo>
                      <a:lnTo>
                        <a:pt x="17" y="224"/>
                      </a:lnTo>
                      <a:lnTo>
                        <a:pt x="14" y="227"/>
                      </a:lnTo>
                      <a:lnTo>
                        <a:pt x="9" y="228"/>
                      </a:lnTo>
                      <a:lnTo>
                        <a:pt x="0" y="231"/>
                      </a:lnTo>
                      <a:lnTo>
                        <a:pt x="4" y="231"/>
                      </a:lnTo>
                      <a:lnTo>
                        <a:pt x="6" y="232"/>
                      </a:lnTo>
                      <a:lnTo>
                        <a:pt x="9" y="233"/>
                      </a:lnTo>
                      <a:lnTo>
                        <a:pt x="7" y="234"/>
                      </a:lnTo>
                      <a:lnTo>
                        <a:pt x="6" y="236"/>
                      </a:lnTo>
                      <a:lnTo>
                        <a:pt x="4" y="239"/>
                      </a:lnTo>
                      <a:lnTo>
                        <a:pt x="4" y="242"/>
                      </a:lnTo>
                      <a:lnTo>
                        <a:pt x="5" y="245"/>
                      </a:lnTo>
                      <a:lnTo>
                        <a:pt x="7" y="248"/>
                      </a:lnTo>
                      <a:lnTo>
                        <a:pt x="16" y="252"/>
                      </a:lnTo>
                      <a:lnTo>
                        <a:pt x="25" y="254"/>
                      </a:lnTo>
                      <a:lnTo>
                        <a:pt x="32" y="259"/>
                      </a:lnTo>
                      <a:lnTo>
                        <a:pt x="36" y="261"/>
                      </a:lnTo>
                      <a:lnTo>
                        <a:pt x="38" y="264"/>
                      </a:lnTo>
                      <a:lnTo>
                        <a:pt x="39" y="266"/>
                      </a:lnTo>
                      <a:lnTo>
                        <a:pt x="38" y="270"/>
                      </a:lnTo>
                      <a:lnTo>
                        <a:pt x="36" y="272"/>
                      </a:lnTo>
                      <a:lnTo>
                        <a:pt x="31" y="275"/>
                      </a:lnTo>
                      <a:lnTo>
                        <a:pt x="27" y="279"/>
                      </a:lnTo>
                      <a:lnTo>
                        <a:pt x="25" y="281"/>
                      </a:lnTo>
                      <a:lnTo>
                        <a:pt x="23" y="285"/>
                      </a:lnTo>
                      <a:lnTo>
                        <a:pt x="26" y="288"/>
                      </a:lnTo>
                      <a:lnTo>
                        <a:pt x="32" y="297"/>
                      </a:lnTo>
                      <a:lnTo>
                        <a:pt x="41" y="303"/>
                      </a:lnTo>
                      <a:lnTo>
                        <a:pt x="47" y="312"/>
                      </a:lnTo>
                      <a:lnTo>
                        <a:pt x="52" y="320"/>
                      </a:lnTo>
                      <a:lnTo>
                        <a:pt x="48" y="322"/>
                      </a:lnTo>
                      <a:lnTo>
                        <a:pt x="43" y="322"/>
                      </a:lnTo>
                      <a:lnTo>
                        <a:pt x="46" y="324"/>
                      </a:lnTo>
                      <a:lnTo>
                        <a:pt x="46" y="327"/>
                      </a:lnTo>
                      <a:lnTo>
                        <a:pt x="43" y="331"/>
                      </a:lnTo>
                      <a:lnTo>
                        <a:pt x="43" y="334"/>
                      </a:lnTo>
                      <a:lnTo>
                        <a:pt x="44" y="335"/>
                      </a:lnTo>
                      <a:lnTo>
                        <a:pt x="47" y="336"/>
                      </a:lnTo>
                      <a:lnTo>
                        <a:pt x="48" y="338"/>
                      </a:lnTo>
                      <a:lnTo>
                        <a:pt x="46" y="339"/>
                      </a:lnTo>
                      <a:lnTo>
                        <a:pt x="44" y="341"/>
                      </a:lnTo>
                      <a:lnTo>
                        <a:pt x="46" y="345"/>
                      </a:lnTo>
                      <a:lnTo>
                        <a:pt x="48" y="346"/>
                      </a:lnTo>
                      <a:lnTo>
                        <a:pt x="52" y="347"/>
                      </a:lnTo>
                      <a:lnTo>
                        <a:pt x="54" y="347"/>
                      </a:lnTo>
                      <a:lnTo>
                        <a:pt x="57" y="347"/>
                      </a:lnTo>
                      <a:lnTo>
                        <a:pt x="58" y="350"/>
                      </a:lnTo>
                      <a:lnTo>
                        <a:pt x="55" y="351"/>
                      </a:lnTo>
                      <a:lnTo>
                        <a:pt x="54" y="354"/>
                      </a:lnTo>
                      <a:lnTo>
                        <a:pt x="55" y="355"/>
                      </a:lnTo>
                      <a:lnTo>
                        <a:pt x="57" y="357"/>
                      </a:lnTo>
                      <a:lnTo>
                        <a:pt x="62" y="360"/>
                      </a:lnTo>
                      <a:lnTo>
                        <a:pt x="66" y="362"/>
                      </a:lnTo>
                      <a:lnTo>
                        <a:pt x="69" y="363"/>
                      </a:lnTo>
                      <a:lnTo>
                        <a:pt x="70" y="366"/>
                      </a:lnTo>
                      <a:lnTo>
                        <a:pt x="69" y="368"/>
                      </a:lnTo>
                      <a:lnTo>
                        <a:pt x="68" y="371"/>
                      </a:lnTo>
                      <a:lnTo>
                        <a:pt x="62" y="374"/>
                      </a:lnTo>
                      <a:lnTo>
                        <a:pt x="58" y="378"/>
                      </a:lnTo>
                      <a:lnTo>
                        <a:pt x="91" y="397"/>
                      </a:lnTo>
                      <a:lnTo>
                        <a:pt x="95" y="398"/>
                      </a:lnTo>
                      <a:lnTo>
                        <a:pt x="96" y="400"/>
                      </a:lnTo>
                      <a:lnTo>
                        <a:pt x="96" y="403"/>
                      </a:lnTo>
                      <a:lnTo>
                        <a:pt x="96" y="405"/>
                      </a:lnTo>
                      <a:lnTo>
                        <a:pt x="92" y="413"/>
                      </a:lnTo>
                      <a:lnTo>
                        <a:pt x="90" y="416"/>
                      </a:lnTo>
                      <a:lnTo>
                        <a:pt x="86" y="419"/>
                      </a:lnTo>
                      <a:lnTo>
                        <a:pt x="70" y="433"/>
                      </a:lnTo>
                      <a:lnTo>
                        <a:pt x="54" y="448"/>
                      </a:lnTo>
                      <a:lnTo>
                        <a:pt x="47" y="454"/>
                      </a:lnTo>
                      <a:lnTo>
                        <a:pt x="38" y="461"/>
                      </a:lnTo>
                      <a:lnTo>
                        <a:pt x="30" y="465"/>
                      </a:lnTo>
                      <a:lnTo>
                        <a:pt x="21" y="473"/>
                      </a:lnTo>
                      <a:lnTo>
                        <a:pt x="28" y="473"/>
                      </a:lnTo>
                      <a:lnTo>
                        <a:pt x="35" y="469"/>
                      </a:lnTo>
                      <a:lnTo>
                        <a:pt x="38" y="468"/>
                      </a:lnTo>
                      <a:lnTo>
                        <a:pt x="41" y="467"/>
                      </a:lnTo>
                      <a:lnTo>
                        <a:pt x="42" y="468"/>
                      </a:lnTo>
                      <a:lnTo>
                        <a:pt x="41" y="469"/>
                      </a:lnTo>
                      <a:lnTo>
                        <a:pt x="41" y="472"/>
                      </a:lnTo>
                      <a:lnTo>
                        <a:pt x="42" y="475"/>
                      </a:lnTo>
                      <a:lnTo>
                        <a:pt x="36" y="472"/>
                      </a:lnTo>
                      <a:lnTo>
                        <a:pt x="39" y="475"/>
                      </a:lnTo>
                      <a:lnTo>
                        <a:pt x="44" y="479"/>
                      </a:lnTo>
                      <a:lnTo>
                        <a:pt x="48" y="481"/>
                      </a:lnTo>
                      <a:lnTo>
                        <a:pt x="52" y="484"/>
                      </a:lnTo>
                      <a:lnTo>
                        <a:pt x="57" y="484"/>
                      </a:lnTo>
                      <a:lnTo>
                        <a:pt x="62" y="484"/>
                      </a:lnTo>
                      <a:lnTo>
                        <a:pt x="66" y="484"/>
                      </a:lnTo>
                      <a:lnTo>
                        <a:pt x="70" y="485"/>
                      </a:lnTo>
                      <a:lnTo>
                        <a:pt x="73" y="486"/>
                      </a:lnTo>
                      <a:lnTo>
                        <a:pt x="76" y="490"/>
                      </a:lnTo>
                      <a:lnTo>
                        <a:pt x="80" y="492"/>
                      </a:lnTo>
                      <a:lnTo>
                        <a:pt x="80" y="492"/>
                      </a:lnTo>
                      <a:lnTo>
                        <a:pt x="79" y="492"/>
                      </a:lnTo>
                      <a:lnTo>
                        <a:pt x="74" y="492"/>
                      </a:lnTo>
                      <a:lnTo>
                        <a:pt x="69" y="491"/>
                      </a:lnTo>
                      <a:lnTo>
                        <a:pt x="64" y="490"/>
                      </a:lnTo>
                      <a:lnTo>
                        <a:pt x="59" y="489"/>
                      </a:lnTo>
                      <a:lnTo>
                        <a:pt x="55" y="490"/>
                      </a:lnTo>
                      <a:lnTo>
                        <a:pt x="53" y="492"/>
                      </a:lnTo>
                      <a:lnTo>
                        <a:pt x="50" y="494"/>
                      </a:lnTo>
                      <a:lnTo>
                        <a:pt x="48" y="495"/>
                      </a:lnTo>
                      <a:lnTo>
                        <a:pt x="46" y="495"/>
                      </a:lnTo>
                      <a:lnTo>
                        <a:pt x="43" y="494"/>
                      </a:lnTo>
                      <a:lnTo>
                        <a:pt x="41" y="494"/>
                      </a:lnTo>
                      <a:lnTo>
                        <a:pt x="39" y="495"/>
                      </a:lnTo>
                      <a:lnTo>
                        <a:pt x="38" y="497"/>
                      </a:lnTo>
                      <a:lnTo>
                        <a:pt x="37" y="499"/>
                      </a:lnTo>
                      <a:lnTo>
                        <a:pt x="35" y="497"/>
                      </a:lnTo>
                      <a:lnTo>
                        <a:pt x="32" y="496"/>
                      </a:lnTo>
                      <a:lnTo>
                        <a:pt x="30" y="496"/>
                      </a:lnTo>
                      <a:lnTo>
                        <a:pt x="30" y="499"/>
                      </a:lnTo>
                      <a:lnTo>
                        <a:pt x="31" y="501"/>
                      </a:lnTo>
                      <a:lnTo>
                        <a:pt x="31" y="502"/>
                      </a:lnTo>
                      <a:lnTo>
                        <a:pt x="31" y="505"/>
                      </a:lnTo>
                      <a:lnTo>
                        <a:pt x="33" y="506"/>
                      </a:lnTo>
                      <a:lnTo>
                        <a:pt x="36" y="508"/>
                      </a:lnTo>
                      <a:lnTo>
                        <a:pt x="32" y="510"/>
                      </a:lnTo>
                      <a:lnTo>
                        <a:pt x="30" y="511"/>
                      </a:lnTo>
                      <a:lnTo>
                        <a:pt x="27" y="517"/>
                      </a:lnTo>
                      <a:lnTo>
                        <a:pt x="25" y="520"/>
                      </a:lnTo>
                      <a:lnTo>
                        <a:pt x="23" y="522"/>
                      </a:lnTo>
                      <a:lnTo>
                        <a:pt x="21" y="524"/>
                      </a:lnTo>
                      <a:lnTo>
                        <a:pt x="20" y="527"/>
                      </a:lnTo>
                      <a:lnTo>
                        <a:pt x="21" y="529"/>
                      </a:lnTo>
                      <a:lnTo>
                        <a:pt x="22" y="532"/>
                      </a:lnTo>
                      <a:lnTo>
                        <a:pt x="23" y="536"/>
                      </a:lnTo>
                      <a:lnTo>
                        <a:pt x="23" y="538"/>
                      </a:lnTo>
                      <a:lnTo>
                        <a:pt x="22" y="542"/>
                      </a:lnTo>
                      <a:lnTo>
                        <a:pt x="23" y="544"/>
                      </a:lnTo>
                      <a:lnTo>
                        <a:pt x="26" y="547"/>
                      </a:lnTo>
                      <a:lnTo>
                        <a:pt x="27" y="549"/>
                      </a:lnTo>
                      <a:lnTo>
                        <a:pt x="30" y="552"/>
                      </a:lnTo>
                      <a:lnTo>
                        <a:pt x="32" y="553"/>
                      </a:lnTo>
                      <a:lnTo>
                        <a:pt x="27" y="558"/>
                      </a:lnTo>
                      <a:lnTo>
                        <a:pt x="23" y="561"/>
                      </a:lnTo>
                      <a:lnTo>
                        <a:pt x="23" y="564"/>
                      </a:lnTo>
                      <a:lnTo>
                        <a:pt x="25" y="565"/>
                      </a:lnTo>
                      <a:lnTo>
                        <a:pt x="27" y="567"/>
                      </a:lnTo>
                      <a:lnTo>
                        <a:pt x="31" y="569"/>
                      </a:lnTo>
                      <a:lnTo>
                        <a:pt x="35" y="572"/>
                      </a:lnTo>
                      <a:lnTo>
                        <a:pt x="35" y="576"/>
                      </a:lnTo>
                      <a:lnTo>
                        <a:pt x="33" y="581"/>
                      </a:lnTo>
                      <a:lnTo>
                        <a:pt x="32" y="585"/>
                      </a:lnTo>
                      <a:lnTo>
                        <a:pt x="36" y="586"/>
                      </a:lnTo>
                      <a:lnTo>
                        <a:pt x="39" y="588"/>
                      </a:lnTo>
                      <a:lnTo>
                        <a:pt x="43" y="593"/>
                      </a:lnTo>
                      <a:lnTo>
                        <a:pt x="46" y="597"/>
                      </a:lnTo>
                      <a:lnTo>
                        <a:pt x="47" y="599"/>
                      </a:lnTo>
                      <a:lnTo>
                        <a:pt x="48" y="604"/>
                      </a:lnTo>
                      <a:lnTo>
                        <a:pt x="49" y="608"/>
                      </a:lnTo>
                      <a:lnTo>
                        <a:pt x="50" y="609"/>
                      </a:lnTo>
                      <a:lnTo>
                        <a:pt x="52" y="609"/>
                      </a:lnTo>
                      <a:lnTo>
                        <a:pt x="55" y="609"/>
                      </a:lnTo>
                      <a:lnTo>
                        <a:pt x="59" y="611"/>
                      </a:lnTo>
                      <a:lnTo>
                        <a:pt x="63" y="612"/>
                      </a:lnTo>
                      <a:lnTo>
                        <a:pt x="66" y="612"/>
                      </a:lnTo>
                      <a:lnTo>
                        <a:pt x="71" y="611"/>
                      </a:lnTo>
                      <a:lnTo>
                        <a:pt x="76" y="612"/>
                      </a:lnTo>
                      <a:lnTo>
                        <a:pt x="78" y="613"/>
                      </a:lnTo>
                      <a:lnTo>
                        <a:pt x="78" y="614"/>
                      </a:lnTo>
                      <a:lnTo>
                        <a:pt x="78" y="618"/>
                      </a:lnTo>
                      <a:lnTo>
                        <a:pt x="79" y="619"/>
                      </a:lnTo>
                      <a:lnTo>
                        <a:pt x="81" y="619"/>
                      </a:lnTo>
                      <a:lnTo>
                        <a:pt x="87" y="618"/>
                      </a:lnTo>
                      <a:lnTo>
                        <a:pt x="94" y="617"/>
                      </a:lnTo>
                      <a:lnTo>
                        <a:pt x="98" y="615"/>
                      </a:lnTo>
                      <a:lnTo>
                        <a:pt x="102" y="617"/>
                      </a:lnTo>
                      <a:lnTo>
                        <a:pt x="108" y="620"/>
                      </a:lnTo>
                      <a:lnTo>
                        <a:pt x="113" y="623"/>
                      </a:lnTo>
                      <a:lnTo>
                        <a:pt x="116" y="624"/>
                      </a:lnTo>
                      <a:lnTo>
                        <a:pt x="116" y="625"/>
                      </a:lnTo>
                      <a:lnTo>
                        <a:pt x="116" y="630"/>
                      </a:lnTo>
                      <a:lnTo>
                        <a:pt x="116" y="633"/>
                      </a:lnTo>
                      <a:lnTo>
                        <a:pt x="117" y="635"/>
                      </a:lnTo>
                      <a:lnTo>
                        <a:pt x="119" y="640"/>
                      </a:lnTo>
                      <a:lnTo>
                        <a:pt x="119" y="642"/>
                      </a:lnTo>
                      <a:lnTo>
                        <a:pt x="118" y="644"/>
                      </a:lnTo>
                      <a:lnTo>
                        <a:pt x="117" y="645"/>
                      </a:lnTo>
                      <a:lnTo>
                        <a:pt x="117" y="647"/>
                      </a:lnTo>
                      <a:lnTo>
                        <a:pt x="121" y="651"/>
                      </a:lnTo>
                      <a:lnTo>
                        <a:pt x="124" y="656"/>
                      </a:lnTo>
                      <a:lnTo>
                        <a:pt x="128" y="658"/>
                      </a:lnTo>
                      <a:lnTo>
                        <a:pt x="132" y="665"/>
                      </a:lnTo>
                      <a:lnTo>
                        <a:pt x="137" y="670"/>
                      </a:lnTo>
                      <a:lnTo>
                        <a:pt x="142" y="671"/>
                      </a:lnTo>
                      <a:lnTo>
                        <a:pt x="144" y="672"/>
                      </a:lnTo>
                      <a:lnTo>
                        <a:pt x="145" y="674"/>
                      </a:lnTo>
                      <a:lnTo>
                        <a:pt x="145" y="676"/>
                      </a:lnTo>
                      <a:lnTo>
                        <a:pt x="145" y="678"/>
                      </a:lnTo>
                      <a:lnTo>
                        <a:pt x="145" y="681"/>
                      </a:lnTo>
                      <a:lnTo>
                        <a:pt x="148" y="681"/>
                      </a:lnTo>
                      <a:lnTo>
                        <a:pt x="153" y="679"/>
                      </a:lnTo>
                      <a:lnTo>
                        <a:pt x="157" y="681"/>
                      </a:lnTo>
                      <a:lnTo>
                        <a:pt x="160" y="682"/>
                      </a:lnTo>
                      <a:lnTo>
                        <a:pt x="160" y="682"/>
                      </a:lnTo>
                      <a:lnTo>
                        <a:pt x="161" y="683"/>
                      </a:lnTo>
                      <a:lnTo>
                        <a:pt x="161" y="684"/>
                      </a:lnTo>
                      <a:lnTo>
                        <a:pt x="162" y="686"/>
                      </a:lnTo>
                      <a:lnTo>
                        <a:pt x="166" y="689"/>
                      </a:lnTo>
                      <a:lnTo>
                        <a:pt x="169" y="690"/>
                      </a:lnTo>
                      <a:lnTo>
                        <a:pt x="170" y="693"/>
                      </a:lnTo>
                      <a:lnTo>
                        <a:pt x="169" y="695"/>
                      </a:lnTo>
                      <a:lnTo>
                        <a:pt x="165" y="698"/>
                      </a:lnTo>
                      <a:lnTo>
                        <a:pt x="160" y="700"/>
                      </a:lnTo>
                      <a:lnTo>
                        <a:pt x="156" y="701"/>
                      </a:lnTo>
                      <a:lnTo>
                        <a:pt x="151" y="701"/>
                      </a:lnTo>
                      <a:lnTo>
                        <a:pt x="146" y="699"/>
                      </a:lnTo>
                      <a:lnTo>
                        <a:pt x="142" y="699"/>
                      </a:lnTo>
                      <a:lnTo>
                        <a:pt x="137" y="700"/>
                      </a:lnTo>
                      <a:lnTo>
                        <a:pt x="135" y="703"/>
                      </a:lnTo>
                      <a:lnTo>
                        <a:pt x="137" y="705"/>
                      </a:lnTo>
                      <a:lnTo>
                        <a:pt x="139" y="708"/>
                      </a:lnTo>
                      <a:lnTo>
                        <a:pt x="140" y="709"/>
                      </a:lnTo>
                      <a:lnTo>
                        <a:pt x="143" y="711"/>
                      </a:lnTo>
                      <a:lnTo>
                        <a:pt x="144" y="713"/>
                      </a:lnTo>
                      <a:lnTo>
                        <a:pt x="144" y="714"/>
                      </a:lnTo>
                      <a:lnTo>
                        <a:pt x="144" y="717"/>
                      </a:lnTo>
                      <a:lnTo>
                        <a:pt x="148" y="727"/>
                      </a:lnTo>
                      <a:lnTo>
                        <a:pt x="150" y="731"/>
                      </a:lnTo>
                      <a:lnTo>
                        <a:pt x="155" y="733"/>
                      </a:lnTo>
                      <a:lnTo>
                        <a:pt x="159" y="735"/>
                      </a:lnTo>
                      <a:lnTo>
                        <a:pt x="162" y="733"/>
                      </a:lnTo>
                      <a:lnTo>
                        <a:pt x="165" y="731"/>
                      </a:lnTo>
                      <a:lnTo>
                        <a:pt x="165" y="726"/>
                      </a:lnTo>
                      <a:lnTo>
                        <a:pt x="175" y="727"/>
                      </a:lnTo>
                      <a:lnTo>
                        <a:pt x="178" y="727"/>
                      </a:lnTo>
                      <a:lnTo>
                        <a:pt x="183" y="726"/>
                      </a:lnTo>
                      <a:lnTo>
                        <a:pt x="187" y="726"/>
                      </a:lnTo>
                      <a:lnTo>
                        <a:pt x="192" y="726"/>
                      </a:lnTo>
                      <a:lnTo>
                        <a:pt x="196" y="727"/>
                      </a:lnTo>
                      <a:lnTo>
                        <a:pt x="199" y="726"/>
                      </a:lnTo>
                      <a:lnTo>
                        <a:pt x="203" y="726"/>
                      </a:lnTo>
                      <a:lnTo>
                        <a:pt x="205" y="729"/>
                      </a:lnTo>
                      <a:lnTo>
                        <a:pt x="208" y="732"/>
                      </a:lnTo>
                      <a:lnTo>
                        <a:pt x="210" y="736"/>
                      </a:lnTo>
                      <a:lnTo>
                        <a:pt x="212" y="738"/>
                      </a:lnTo>
                      <a:lnTo>
                        <a:pt x="215" y="740"/>
                      </a:lnTo>
                      <a:lnTo>
                        <a:pt x="218" y="742"/>
                      </a:lnTo>
                      <a:lnTo>
                        <a:pt x="220" y="745"/>
                      </a:lnTo>
                      <a:lnTo>
                        <a:pt x="215" y="746"/>
                      </a:lnTo>
                      <a:lnTo>
                        <a:pt x="214" y="746"/>
                      </a:lnTo>
                      <a:lnTo>
                        <a:pt x="212" y="748"/>
                      </a:lnTo>
                      <a:lnTo>
                        <a:pt x="213" y="749"/>
                      </a:lnTo>
                      <a:lnTo>
                        <a:pt x="215" y="753"/>
                      </a:lnTo>
                      <a:lnTo>
                        <a:pt x="218" y="757"/>
                      </a:lnTo>
                      <a:lnTo>
                        <a:pt x="217" y="759"/>
                      </a:lnTo>
                      <a:lnTo>
                        <a:pt x="217" y="760"/>
                      </a:lnTo>
                      <a:lnTo>
                        <a:pt x="220" y="762"/>
                      </a:lnTo>
                      <a:lnTo>
                        <a:pt x="224" y="762"/>
                      </a:lnTo>
                      <a:lnTo>
                        <a:pt x="229" y="763"/>
                      </a:lnTo>
                      <a:lnTo>
                        <a:pt x="233" y="762"/>
                      </a:lnTo>
                      <a:lnTo>
                        <a:pt x="236" y="762"/>
                      </a:lnTo>
                      <a:lnTo>
                        <a:pt x="239" y="764"/>
                      </a:lnTo>
                      <a:lnTo>
                        <a:pt x="242" y="765"/>
                      </a:lnTo>
                      <a:lnTo>
                        <a:pt x="246" y="767"/>
                      </a:lnTo>
                      <a:lnTo>
                        <a:pt x="246" y="770"/>
                      </a:lnTo>
                      <a:lnTo>
                        <a:pt x="247" y="774"/>
                      </a:lnTo>
                      <a:lnTo>
                        <a:pt x="248" y="779"/>
                      </a:lnTo>
                      <a:lnTo>
                        <a:pt x="250" y="781"/>
                      </a:lnTo>
                      <a:lnTo>
                        <a:pt x="252" y="785"/>
                      </a:lnTo>
                      <a:lnTo>
                        <a:pt x="255" y="788"/>
                      </a:lnTo>
                      <a:lnTo>
                        <a:pt x="257" y="788"/>
                      </a:lnTo>
                      <a:lnTo>
                        <a:pt x="261" y="786"/>
                      </a:lnTo>
                      <a:lnTo>
                        <a:pt x="264" y="786"/>
                      </a:lnTo>
                      <a:lnTo>
                        <a:pt x="267" y="786"/>
                      </a:lnTo>
                      <a:lnTo>
                        <a:pt x="272" y="790"/>
                      </a:lnTo>
                      <a:lnTo>
                        <a:pt x="274" y="790"/>
                      </a:lnTo>
                      <a:lnTo>
                        <a:pt x="277" y="791"/>
                      </a:lnTo>
                      <a:lnTo>
                        <a:pt x="279" y="792"/>
                      </a:lnTo>
                      <a:lnTo>
                        <a:pt x="280" y="792"/>
                      </a:lnTo>
                      <a:lnTo>
                        <a:pt x="285" y="791"/>
                      </a:lnTo>
                      <a:lnTo>
                        <a:pt x="290" y="790"/>
                      </a:lnTo>
                      <a:lnTo>
                        <a:pt x="295" y="788"/>
                      </a:lnTo>
                      <a:lnTo>
                        <a:pt x="300" y="786"/>
                      </a:lnTo>
                      <a:lnTo>
                        <a:pt x="303" y="788"/>
                      </a:lnTo>
                      <a:lnTo>
                        <a:pt x="305" y="790"/>
                      </a:lnTo>
                      <a:lnTo>
                        <a:pt x="308" y="794"/>
                      </a:lnTo>
                      <a:lnTo>
                        <a:pt x="309" y="796"/>
                      </a:lnTo>
                      <a:lnTo>
                        <a:pt x="314" y="800"/>
                      </a:lnTo>
                      <a:lnTo>
                        <a:pt x="316" y="801"/>
                      </a:lnTo>
                      <a:lnTo>
                        <a:pt x="319" y="804"/>
                      </a:lnTo>
                      <a:lnTo>
                        <a:pt x="322" y="801"/>
                      </a:lnTo>
                      <a:lnTo>
                        <a:pt x="324" y="800"/>
                      </a:lnTo>
                      <a:lnTo>
                        <a:pt x="326" y="800"/>
                      </a:lnTo>
                      <a:lnTo>
                        <a:pt x="330" y="801"/>
                      </a:lnTo>
                      <a:lnTo>
                        <a:pt x="333" y="804"/>
                      </a:lnTo>
                      <a:lnTo>
                        <a:pt x="339" y="805"/>
                      </a:lnTo>
                      <a:lnTo>
                        <a:pt x="344" y="805"/>
                      </a:lnTo>
                      <a:lnTo>
                        <a:pt x="348" y="804"/>
                      </a:lnTo>
                      <a:lnTo>
                        <a:pt x="351" y="807"/>
                      </a:lnTo>
                      <a:lnTo>
                        <a:pt x="353" y="807"/>
                      </a:lnTo>
                      <a:lnTo>
                        <a:pt x="355" y="808"/>
                      </a:lnTo>
                      <a:lnTo>
                        <a:pt x="358" y="810"/>
                      </a:lnTo>
                      <a:lnTo>
                        <a:pt x="363" y="813"/>
                      </a:lnTo>
                      <a:lnTo>
                        <a:pt x="368" y="813"/>
                      </a:lnTo>
                      <a:lnTo>
                        <a:pt x="370" y="813"/>
                      </a:lnTo>
                      <a:lnTo>
                        <a:pt x="374" y="813"/>
                      </a:lnTo>
                      <a:lnTo>
                        <a:pt x="373" y="815"/>
                      </a:lnTo>
                      <a:lnTo>
                        <a:pt x="373" y="817"/>
                      </a:lnTo>
                      <a:lnTo>
                        <a:pt x="374" y="822"/>
                      </a:lnTo>
                      <a:lnTo>
                        <a:pt x="374" y="826"/>
                      </a:lnTo>
                      <a:lnTo>
                        <a:pt x="373" y="828"/>
                      </a:lnTo>
                      <a:lnTo>
                        <a:pt x="370" y="829"/>
                      </a:lnTo>
                      <a:lnTo>
                        <a:pt x="367" y="832"/>
                      </a:lnTo>
                      <a:lnTo>
                        <a:pt x="367" y="833"/>
                      </a:lnTo>
                      <a:lnTo>
                        <a:pt x="368" y="834"/>
                      </a:lnTo>
                      <a:lnTo>
                        <a:pt x="369" y="837"/>
                      </a:lnTo>
                      <a:lnTo>
                        <a:pt x="371" y="835"/>
                      </a:lnTo>
                      <a:lnTo>
                        <a:pt x="373" y="837"/>
                      </a:lnTo>
                      <a:lnTo>
                        <a:pt x="374" y="839"/>
                      </a:lnTo>
                      <a:lnTo>
                        <a:pt x="371" y="839"/>
                      </a:lnTo>
                      <a:lnTo>
                        <a:pt x="369" y="840"/>
                      </a:lnTo>
                      <a:lnTo>
                        <a:pt x="368" y="842"/>
                      </a:lnTo>
                      <a:lnTo>
                        <a:pt x="368" y="845"/>
                      </a:lnTo>
                      <a:lnTo>
                        <a:pt x="369" y="847"/>
                      </a:lnTo>
                      <a:lnTo>
                        <a:pt x="373" y="849"/>
                      </a:lnTo>
                      <a:lnTo>
                        <a:pt x="374" y="851"/>
                      </a:lnTo>
                      <a:lnTo>
                        <a:pt x="374" y="853"/>
                      </a:lnTo>
                      <a:lnTo>
                        <a:pt x="373" y="854"/>
                      </a:lnTo>
                      <a:lnTo>
                        <a:pt x="374" y="855"/>
                      </a:lnTo>
                      <a:lnTo>
                        <a:pt x="376" y="854"/>
                      </a:lnTo>
                      <a:lnTo>
                        <a:pt x="376" y="859"/>
                      </a:lnTo>
                      <a:lnTo>
                        <a:pt x="375" y="864"/>
                      </a:lnTo>
                      <a:lnTo>
                        <a:pt x="374" y="867"/>
                      </a:lnTo>
                      <a:lnTo>
                        <a:pt x="370" y="870"/>
                      </a:lnTo>
                      <a:lnTo>
                        <a:pt x="364" y="869"/>
                      </a:lnTo>
                      <a:lnTo>
                        <a:pt x="358" y="869"/>
                      </a:lnTo>
                      <a:lnTo>
                        <a:pt x="355" y="869"/>
                      </a:lnTo>
                      <a:lnTo>
                        <a:pt x="352" y="869"/>
                      </a:lnTo>
                      <a:lnTo>
                        <a:pt x="349" y="869"/>
                      </a:lnTo>
                      <a:lnTo>
                        <a:pt x="348" y="871"/>
                      </a:lnTo>
                      <a:lnTo>
                        <a:pt x="346" y="874"/>
                      </a:lnTo>
                      <a:lnTo>
                        <a:pt x="343" y="876"/>
                      </a:lnTo>
                      <a:lnTo>
                        <a:pt x="339" y="877"/>
                      </a:lnTo>
                      <a:lnTo>
                        <a:pt x="337" y="881"/>
                      </a:lnTo>
                      <a:lnTo>
                        <a:pt x="336" y="885"/>
                      </a:lnTo>
                      <a:lnTo>
                        <a:pt x="338" y="887"/>
                      </a:lnTo>
                      <a:lnTo>
                        <a:pt x="337" y="890"/>
                      </a:lnTo>
                      <a:lnTo>
                        <a:pt x="337" y="891"/>
                      </a:lnTo>
                      <a:lnTo>
                        <a:pt x="339" y="892"/>
                      </a:lnTo>
                      <a:lnTo>
                        <a:pt x="342" y="892"/>
                      </a:lnTo>
                      <a:lnTo>
                        <a:pt x="344" y="891"/>
                      </a:lnTo>
                      <a:lnTo>
                        <a:pt x="343" y="892"/>
                      </a:lnTo>
                      <a:lnTo>
                        <a:pt x="347" y="892"/>
                      </a:lnTo>
                      <a:lnTo>
                        <a:pt x="351" y="891"/>
                      </a:lnTo>
                      <a:lnTo>
                        <a:pt x="358" y="888"/>
                      </a:lnTo>
                      <a:lnTo>
                        <a:pt x="362" y="888"/>
                      </a:lnTo>
                      <a:lnTo>
                        <a:pt x="363" y="891"/>
                      </a:lnTo>
                      <a:lnTo>
                        <a:pt x="364" y="892"/>
                      </a:lnTo>
                      <a:lnTo>
                        <a:pt x="367" y="892"/>
                      </a:lnTo>
                      <a:lnTo>
                        <a:pt x="363" y="896"/>
                      </a:lnTo>
                      <a:lnTo>
                        <a:pt x="359" y="898"/>
                      </a:lnTo>
                      <a:lnTo>
                        <a:pt x="354" y="899"/>
                      </a:lnTo>
                      <a:lnTo>
                        <a:pt x="349" y="901"/>
                      </a:lnTo>
                      <a:lnTo>
                        <a:pt x="347" y="901"/>
                      </a:lnTo>
                      <a:lnTo>
                        <a:pt x="344" y="902"/>
                      </a:lnTo>
                      <a:lnTo>
                        <a:pt x="344" y="903"/>
                      </a:lnTo>
                      <a:lnTo>
                        <a:pt x="346" y="904"/>
                      </a:lnTo>
                      <a:lnTo>
                        <a:pt x="346" y="908"/>
                      </a:lnTo>
                      <a:lnTo>
                        <a:pt x="341" y="907"/>
                      </a:lnTo>
                      <a:lnTo>
                        <a:pt x="338" y="907"/>
                      </a:lnTo>
                      <a:lnTo>
                        <a:pt x="336" y="907"/>
                      </a:lnTo>
                      <a:lnTo>
                        <a:pt x="332" y="908"/>
                      </a:lnTo>
                      <a:lnTo>
                        <a:pt x="327" y="908"/>
                      </a:lnTo>
                      <a:lnTo>
                        <a:pt x="328" y="913"/>
                      </a:lnTo>
                      <a:lnTo>
                        <a:pt x="332" y="914"/>
                      </a:lnTo>
                      <a:lnTo>
                        <a:pt x="336" y="917"/>
                      </a:lnTo>
                      <a:lnTo>
                        <a:pt x="339" y="918"/>
                      </a:lnTo>
                      <a:lnTo>
                        <a:pt x="342" y="919"/>
                      </a:lnTo>
                      <a:lnTo>
                        <a:pt x="346" y="922"/>
                      </a:lnTo>
                      <a:lnTo>
                        <a:pt x="348" y="925"/>
                      </a:lnTo>
                      <a:lnTo>
                        <a:pt x="349" y="928"/>
                      </a:lnTo>
                      <a:lnTo>
                        <a:pt x="347" y="926"/>
                      </a:lnTo>
                      <a:lnTo>
                        <a:pt x="346" y="925"/>
                      </a:lnTo>
                      <a:lnTo>
                        <a:pt x="343" y="924"/>
                      </a:lnTo>
                      <a:lnTo>
                        <a:pt x="341" y="924"/>
                      </a:lnTo>
                      <a:lnTo>
                        <a:pt x="339" y="926"/>
                      </a:lnTo>
                      <a:lnTo>
                        <a:pt x="339" y="928"/>
                      </a:lnTo>
                      <a:lnTo>
                        <a:pt x="338" y="930"/>
                      </a:lnTo>
                      <a:lnTo>
                        <a:pt x="337" y="933"/>
                      </a:lnTo>
                      <a:lnTo>
                        <a:pt x="337" y="928"/>
                      </a:lnTo>
                      <a:lnTo>
                        <a:pt x="335" y="930"/>
                      </a:lnTo>
                      <a:lnTo>
                        <a:pt x="333" y="936"/>
                      </a:lnTo>
                      <a:lnTo>
                        <a:pt x="331" y="940"/>
                      </a:lnTo>
                      <a:lnTo>
                        <a:pt x="330" y="941"/>
                      </a:lnTo>
                      <a:lnTo>
                        <a:pt x="327" y="940"/>
                      </a:lnTo>
                      <a:lnTo>
                        <a:pt x="327" y="942"/>
                      </a:lnTo>
                      <a:lnTo>
                        <a:pt x="328" y="945"/>
                      </a:lnTo>
                      <a:lnTo>
                        <a:pt x="330" y="946"/>
                      </a:lnTo>
                      <a:lnTo>
                        <a:pt x="330" y="945"/>
                      </a:lnTo>
                      <a:lnTo>
                        <a:pt x="331" y="942"/>
                      </a:lnTo>
                      <a:lnTo>
                        <a:pt x="332" y="947"/>
                      </a:lnTo>
                      <a:lnTo>
                        <a:pt x="332" y="949"/>
                      </a:lnTo>
                      <a:lnTo>
                        <a:pt x="331" y="951"/>
                      </a:lnTo>
                      <a:lnTo>
                        <a:pt x="328" y="951"/>
                      </a:lnTo>
                      <a:lnTo>
                        <a:pt x="324" y="951"/>
                      </a:lnTo>
                      <a:lnTo>
                        <a:pt x="320" y="951"/>
                      </a:lnTo>
                      <a:lnTo>
                        <a:pt x="319" y="951"/>
                      </a:lnTo>
                      <a:lnTo>
                        <a:pt x="319" y="952"/>
                      </a:lnTo>
                      <a:lnTo>
                        <a:pt x="315" y="950"/>
                      </a:lnTo>
                      <a:lnTo>
                        <a:pt x="311" y="947"/>
                      </a:lnTo>
                      <a:lnTo>
                        <a:pt x="308" y="947"/>
                      </a:lnTo>
                      <a:lnTo>
                        <a:pt x="305" y="950"/>
                      </a:lnTo>
                      <a:lnTo>
                        <a:pt x="308" y="949"/>
                      </a:lnTo>
                      <a:lnTo>
                        <a:pt x="309" y="951"/>
                      </a:lnTo>
                      <a:lnTo>
                        <a:pt x="311" y="952"/>
                      </a:lnTo>
                      <a:lnTo>
                        <a:pt x="308" y="954"/>
                      </a:lnTo>
                      <a:lnTo>
                        <a:pt x="304" y="957"/>
                      </a:lnTo>
                      <a:lnTo>
                        <a:pt x="310" y="958"/>
                      </a:lnTo>
                      <a:lnTo>
                        <a:pt x="316" y="961"/>
                      </a:lnTo>
                      <a:lnTo>
                        <a:pt x="321" y="963"/>
                      </a:lnTo>
                      <a:lnTo>
                        <a:pt x="325" y="967"/>
                      </a:lnTo>
                      <a:lnTo>
                        <a:pt x="328" y="971"/>
                      </a:lnTo>
                      <a:lnTo>
                        <a:pt x="333" y="972"/>
                      </a:lnTo>
                      <a:lnTo>
                        <a:pt x="336" y="972"/>
                      </a:lnTo>
                      <a:lnTo>
                        <a:pt x="337" y="971"/>
                      </a:lnTo>
                      <a:lnTo>
                        <a:pt x="336" y="969"/>
                      </a:lnTo>
                      <a:lnTo>
                        <a:pt x="339" y="972"/>
                      </a:lnTo>
                      <a:lnTo>
                        <a:pt x="343" y="974"/>
                      </a:lnTo>
                      <a:lnTo>
                        <a:pt x="346" y="978"/>
                      </a:lnTo>
                      <a:lnTo>
                        <a:pt x="349" y="981"/>
                      </a:lnTo>
                      <a:lnTo>
                        <a:pt x="358" y="984"/>
                      </a:lnTo>
                      <a:lnTo>
                        <a:pt x="367" y="988"/>
                      </a:lnTo>
                      <a:lnTo>
                        <a:pt x="375" y="994"/>
                      </a:lnTo>
                      <a:lnTo>
                        <a:pt x="384" y="1000"/>
                      </a:lnTo>
                      <a:lnTo>
                        <a:pt x="392" y="1008"/>
                      </a:lnTo>
                      <a:lnTo>
                        <a:pt x="401" y="1014"/>
                      </a:lnTo>
                      <a:lnTo>
                        <a:pt x="402" y="1010"/>
                      </a:lnTo>
                      <a:lnTo>
                        <a:pt x="405" y="1008"/>
                      </a:lnTo>
                      <a:lnTo>
                        <a:pt x="410" y="1008"/>
                      </a:lnTo>
                      <a:lnTo>
                        <a:pt x="416" y="1009"/>
                      </a:lnTo>
                      <a:lnTo>
                        <a:pt x="427" y="1013"/>
                      </a:lnTo>
                      <a:lnTo>
                        <a:pt x="432" y="1014"/>
                      </a:lnTo>
                      <a:lnTo>
                        <a:pt x="435" y="1015"/>
                      </a:lnTo>
                      <a:lnTo>
                        <a:pt x="443" y="1017"/>
                      </a:lnTo>
                      <a:lnTo>
                        <a:pt x="450" y="1020"/>
                      </a:lnTo>
                      <a:lnTo>
                        <a:pt x="456" y="1019"/>
                      </a:lnTo>
                      <a:lnTo>
                        <a:pt x="462" y="1019"/>
                      </a:lnTo>
                      <a:lnTo>
                        <a:pt x="467" y="1020"/>
                      </a:lnTo>
                      <a:lnTo>
                        <a:pt x="471" y="1021"/>
                      </a:lnTo>
                      <a:lnTo>
                        <a:pt x="476" y="1021"/>
                      </a:lnTo>
                      <a:lnTo>
                        <a:pt x="480" y="1022"/>
                      </a:lnTo>
                      <a:lnTo>
                        <a:pt x="482" y="1024"/>
                      </a:lnTo>
                      <a:lnTo>
                        <a:pt x="486" y="1025"/>
                      </a:lnTo>
                      <a:lnTo>
                        <a:pt x="494" y="1030"/>
                      </a:lnTo>
                      <a:lnTo>
                        <a:pt x="498" y="1032"/>
                      </a:lnTo>
                      <a:lnTo>
                        <a:pt x="501" y="1033"/>
                      </a:lnTo>
                      <a:lnTo>
                        <a:pt x="503" y="1036"/>
                      </a:lnTo>
                      <a:lnTo>
                        <a:pt x="503" y="1037"/>
                      </a:lnTo>
                      <a:lnTo>
                        <a:pt x="506" y="1038"/>
                      </a:lnTo>
                      <a:lnTo>
                        <a:pt x="509" y="1038"/>
                      </a:lnTo>
                      <a:lnTo>
                        <a:pt x="518" y="1036"/>
                      </a:lnTo>
                      <a:lnTo>
                        <a:pt x="521" y="1035"/>
                      </a:lnTo>
                      <a:lnTo>
                        <a:pt x="525" y="1035"/>
                      </a:lnTo>
                      <a:lnTo>
                        <a:pt x="528" y="1036"/>
                      </a:lnTo>
                      <a:lnTo>
                        <a:pt x="530" y="1038"/>
                      </a:lnTo>
                      <a:lnTo>
                        <a:pt x="533" y="1036"/>
                      </a:lnTo>
                      <a:lnTo>
                        <a:pt x="536" y="1035"/>
                      </a:lnTo>
                      <a:lnTo>
                        <a:pt x="540" y="1036"/>
                      </a:lnTo>
                      <a:lnTo>
                        <a:pt x="542" y="1038"/>
                      </a:lnTo>
                      <a:lnTo>
                        <a:pt x="546" y="1041"/>
                      </a:lnTo>
                      <a:lnTo>
                        <a:pt x="549" y="1041"/>
                      </a:lnTo>
                      <a:lnTo>
                        <a:pt x="551" y="1041"/>
                      </a:lnTo>
                      <a:lnTo>
                        <a:pt x="555" y="1042"/>
                      </a:lnTo>
                      <a:lnTo>
                        <a:pt x="556" y="1043"/>
                      </a:lnTo>
                      <a:lnTo>
                        <a:pt x="556" y="1046"/>
                      </a:lnTo>
                      <a:lnTo>
                        <a:pt x="556" y="1051"/>
                      </a:lnTo>
                      <a:lnTo>
                        <a:pt x="557" y="1053"/>
                      </a:lnTo>
                      <a:lnTo>
                        <a:pt x="560" y="1054"/>
                      </a:lnTo>
                      <a:lnTo>
                        <a:pt x="563" y="1056"/>
                      </a:lnTo>
                      <a:lnTo>
                        <a:pt x="565" y="1057"/>
                      </a:lnTo>
                      <a:lnTo>
                        <a:pt x="579" y="1062"/>
                      </a:lnTo>
                      <a:lnTo>
                        <a:pt x="585" y="1064"/>
                      </a:lnTo>
                      <a:lnTo>
                        <a:pt x="590" y="1068"/>
                      </a:lnTo>
                      <a:lnTo>
                        <a:pt x="594" y="1072"/>
                      </a:lnTo>
                      <a:lnTo>
                        <a:pt x="599" y="1074"/>
                      </a:lnTo>
                      <a:lnTo>
                        <a:pt x="601" y="1075"/>
                      </a:lnTo>
                      <a:lnTo>
                        <a:pt x="603" y="1078"/>
                      </a:lnTo>
                      <a:lnTo>
                        <a:pt x="604" y="1080"/>
                      </a:lnTo>
                      <a:lnTo>
                        <a:pt x="606" y="1081"/>
                      </a:lnTo>
                      <a:lnTo>
                        <a:pt x="609" y="1083"/>
                      </a:lnTo>
                      <a:lnTo>
                        <a:pt x="612" y="1084"/>
                      </a:lnTo>
                      <a:lnTo>
                        <a:pt x="616" y="1085"/>
                      </a:lnTo>
                      <a:lnTo>
                        <a:pt x="620" y="1085"/>
                      </a:lnTo>
                      <a:lnTo>
                        <a:pt x="621" y="1084"/>
                      </a:lnTo>
                      <a:lnTo>
                        <a:pt x="622" y="1081"/>
                      </a:lnTo>
                      <a:lnTo>
                        <a:pt x="625" y="1078"/>
                      </a:lnTo>
                      <a:lnTo>
                        <a:pt x="630" y="1073"/>
                      </a:lnTo>
                      <a:lnTo>
                        <a:pt x="633" y="1068"/>
                      </a:lnTo>
                      <a:lnTo>
                        <a:pt x="635" y="1064"/>
                      </a:lnTo>
                      <a:lnTo>
                        <a:pt x="633" y="1063"/>
                      </a:lnTo>
                      <a:lnTo>
                        <a:pt x="630" y="1059"/>
                      </a:lnTo>
                      <a:lnTo>
                        <a:pt x="625" y="1053"/>
                      </a:lnTo>
                      <a:lnTo>
                        <a:pt x="620" y="1047"/>
                      </a:lnTo>
                      <a:lnTo>
                        <a:pt x="614" y="1043"/>
                      </a:lnTo>
                      <a:lnTo>
                        <a:pt x="609" y="1038"/>
                      </a:lnTo>
                      <a:lnTo>
                        <a:pt x="605" y="1032"/>
                      </a:lnTo>
                      <a:lnTo>
                        <a:pt x="604" y="1029"/>
                      </a:lnTo>
                      <a:lnTo>
                        <a:pt x="600" y="1026"/>
                      </a:lnTo>
                      <a:lnTo>
                        <a:pt x="599" y="1025"/>
                      </a:lnTo>
                      <a:lnTo>
                        <a:pt x="599" y="1021"/>
                      </a:lnTo>
                      <a:lnTo>
                        <a:pt x="599" y="1019"/>
                      </a:lnTo>
                      <a:lnTo>
                        <a:pt x="601" y="1016"/>
                      </a:lnTo>
                      <a:lnTo>
                        <a:pt x="598" y="1013"/>
                      </a:lnTo>
                      <a:lnTo>
                        <a:pt x="598" y="1008"/>
                      </a:lnTo>
                      <a:lnTo>
                        <a:pt x="599" y="1001"/>
                      </a:lnTo>
                      <a:lnTo>
                        <a:pt x="600" y="998"/>
                      </a:lnTo>
                      <a:lnTo>
                        <a:pt x="599" y="997"/>
                      </a:lnTo>
                      <a:lnTo>
                        <a:pt x="598" y="998"/>
                      </a:lnTo>
                      <a:lnTo>
                        <a:pt x="597" y="1000"/>
                      </a:lnTo>
                      <a:lnTo>
                        <a:pt x="597" y="1005"/>
                      </a:lnTo>
                      <a:lnTo>
                        <a:pt x="597" y="1008"/>
                      </a:lnTo>
                      <a:lnTo>
                        <a:pt x="594" y="1008"/>
                      </a:lnTo>
                      <a:lnTo>
                        <a:pt x="594" y="1006"/>
                      </a:lnTo>
                      <a:lnTo>
                        <a:pt x="594" y="1004"/>
                      </a:lnTo>
                      <a:lnTo>
                        <a:pt x="595" y="1001"/>
                      </a:lnTo>
                      <a:lnTo>
                        <a:pt x="593" y="997"/>
                      </a:lnTo>
                      <a:lnTo>
                        <a:pt x="590" y="993"/>
                      </a:lnTo>
                      <a:lnTo>
                        <a:pt x="585" y="987"/>
                      </a:lnTo>
                      <a:lnTo>
                        <a:pt x="579" y="983"/>
                      </a:lnTo>
                      <a:lnTo>
                        <a:pt x="573" y="981"/>
                      </a:lnTo>
                      <a:lnTo>
                        <a:pt x="571" y="978"/>
                      </a:lnTo>
                      <a:lnTo>
                        <a:pt x="571" y="974"/>
                      </a:lnTo>
                      <a:lnTo>
                        <a:pt x="572" y="972"/>
                      </a:lnTo>
                      <a:lnTo>
                        <a:pt x="574" y="969"/>
                      </a:lnTo>
                      <a:lnTo>
                        <a:pt x="576" y="967"/>
                      </a:lnTo>
                      <a:lnTo>
                        <a:pt x="576" y="965"/>
                      </a:lnTo>
                      <a:lnTo>
                        <a:pt x="578" y="967"/>
                      </a:lnTo>
                      <a:lnTo>
                        <a:pt x="581" y="958"/>
                      </a:lnTo>
                      <a:lnTo>
                        <a:pt x="584" y="951"/>
                      </a:lnTo>
                      <a:lnTo>
                        <a:pt x="585" y="944"/>
                      </a:lnTo>
                      <a:lnTo>
                        <a:pt x="584" y="940"/>
                      </a:lnTo>
                      <a:lnTo>
                        <a:pt x="582" y="936"/>
                      </a:lnTo>
                      <a:lnTo>
                        <a:pt x="584" y="938"/>
                      </a:lnTo>
                      <a:lnTo>
                        <a:pt x="585" y="939"/>
                      </a:lnTo>
                      <a:lnTo>
                        <a:pt x="588" y="942"/>
                      </a:lnTo>
                      <a:lnTo>
                        <a:pt x="587" y="939"/>
                      </a:lnTo>
                      <a:lnTo>
                        <a:pt x="585" y="936"/>
                      </a:lnTo>
                      <a:lnTo>
                        <a:pt x="589" y="938"/>
                      </a:lnTo>
                      <a:lnTo>
                        <a:pt x="594" y="940"/>
                      </a:lnTo>
                      <a:lnTo>
                        <a:pt x="594" y="938"/>
                      </a:lnTo>
                      <a:lnTo>
                        <a:pt x="597" y="938"/>
                      </a:lnTo>
                      <a:lnTo>
                        <a:pt x="599" y="938"/>
                      </a:lnTo>
                      <a:lnTo>
                        <a:pt x="601" y="936"/>
                      </a:lnTo>
                      <a:lnTo>
                        <a:pt x="604" y="935"/>
                      </a:lnTo>
                      <a:lnTo>
                        <a:pt x="608" y="934"/>
                      </a:lnTo>
                      <a:lnTo>
                        <a:pt x="606" y="933"/>
                      </a:lnTo>
                      <a:lnTo>
                        <a:pt x="606" y="931"/>
                      </a:lnTo>
                      <a:lnTo>
                        <a:pt x="609" y="931"/>
                      </a:lnTo>
                      <a:lnTo>
                        <a:pt x="614" y="933"/>
                      </a:lnTo>
                      <a:lnTo>
                        <a:pt x="616" y="934"/>
                      </a:lnTo>
                      <a:lnTo>
                        <a:pt x="615" y="931"/>
                      </a:lnTo>
                      <a:lnTo>
                        <a:pt x="612" y="930"/>
                      </a:lnTo>
                      <a:lnTo>
                        <a:pt x="614" y="928"/>
                      </a:lnTo>
                      <a:lnTo>
                        <a:pt x="611" y="926"/>
                      </a:lnTo>
                      <a:lnTo>
                        <a:pt x="614" y="925"/>
                      </a:lnTo>
                      <a:lnTo>
                        <a:pt x="617" y="926"/>
                      </a:lnTo>
                      <a:lnTo>
                        <a:pt x="617" y="924"/>
                      </a:lnTo>
                      <a:lnTo>
                        <a:pt x="620" y="923"/>
                      </a:lnTo>
                      <a:lnTo>
                        <a:pt x="624" y="924"/>
                      </a:lnTo>
                      <a:lnTo>
                        <a:pt x="622" y="918"/>
                      </a:lnTo>
                      <a:lnTo>
                        <a:pt x="626" y="920"/>
                      </a:lnTo>
                      <a:lnTo>
                        <a:pt x="625" y="918"/>
                      </a:lnTo>
                      <a:lnTo>
                        <a:pt x="622" y="915"/>
                      </a:lnTo>
                      <a:lnTo>
                        <a:pt x="614" y="912"/>
                      </a:lnTo>
                      <a:lnTo>
                        <a:pt x="608" y="909"/>
                      </a:lnTo>
                      <a:lnTo>
                        <a:pt x="605" y="907"/>
                      </a:lnTo>
                      <a:lnTo>
                        <a:pt x="604" y="906"/>
                      </a:lnTo>
                      <a:lnTo>
                        <a:pt x="608" y="904"/>
                      </a:lnTo>
                      <a:lnTo>
                        <a:pt x="611" y="906"/>
                      </a:lnTo>
                      <a:lnTo>
                        <a:pt x="615" y="906"/>
                      </a:lnTo>
                      <a:lnTo>
                        <a:pt x="616" y="904"/>
                      </a:lnTo>
                      <a:lnTo>
                        <a:pt x="616" y="903"/>
                      </a:lnTo>
                      <a:lnTo>
                        <a:pt x="612" y="898"/>
                      </a:lnTo>
                      <a:lnTo>
                        <a:pt x="608" y="893"/>
                      </a:lnTo>
                      <a:lnTo>
                        <a:pt x="603" y="887"/>
                      </a:lnTo>
                      <a:lnTo>
                        <a:pt x="597" y="880"/>
                      </a:lnTo>
                      <a:lnTo>
                        <a:pt x="589" y="875"/>
                      </a:lnTo>
                      <a:lnTo>
                        <a:pt x="581" y="871"/>
                      </a:lnTo>
                      <a:lnTo>
                        <a:pt x="578" y="870"/>
                      </a:lnTo>
                      <a:lnTo>
                        <a:pt x="574" y="870"/>
                      </a:lnTo>
                      <a:lnTo>
                        <a:pt x="571" y="871"/>
                      </a:lnTo>
                      <a:lnTo>
                        <a:pt x="568" y="872"/>
                      </a:lnTo>
                      <a:lnTo>
                        <a:pt x="568" y="874"/>
                      </a:lnTo>
                      <a:lnTo>
                        <a:pt x="567" y="872"/>
                      </a:lnTo>
                      <a:lnTo>
                        <a:pt x="565" y="870"/>
                      </a:lnTo>
                      <a:lnTo>
                        <a:pt x="562" y="866"/>
                      </a:lnTo>
                      <a:lnTo>
                        <a:pt x="560" y="864"/>
                      </a:lnTo>
                      <a:lnTo>
                        <a:pt x="563" y="861"/>
                      </a:lnTo>
                      <a:lnTo>
                        <a:pt x="561" y="859"/>
                      </a:lnTo>
                      <a:lnTo>
                        <a:pt x="558" y="858"/>
                      </a:lnTo>
                      <a:lnTo>
                        <a:pt x="557" y="855"/>
                      </a:lnTo>
                      <a:lnTo>
                        <a:pt x="553" y="854"/>
                      </a:lnTo>
                      <a:lnTo>
                        <a:pt x="549" y="853"/>
                      </a:lnTo>
                      <a:lnTo>
                        <a:pt x="545" y="849"/>
                      </a:lnTo>
                      <a:lnTo>
                        <a:pt x="544" y="844"/>
                      </a:lnTo>
                      <a:lnTo>
                        <a:pt x="545" y="839"/>
                      </a:lnTo>
                      <a:lnTo>
                        <a:pt x="547" y="834"/>
                      </a:lnTo>
                      <a:lnTo>
                        <a:pt x="550" y="831"/>
                      </a:lnTo>
                      <a:lnTo>
                        <a:pt x="552" y="829"/>
                      </a:lnTo>
                      <a:lnTo>
                        <a:pt x="552" y="828"/>
                      </a:lnTo>
                      <a:lnTo>
                        <a:pt x="550" y="824"/>
                      </a:lnTo>
                      <a:lnTo>
                        <a:pt x="546" y="821"/>
                      </a:lnTo>
                      <a:lnTo>
                        <a:pt x="544" y="818"/>
                      </a:lnTo>
                      <a:lnTo>
                        <a:pt x="544" y="812"/>
                      </a:lnTo>
                      <a:lnTo>
                        <a:pt x="545" y="807"/>
                      </a:lnTo>
                      <a:lnTo>
                        <a:pt x="547" y="804"/>
                      </a:lnTo>
                      <a:lnTo>
                        <a:pt x="551" y="800"/>
                      </a:lnTo>
                      <a:lnTo>
                        <a:pt x="552" y="797"/>
                      </a:lnTo>
                      <a:lnTo>
                        <a:pt x="552" y="792"/>
                      </a:lnTo>
                      <a:lnTo>
                        <a:pt x="552" y="788"/>
                      </a:lnTo>
                      <a:lnTo>
                        <a:pt x="553" y="786"/>
                      </a:lnTo>
                      <a:lnTo>
                        <a:pt x="557" y="786"/>
                      </a:lnTo>
                      <a:lnTo>
                        <a:pt x="561" y="786"/>
                      </a:lnTo>
                      <a:lnTo>
                        <a:pt x="563" y="789"/>
                      </a:lnTo>
                      <a:lnTo>
                        <a:pt x="568" y="794"/>
                      </a:lnTo>
                      <a:lnTo>
                        <a:pt x="574" y="800"/>
                      </a:lnTo>
                      <a:lnTo>
                        <a:pt x="579" y="805"/>
                      </a:lnTo>
                      <a:lnTo>
                        <a:pt x="583" y="805"/>
                      </a:lnTo>
                      <a:lnTo>
                        <a:pt x="587" y="805"/>
                      </a:lnTo>
                      <a:lnTo>
                        <a:pt x="589" y="802"/>
                      </a:lnTo>
                      <a:lnTo>
                        <a:pt x="592" y="801"/>
                      </a:lnTo>
                      <a:lnTo>
                        <a:pt x="593" y="799"/>
                      </a:lnTo>
                      <a:lnTo>
                        <a:pt x="592" y="797"/>
                      </a:lnTo>
                      <a:lnTo>
                        <a:pt x="589" y="794"/>
                      </a:lnTo>
                      <a:lnTo>
                        <a:pt x="588" y="790"/>
                      </a:lnTo>
                      <a:lnTo>
                        <a:pt x="587" y="786"/>
                      </a:lnTo>
                      <a:lnTo>
                        <a:pt x="584" y="781"/>
                      </a:lnTo>
                      <a:lnTo>
                        <a:pt x="581" y="779"/>
                      </a:lnTo>
                      <a:lnTo>
                        <a:pt x="585" y="780"/>
                      </a:lnTo>
                      <a:lnTo>
                        <a:pt x="590" y="779"/>
                      </a:lnTo>
                      <a:lnTo>
                        <a:pt x="599" y="774"/>
                      </a:lnTo>
                      <a:lnTo>
                        <a:pt x="600" y="773"/>
                      </a:lnTo>
                      <a:lnTo>
                        <a:pt x="599" y="770"/>
                      </a:lnTo>
                      <a:lnTo>
                        <a:pt x="599" y="769"/>
                      </a:lnTo>
                      <a:lnTo>
                        <a:pt x="598" y="767"/>
                      </a:lnTo>
                      <a:lnTo>
                        <a:pt x="599" y="765"/>
                      </a:lnTo>
                      <a:lnTo>
                        <a:pt x="601" y="765"/>
                      </a:lnTo>
                      <a:lnTo>
                        <a:pt x="605" y="765"/>
                      </a:lnTo>
                      <a:lnTo>
                        <a:pt x="608" y="764"/>
                      </a:lnTo>
                      <a:lnTo>
                        <a:pt x="609" y="763"/>
                      </a:lnTo>
                      <a:lnTo>
                        <a:pt x="614" y="760"/>
                      </a:lnTo>
                      <a:lnTo>
                        <a:pt x="617" y="759"/>
                      </a:lnTo>
                      <a:lnTo>
                        <a:pt x="620" y="758"/>
                      </a:lnTo>
                      <a:lnTo>
                        <a:pt x="621" y="757"/>
                      </a:lnTo>
                      <a:lnTo>
                        <a:pt x="624" y="753"/>
                      </a:lnTo>
                      <a:lnTo>
                        <a:pt x="624" y="751"/>
                      </a:lnTo>
                      <a:lnTo>
                        <a:pt x="626" y="748"/>
                      </a:lnTo>
                      <a:lnTo>
                        <a:pt x="630" y="749"/>
                      </a:lnTo>
                      <a:lnTo>
                        <a:pt x="627" y="743"/>
                      </a:lnTo>
                      <a:lnTo>
                        <a:pt x="632" y="745"/>
                      </a:lnTo>
                      <a:lnTo>
                        <a:pt x="637" y="746"/>
                      </a:lnTo>
                      <a:lnTo>
                        <a:pt x="641" y="747"/>
                      </a:lnTo>
                      <a:lnTo>
                        <a:pt x="643" y="749"/>
                      </a:lnTo>
                      <a:lnTo>
                        <a:pt x="644" y="752"/>
                      </a:lnTo>
                      <a:lnTo>
                        <a:pt x="644" y="753"/>
                      </a:lnTo>
                      <a:lnTo>
                        <a:pt x="648" y="752"/>
                      </a:lnTo>
                      <a:lnTo>
                        <a:pt x="651" y="752"/>
                      </a:lnTo>
                      <a:lnTo>
                        <a:pt x="653" y="753"/>
                      </a:lnTo>
                      <a:lnTo>
                        <a:pt x="654" y="749"/>
                      </a:lnTo>
                      <a:lnTo>
                        <a:pt x="657" y="747"/>
                      </a:lnTo>
                      <a:lnTo>
                        <a:pt x="662" y="746"/>
                      </a:lnTo>
                      <a:lnTo>
                        <a:pt x="667" y="743"/>
                      </a:lnTo>
                      <a:lnTo>
                        <a:pt x="669" y="748"/>
                      </a:lnTo>
                      <a:lnTo>
                        <a:pt x="672" y="751"/>
                      </a:lnTo>
                      <a:lnTo>
                        <a:pt x="678" y="753"/>
                      </a:lnTo>
                      <a:lnTo>
                        <a:pt x="685" y="753"/>
                      </a:lnTo>
                      <a:lnTo>
                        <a:pt x="694" y="753"/>
                      </a:lnTo>
                      <a:lnTo>
                        <a:pt x="697" y="754"/>
                      </a:lnTo>
                      <a:lnTo>
                        <a:pt x="700" y="757"/>
                      </a:lnTo>
                      <a:lnTo>
                        <a:pt x="702" y="759"/>
                      </a:lnTo>
                      <a:lnTo>
                        <a:pt x="705" y="762"/>
                      </a:lnTo>
                      <a:lnTo>
                        <a:pt x="711" y="763"/>
                      </a:lnTo>
                      <a:lnTo>
                        <a:pt x="713" y="764"/>
                      </a:lnTo>
                      <a:lnTo>
                        <a:pt x="716" y="765"/>
                      </a:lnTo>
                      <a:lnTo>
                        <a:pt x="719" y="768"/>
                      </a:lnTo>
                      <a:lnTo>
                        <a:pt x="723" y="770"/>
                      </a:lnTo>
                      <a:lnTo>
                        <a:pt x="727" y="773"/>
                      </a:lnTo>
                      <a:lnTo>
                        <a:pt x="728" y="774"/>
                      </a:lnTo>
                      <a:lnTo>
                        <a:pt x="728" y="779"/>
                      </a:lnTo>
                      <a:lnTo>
                        <a:pt x="731" y="783"/>
                      </a:lnTo>
                      <a:lnTo>
                        <a:pt x="732" y="784"/>
                      </a:lnTo>
                      <a:lnTo>
                        <a:pt x="734" y="781"/>
                      </a:lnTo>
                      <a:lnTo>
                        <a:pt x="734" y="779"/>
                      </a:lnTo>
                      <a:lnTo>
                        <a:pt x="733" y="776"/>
                      </a:lnTo>
                      <a:lnTo>
                        <a:pt x="731" y="773"/>
                      </a:lnTo>
                      <a:lnTo>
                        <a:pt x="728" y="768"/>
                      </a:lnTo>
                      <a:lnTo>
                        <a:pt x="732" y="767"/>
                      </a:lnTo>
                      <a:lnTo>
                        <a:pt x="735" y="769"/>
                      </a:lnTo>
                      <a:lnTo>
                        <a:pt x="740" y="772"/>
                      </a:lnTo>
                      <a:lnTo>
                        <a:pt x="743" y="774"/>
                      </a:lnTo>
                      <a:lnTo>
                        <a:pt x="750" y="776"/>
                      </a:lnTo>
                      <a:lnTo>
                        <a:pt x="755" y="780"/>
                      </a:lnTo>
                      <a:lnTo>
                        <a:pt x="759" y="781"/>
                      </a:lnTo>
                      <a:lnTo>
                        <a:pt x="763" y="781"/>
                      </a:lnTo>
                      <a:lnTo>
                        <a:pt x="766" y="780"/>
                      </a:lnTo>
                      <a:lnTo>
                        <a:pt x="769" y="776"/>
                      </a:lnTo>
                      <a:lnTo>
                        <a:pt x="770" y="774"/>
                      </a:lnTo>
                      <a:lnTo>
                        <a:pt x="772" y="772"/>
                      </a:lnTo>
                      <a:lnTo>
                        <a:pt x="775" y="769"/>
                      </a:lnTo>
                      <a:lnTo>
                        <a:pt x="775" y="767"/>
                      </a:lnTo>
                      <a:lnTo>
                        <a:pt x="779" y="768"/>
                      </a:lnTo>
                      <a:lnTo>
                        <a:pt x="781" y="769"/>
                      </a:lnTo>
                      <a:lnTo>
                        <a:pt x="783" y="767"/>
                      </a:lnTo>
                      <a:lnTo>
                        <a:pt x="787" y="765"/>
                      </a:lnTo>
                      <a:lnTo>
                        <a:pt x="792" y="765"/>
                      </a:lnTo>
                      <a:lnTo>
                        <a:pt x="793" y="767"/>
                      </a:lnTo>
                      <a:lnTo>
                        <a:pt x="796" y="768"/>
                      </a:lnTo>
                      <a:lnTo>
                        <a:pt x="797" y="770"/>
                      </a:lnTo>
                      <a:lnTo>
                        <a:pt x="802" y="773"/>
                      </a:lnTo>
                      <a:lnTo>
                        <a:pt x="804" y="773"/>
                      </a:lnTo>
                      <a:lnTo>
                        <a:pt x="806" y="772"/>
                      </a:lnTo>
                      <a:lnTo>
                        <a:pt x="807" y="770"/>
                      </a:lnTo>
                      <a:lnTo>
                        <a:pt x="809" y="772"/>
                      </a:lnTo>
                      <a:lnTo>
                        <a:pt x="809" y="768"/>
                      </a:lnTo>
                      <a:lnTo>
                        <a:pt x="809" y="765"/>
                      </a:lnTo>
                      <a:lnTo>
                        <a:pt x="810" y="765"/>
                      </a:lnTo>
                      <a:lnTo>
                        <a:pt x="812" y="765"/>
                      </a:lnTo>
                      <a:lnTo>
                        <a:pt x="814" y="767"/>
                      </a:lnTo>
                      <a:lnTo>
                        <a:pt x="817" y="765"/>
                      </a:lnTo>
                      <a:lnTo>
                        <a:pt x="819" y="764"/>
                      </a:lnTo>
                      <a:lnTo>
                        <a:pt x="823" y="764"/>
                      </a:lnTo>
                      <a:lnTo>
                        <a:pt x="826" y="765"/>
                      </a:lnTo>
                      <a:lnTo>
                        <a:pt x="829" y="769"/>
                      </a:lnTo>
                      <a:lnTo>
                        <a:pt x="831" y="773"/>
                      </a:lnTo>
                      <a:lnTo>
                        <a:pt x="834" y="775"/>
                      </a:lnTo>
                      <a:lnTo>
                        <a:pt x="838" y="776"/>
                      </a:lnTo>
                      <a:lnTo>
                        <a:pt x="846" y="779"/>
                      </a:lnTo>
                      <a:lnTo>
                        <a:pt x="849" y="779"/>
                      </a:lnTo>
                      <a:lnTo>
                        <a:pt x="854" y="780"/>
                      </a:lnTo>
                      <a:lnTo>
                        <a:pt x="856" y="781"/>
                      </a:lnTo>
                      <a:lnTo>
                        <a:pt x="857" y="783"/>
                      </a:lnTo>
                      <a:lnTo>
                        <a:pt x="857" y="784"/>
                      </a:lnTo>
                      <a:lnTo>
                        <a:pt x="862" y="783"/>
                      </a:lnTo>
                      <a:lnTo>
                        <a:pt x="865" y="781"/>
                      </a:lnTo>
                      <a:lnTo>
                        <a:pt x="866" y="779"/>
                      </a:lnTo>
                      <a:lnTo>
                        <a:pt x="866" y="775"/>
                      </a:lnTo>
                      <a:lnTo>
                        <a:pt x="866" y="774"/>
                      </a:lnTo>
                      <a:lnTo>
                        <a:pt x="867" y="773"/>
                      </a:lnTo>
                      <a:lnTo>
                        <a:pt x="870" y="773"/>
                      </a:lnTo>
                      <a:lnTo>
                        <a:pt x="871" y="774"/>
                      </a:lnTo>
                      <a:lnTo>
                        <a:pt x="874" y="776"/>
                      </a:lnTo>
                      <a:lnTo>
                        <a:pt x="878" y="779"/>
                      </a:lnTo>
                      <a:lnTo>
                        <a:pt x="883" y="779"/>
                      </a:lnTo>
                      <a:lnTo>
                        <a:pt x="888" y="779"/>
                      </a:lnTo>
                      <a:lnTo>
                        <a:pt x="894" y="778"/>
                      </a:lnTo>
                      <a:lnTo>
                        <a:pt x="900" y="775"/>
                      </a:lnTo>
                      <a:lnTo>
                        <a:pt x="903" y="774"/>
                      </a:lnTo>
                      <a:lnTo>
                        <a:pt x="903" y="772"/>
                      </a:lnTo>
                      <a:lnTo>
                        <a:pt x="903" y="769"/>
                      </a:lnTo>
                      <a:lnTo>
                        <a:pt x="901" y="765"/>
                      </a:lnTo>
                      <a:lnTo>
                        <a:pt x="901" y="762"/>
                      </a:lnTo>
                      <a:lnTo>
                        <a:pt x="904" y="760"/>
                      </a:lnTo>
                      <a:lnTo>
                        <a:pt x="901" y="758"/>
                      </a:lnTo>
                      <a:lnTo>
                        <a:pt x="898" y="757"/>
                      </a:lnTo>
                      <a:lnTo>
                        <a:pt x="895" y="754"/>
                      </a:lnTo>
                      <a:lnTo>
                        <a:pt x="892" y="754"/>
                      </a:lnTo>
                      <a:lnTo>
                        <a:pt x="888" y="753"/>
                      </a:lnTo>
                      <a:lnTo>
                        <a:pt x="885" y="752"/>
                      </a:lnTo>
                      <a:lnTo>
                        <a:pt x="881" y="748"/>
                      </a:lnTo>
                      <a:lnTo>
                        <a:pt x="874" y="748"/>
                      </a:lnTo>
                      <a:lnTo>
                        <a:pt x="871" y="747"/>
                      </a:lnTo>
                      <a:lnTo>
                        <a:pt x="868" y="745"/>
                      </a:lnTo>
                      <a:lnTo>
                        <a:pt x="866" y="743"/>
                      </a:lnTo>
                      <a:lnTo>
                        <a:pt x="862" y="742"/>
                      </a:lnTo>
                      <a:lnTo>
                        <a:pt x="858" y="741"/>
                      </a:lnTo>
                      <a:lnTo>
                        <a:pt x="856" y="738"/>
                      </a:lnTo>
                      <a:lnTo>
                        <a:pt x="857" y="737"/>
                      </a:lnTo>
                      <a:lnTo>
                        <a:pt x="861" y="736"/>
                      </a:lnTo>
                      <a:lnTo>
                        <a:pt x="865" y="733"/>
                      </a:lnTo>
                      <a:lnTo>
                        <a:pt x="866" y="732"/>
                      </a:lnTo>
                      <a:lnTo>
                        <a:pt x="871" y="732"/>
                      </a:lnTo>
                      <a:lnTo>
                        <a:pt x="872" y="731"/>
                      </a:lnTo>
                      <a:lnTo>
                        <a:pt x="873" y="730"/>
                      </a:lnTo>
                      <a:lnTo>
                        <a:pt x="876" y="727"/>
                      </a:lnTo>
                      <a:lnTo>
                        <a:pt x="878" y="726"/>
                      </a:lnTo>
                      <a:lnTo>
                        <a:pt x="876" y="724"/>
                      </a:lnTo>
                      <a:lnTo>
                        <a:pt x="872" y="720"/>
                      </a:lnTo>
                      <a:lnTo>
                        <a:pt x="868" y="716"/>
                      </a:lnTo>
                      <a:lnTo>
                        <a:pt x="867" y="714"/>
                      </a:lnTo>
                      <a:lnTo>
                        <a:pt x="868" y="711"/>
                      </a:lnTo>
                      <a:lnTo>
                        <a:pt x="871" y="710"/>
                      </a:lnTo>
                      <a:lnTo>
                        <a:pt x="872" y="708"/>
                      </a:lnTo>
                      <a:lnTo>
                        <a:pt x="871" y="705"/>
                      </a:lnTo>
                      <a:lnTo>
                        <a:pt x="876" y="705"/>
                      </a:lnTo>
                      <a:lnTo>
                        <a:pt x="881" y="705"/>
                      </a:lnTo>
                      <a:lnTo>
                        <a:pt x="884" y="705"/>
                      </a:lnTo>
                      <a:lnTo>
                        <a:pt x="888" y="706"/>
                      </a:lnTo>
                      <a:lnTo>
                        <a:pt x="890" y="706"/>
                      </a:lnTo>
                      <a:lnTo>
                        <a:pt x="895" y="705"/>
                      </a:lnTo>
                      <a:lnTo>
                        <a:pt x="898" y="704"/>
                      </a:lnTo>
                      <a:lnTo>
                        <a:pt x="898" y="703"/>
                      </a:lnTo>
                      <a:lnTo>
                        <a:pt x="897" y="701"/>
                      </a:lnTo>
                      <a:lnTo>
                        <a:pt x="892" y="699"/>
                      </a:lnTo>
                      <a:lnTo>
                        <a:pt x="885" y="698"/>
                      </a:lnTo>
                      <a:lnTo>
                        <a:pt x="874" y="695"/>
                      </a:lnTo>
                      <a:lnTo>
                        <a:pt x="872" y="695"/>
                      </a:lnTo>
                      <a:lnTo>
                        <a:pt x="871" y="694"/>
                      </a:lnTo>
                      <a:lnTo>
                        <a:pt x="871" y="693"/>
                      </a:lnTo>
                      <a:lnTo>
                        <a:pt x="873" y="692"/>
                      </a:lnTo>
                      <a:lnTo>
                        <a:pt x="877" y="690"/>
                      </a:lnTo>
                      <a:lnTo>
                        <a:pt x="878" y="689"/>
                      </a:lnTo>
                      <a:lnTo>
                        <a:pt x="879" y="689"/>
                      </a:lnTo>
                      <a:lnTo>
                        <a:pt x="878" y="688"/>
                      </a:lnTo>
                      <a:lnTo>
                        <a:pt x="876" y="687"/>
                      </a:lnTo>
                      <a:lnTo>
                        <a:pt x="872" y="688"/>
                      </a:lnTo>
                      <a:lnTo>
                        <a:pt x="867" y="687"/>
                      </a:lnTo>
                      <a:lnTo>
                        <a:pt x="862" y="684"/>
                      </a:lnTo>
                      <a:lnTo>
                        <a:pt x="866" y="684"/>
                      </a:lnTo>
                      <a:lnTo>
                        <a:pt x="867" y="683"/>
                      </a:lnTo>
                      <a:lnTo>
                        <a:pt x="867" y="681"/>
                      </a:lnTo>
                      <a:lnTo>
                        <a:pt x="865" y="677"/>
                      </a:lnTo>
                      <a:lnTo>
                        <a:pt x="862" y="676"/>
                      </a:lnTo>
                      <a:lnTo>
                        <a:pt x="867" y="676"/>
                      </a:lnTo>
                      <a:lnTo>
                        <a:pt x="867" y="673"/>
                      </a:lnTo>
                      <a:lnTo>
                        <a:pt x="868" y="673"/>
                      </a:lnTo>
                      <a:lnTo>
                        <a:pt x="873" y="673"/>
                      </a:lnTo>
                      <a:lnTo>
                        <a:pt x="878" y="674"/>
                      </a:lnTo>
                      <a:lnTo>
                        <a:pt x="882" y="676"/>
                      </a:lnTo>
                      <a:lnTo>
                        <a:pt x="884" y="676"/>
                      </a:lnTo>
                      <a:lnTo>
                        <a:pt x="887" y="674"/>
                      </a:lnTo>
                      <a:lnTo>
                        <a:pt x="892" y="673"/>
                      </a:lnTo>
                      <a:lnTo>
                        <a:pt x="894" y="673"/>
                      </a:lnTo>
                      <a:lnTo>
                        <a:pt x="897" y="674"/>
                      </a:lnTo>
                      <a:lnTo>
                        <a:pt x="898" y="676"/>
                      </a:lnTo>
                      <a:lnTo>
                        <a:pt x="900" y="677"/>
                      </a:lnTo>
                      <a:lnTo>
                        <a:pt x="900" y="673"/>
                      </a:lnTo>
                      <a:lnTo>
                        <a:pt x="901" y="672"/>
                      </a:lnTo>
                      <a:lnTo>
                        <a:pt x="905" y="671"/>
                      </a:lnTo>
                      <a:lnTo>
                        <a:pt x="910" y="671"/>
                      </a:lnTo>
                      <a:lnTo>
                        <a:pt x="911" y="671"/>
                      </a:lnTo>
                      <a:lnTo>
                        <a:pt x="913" y="670"/>
                      </a:lnTo>
                      <a:lnTo>
                        <a:pt x="914" y="668"/>
                      </a:lnTo>
                      <a:lnTo>
                        <a:pt x="915" y="667"/>
                      </a:lnTo>
                      <a:lnTo>
                        <a:pt x="921" y="667"/>
                      </a:lnTo>
                      <a:lnTo>
                        <a:pt x="927" y="667"/>
                      </a:lnTo>
                      <a:lnTo>
                        <a:pt x="932" y="666"/>
                      </a:lnTo>
                      <a:lnTo>
                        <a:pt x="933" y="663"/>
                      </a:lnTo>
                      <a:lnTo>
                        <a:pt x="938" y="663"/>
                      </a:lnTo>
                      <a:lnTo>
                        <a:pt x="943" y="662"/>
                      </a:lnTo>
                      <a:lnTo>
                        <a:pt x="948" y="662"/>
                      </a:lnTo>
                      <a:lnTo>
                        <a:pt x="951" y="662"/>
                      </a:lnTo>
                      <a:lnTo>
                        <a:pt x="953" y="662"/>
                      </a:lnTo>
                      <a:lnTo>
                        <a:pt x="954" y="661"/>
                      </a:lnTo>
                      <a:lnTo>
                        <a:pt x="956" y="662"/>
                      </a:lnTo>
                      <a:lnTo>
                        <a:pt x="958" y="663"/>
                      </a:lnTo>
                      <a:lnTo>
                        <a:pt x="959" y="662"/>
                      </a:lnTo>
                      <a:lnTo>
                        <a:pt x="959" y="658"/>
                      </a:lnTo>
                      <a:lnTo>
                        <a:pt x="961" y="656"/>
                      </a:lnTo>
                      <a:lnTo>
                        <a:pt x="963" y="655"/>
                      </a:lnTo>
                      <a:lnTo>
                        <a:pt x="967" y="654"/>
                      </a:lnTo>
                      <a:lnTo>
                        <a:pt x="972" y="654"/>
                      </a:lnTo>
                      <a:lnTo>
                        <a:pt x="983" y="652"/>
                      </a:lnTo>
                      <a:lnTo>
                        <a:pt x="986" y="652"/>
                      </a:lnTo>
                      <a:lnTo>
                        <a:pt x="990" y="651"/>
                      </a:lnTo>
                      <a:lnTo>
                        <a:pt x="1010" y="647"/>
                      </a:lnTo>
                      <a:lnTo>
                        <a:pt x="1013" y="646"/>
                      </a:lnTo>
                      <a:lnTo>
                        <a:pt x="1020" y="645"/>
                      </a:lnTo>
                      <a:lnTo>
                        <a:pt x="1024" y="642"/>
                      </a:lnTo>
                      <a:lnTo>
                        <a:pt x="1028" y="640"/>
                      </a:lnTo>
                      <a:lnTo>
                        <a:pt x="1026" y="639"/>
                      </a:lnTo>
                      <a:lnTo>
                        <a:pt x="1026" y="639"/>
                      </a:lnTo>
                      <a:lnTo>
                        <a:pt x="1027" y="638"/>
                      </a:lnTo>
                      <a:lnTo>
                        <a:pt x="1028" y="636"/>
                      </a:lnTo>
                      <a:lnTo>
                        <a:pt x="1033" y="635"/>
                      </a:lnTo>
                      <a:lnTo>
                        <a:pt x="1034" y="634"/>
                      </a:lnTo>
                      <a:lnTo>
                        <a:pt x="1034" y="631"/>
                      </a:lnTo>
                      <a:lnTo>
                        <a:pt x="1040" y="631"/>
                      </a:lnTo>
                      <a:lnTo>
                        <a:pt x="1038" y="629"/>
                      </a:lnTo>
                      <a:lnTo>
                        <a:pt x="1044" y="630"/>
                      </a:lnTo>
                      <a:lnTo>
                        <a:pt x="1047" y="630"/>
                      </a:lnTo>
                      <a:lnTo>
                        <a:pt x="1049" y="630"/>
                      </a:lnTo>
                      <a:lnTo>
                        <a:pt x="1054" y="631"/>
                      </a:lnTo>
                      <a:lnTo>
                        <a:pt x="1059" y="633"/>
                      </a:lnTo>
                      <a:lnTo>
                        <a:pt x="1063" y="634"/>
                      </a:lnTo>
                      <a:lnTo>
                        <a:pt x="1068" y="636"/>
                      </a:lnTo>
                      <a:lnTo>
                        <a:pt x="1072" y="638"/>
                      </a:lnTo>
                      <a:lnTo>
                        <a:pt x="1075" y="636"/>
                      </a:lnTo>
                      <a:lnTo>
                        <a:pt x="1079" y="634"/>
                      </a:lnTo>
                      <a:lnTo>
                        <a:pt x="1082" y="633"/>
                      </a:lnTo>
                      <a:lnTo>
                        <a:pt x="1086" y="634"/>
                      </a:lnTo>
                      <a:lnTo>
                        <a:pt x="1090" y="636"/>
                      </a:lnTo>
                      <a:lnTo>
                        <a:pt x="1093" y="641"/>
                      </a:lnTo>
                      <a:lnTo>
                        <a:pt x="1096" y="647"/>
                      </a:lnTo>
                      <a:lnTo>
                        <a:pt x="1099" y="650"/>
                      </a:lnTo>
                      <a:lnTo>
                        <a:pt x="1104" y="652"/>
                      </a:lnTo>
                      <a:lnTo>
                        <a:pt x="1103" y="654"/>
                      </a:lnTo>
                      <a:lnTo>
                        <a:pt x="1103" y="656"/>
                      </a:lnTo>
                      <a:lnTo>
                        <a:pt x="1104" y="660"/>
                      </a:lnTo>
                      <a:lnTo>
                        <a:pt x="1106" y="663"/>
                      </a:lnTo>
                      <a:lnTo>
                        <a:pt x="1104" y="665"/>
                      </a:lnTo>
                      <a:lnTo>
                        <a:pt x="1102" y="665"/>
                      </a:lnTo>
                      <a:lnTo>
                        <a:pt x="1106" y="667"/>
                      </a:lnTo>
                      <a:lnTo>
                        <a:pt x="1109" y="668"/>
                      </a:lnTo>
                      <a:lnTo>
                        <a:pt x="1113" y="668"/>
                      </a:lnTo>
                      <a:lnTo>
                        <a:pt x="1117" y="670"/>
                      </a:lnTo>
                      <a:lnTo>
                        <a:pt x="1118" y="670"/>
                      </a:lnTo>
                      <a:lnTo>
                        <a:pt x="1120" y="670"/>
                      </a:lnTo>
                      <a:lnTo>
                        <a:pt x="1123" y="666"/>
                      </a:lnTo>
                      <a:lnTo>
                        <a:pt x="1125" y="666"/>
                      </a:lnTo>
                      <a:lnTo>
                        <a:pt x="1128" y="666"/>
                      </a:lnTo>
                      <a:lnTo>
                        <a:pt x="1130" y="667"/>
                      </a:lnTo>
                      <a:lnTo>
                        <a:pt x="1131" y="667"/>
                      </a:lnTo>
                      <a:lnTo>
                        <a:pt x="1130" y="665"/>
                      </a:lnTo>
                      <a:lnTo>
                        <a:pt x="1129" y="662"/>
                      </a:lnTo>
                      <a:lnTo>
                        <a:pt x="1131" y="663"/>
                      </a:lnTo>
                      <a:lnTo>
                        <a:pt x="1135" y="666"/>
                      </a:lnTo>
                      <a:lnTo>
                        <a:pt x="1138" y="668"/>
                      </a:lnTo>
                      <a:lnTo>
                        <a:pt x="1141" y="670"/>
                      </a:lnTo>
                      <a:lnTo>
                        <a:pt x="1139" y="671"/>
                      </a:lnTo>
                      <a:lnTo>
                        <a:pt x="1140" y="673"/>
                      </a:lnTo>
                      <a:lnTo>
                        <a:pt x="1143" y="677"/>
                      </a:lnTo>
                      <a:lnTo>
                        <a:pt x="1145" y="674"/>
                      </a:lnTo>
                      <a:lnTo>
                        <a:pt x="1149" y="674"/>
                      </a:lnTo>
                      <a:lnTo>
                        <a:pt x="1146" y="672"/>
                      </a:lnTo>
                      <a:lnTo>
                        <a:pt x="1143" y="672"/>
                      </a:lnTo>
                      <a:lnTo>
                        <a:pt x="1145" y="670"/>
                      </a:lnTo>
                      <a:lnTo>
                        <a:pt x="1147" y="670"/>
                      </a:lnTo>
                      <a:lnTo>
                        <a:pt x="1152" y="671"/>
                      </a:lnTo>
                      <a:lnTo>
                        <a:pt x="1156" y="672"/>
                      </a:lnTo>
                      <a:lnTo>
                        <a:pt x="1161" y="674"/>
                      </a:lnTo>
                      <a:lnTo>
                        <a:pt x="1165" y="676"/>
                      </a:lnTo>
                      <a:lnTo>
                        <a:pt x="1168" y="674"/>
                      </a:lnTo>
                      <a:lnTo>
                        <a:pt x="1171" y="671"/>
                      </a:lnTo>
                      <a:lnTo>
                        <a:pt x="1173" y="673"/>
                      </a:lnTo>
                      <a:lnTo>
                        <a:pt x="1174" y="677"/>
                      </a:lnTo>
                      <a:lnTo>
                        <a:pt x="1168" y="679"/>
                      </a:lnTo>
                      <a:lnTo>
                        <a:pt x="1166" y="682"/>
                      </a:lnTo>
                      <a:lnTo>
                        <a:pt x="1166" y="684"/>
                      </a:lnTo>
                      <a:lnTo>
                        <a:pt x="1167" y="687"/>
                      </a:lnTo>
                      <a:lnTo>
                        <a:pt x="1170" y="688"/>
                      </a:lnTo>
                      <a:lnTo>
                        <a:pt x="1171" y="689"/>
                      </a:lnTo>
                      <a:lnTo>
                        <a:pt x="1173" y="692"/>
                      </a:lnTo>
                      <a:lnTo>
                        <a:pt x="1176" y="689"/>
                      </a:lnTo>
                      <a:lnTo>
                        <a:pt x="1178" y="686"/>
                      </a:lnTo>
                      <a:lnTo>
                        <a:pt x="1182" y="684"/>
                      </a:lnTo>
                      <a:lnTo>
                        <a:pt x="1186" y="686"/>
                      </a:lnTo>
                      <a:lnTo>
                        <a:pt x="1188" y="687"/>
                      </a:lnTo>
                      <a:lnTo>
                        <a:pt x="1189" y="687"/>
                      </a:lnTo>
                      <a:lnTo>
                        <a:pt x="1190" y="687"/>
                      </a:lnTo>
                      <a:lnTo>
                        <a:pt x="1192" y="687"/>
                      </a:lnTo>
                      <a:lnTo>
                        <a:pt x="1194" y="689"/>
                      </a:lnTo>
                      <a:lnTo>
                        <a:pt x="1197" y="689"/>
                      </a:lnTo>
                      <a:lnTo>
                        <a:pt x="1197" y="686"/>
                      </a:lnTo>
                      <a:lnTo>
                        <a:pt x="1199" y="683"/>
                      </a:lnTo>
                      <a:lnTo>
                        <a:pt x="1206" y="679"/>
                      </a:lnTo>
                      <a:lnTo>
                        <a:pt x="1209" y="678"/>
                      </a:lnTo>
                      <a:lnTo>
                        <a:pt x="1213" y="677"/>
                      </a:lnTo>
                      <a:lnTo>
                        <a:pt x="1215" y="674"/>
                      </a:lnTo>
                      <a:lnTo>
                        <a:pt x="1214" y="671"/>
                      </a:lnTo>
                      <a:lnTo>
                        <a:pt x="1220" y="670"/>
                      </a:lnTo>
                      <a:lnTo>
                        <a:pt x="1227" y="667"/>
                      </a:lnTo>
                      <a:lnTo>
                        <a:pt x="1227" y="666"/>
                      </a:lnTo>
                      <a:lnTo>
                        <a:pt x="1230" y="665"/>
                      </a:lnTo>
                      <a:lnTo>
                        <a:pt x="1231" y="663"/>
                      </a:lnTo>
                      <a:lnTo>
                        <a:pt x="1232" y="663"/>
                      </a:lnTo>
                      <a:lnTo>
                        <a:pt x="1236" y="663"/>
                      </a:lnTo>
                      <a:lnTo>
                        <a:pt x="1238" y="662"/>
                      </a:lnTo>
                      <a:lnTo>
                        <a:pt x="1245" y="658"/>
                      </a:lnTo>
                      <a:lnTo>
                        <a:pt x="1242" y="662"/>
                      </a:lnTo>
                      <a:lnTo>
                        <a:pt x="1245" y="663"/>
                      </a:lnTo>
                      <a:lnTo>
                        <a:pt x="1246" y="665"/>
                      </a:lnTo>
                      <a:lnTo>
                        <a:pt x="1243" y="668"/>
                      </a:lnTo>
                      <a:lnTo>
                        <a:pt x="1241" y="670"/>
                      </a:lnTo>
                      <a:lnTo>
                        <a:pt x="1237" y="670"/>
                      </a:lnTo>
                      <a:lnTo>
                        <a:pt x="1247" y="677"/>
                      </a:lnTo>
                      <a:lnTo>
                        <a:pt x="1258" y="682"/>
                      </a:lnTo>
                      <a:lnTo>
                        <a:pt x="1279" y="693"/>
                      </a:lnTo>
                      <a:lnTo>
                        <a:pt x="1296" y="706"/>
                      </a:lnTo>
                      <a:lnTo>
                        <a:pt x="1312" y="720"/>
                      </a:lnTo>
                      <a:lnTo>
                        <a:pt x="1329" y="736"/>
                      </a:lnTo>
                      <a:lnTo>
                        <a:pt x="1345" y="751"/>
                      </a:lnTo>
                      <a:lnTo>
                        <a:pt x="1352" y="758"/>
                      </a:lnTo>
                      <a:lnTo>
                        <a:pt x="1358" y="765"/>
                      </a:lnTo>
                      <a:lnTo>
                        <a:pt x="1365" y="772"/>
                      </a:lnTo>
                      <a:lnTo>
                        <a:pt x="1369" y="774"/>
                      </a:lnTo>
                      <a:lnTo>
                        <a:pt x="1372" y="775"/>
                      </a:lnTo>
                      <a:lnTo>
                        <a:pt x="1371" y="774"/>
                      </a:lnTo>
                      <a:lnTo>
                        <a:pt x="1372" y="773"/>
                      </a:lnTo>
                      <a:lnTo>
                        <a:pt x="1375" y="772"/>
                      </a:lnTo>
                      <a:lnTo>
                        <a:pt x="1377" y="769"/>
                      </a:lnTo>
                      <a:lnTo>
                        <a:pt x="1379" y="767"/>
                      </a:lnTo>
                      <a:lnTo>
                        <a:pt x="1377" y="765"/>
                      </a:lnTo>
                      <a:lnTo>
                        <a:pt x="1377" y="763"/>
                      </a:lnTo>
                      <a:lnTo>
                        <a:pt x="1377" y="762"/>
                      </a:lnTo>
                      <a:lnTo>
                        <a:pt x="1379" y="760"/>
                      </a:lnTo>
                      <a:lnTo>
                        <a:pt x="1380" y="759"/>
                      </a:lnTo>
                      <a:lnTo>
                        <a:pt x="1382" y="759"/>
                      </a:lnTo>
                      <a:lnTo>
                        <a:pt x="1384" y="759"/>
                      </a:lnTo>
                      <a:lnTo>
                        <a:pt x="1387" y="760"/>
                      </a:lnTo>
                      <a:lnTo>
                        <a:pt x="1390" y="762"/>
                      </a:lnTo>
                      <a:lnTo>
                        <a:pt x="1391" y="762"/>
                      </a:lnTo>
                      <a:lnTo>
                        <a:pt x="1393" y="762"/>
                      </a:lnTo>
                      <a:lnTo>
                        <a:pt x="1395" y="764"/>
                      </a:lnTo>
                      <a:lnTo>
                        <a:pt x="1395" y="765"/>
                      </a:lnTo>
                      <a:lnTo>
                        <a:pt x="1395" y="768"/>
                      </a:lnTo>
                      <a:lnTo>
                        <a:pt x="1395" y="769"/>
                      </a:lnTo>
                      <a:lnTo>
                        <a:pt x="1397" y="769"/>
                      </a:lnTo>
                      <a:lnTo>
                        <a:pt x="1401" y="769"/>
                      </a:lnTo>
                      <a:lnTo>
                        <a:pt x="1403" y="770"/>
                      </a:lnTo>
                      <a:lnTo>
                        <a:pt x="1404" y="772"/>
                      </a:lnTo>
                      <a:lnTo>
                        <a:pt x="1408" y="775"/>
                      </a:lnTo>
                      <a:lnTo>
                        <a:pt x="1411" y="776"/>
                      </a:lnTo>
                      <a:lnTo>
                        <a:pt x="1414" y="776"/>
                      </a:lnTo>
                      <a:lnTo>
                        <a:pt x="1417" y="775"/>
                      </a:lnTo>
                      <a:lnTo>
                        <a:pt x="1419" y="775"/>
                      </a:lnTo>
                      <a:lnTo>
                        <a:pt x="1423" y="776"/>
                      </a:lnTo>
                      <a:lnTo>
                        <a:pt x="1425" y="776"/>
                      </a:lnTo>
                      <a:lnTo>
                        <a:pt x="1427" y="776"/>
                      </a:lnTo>
                      <a:lnTo>
                        <a:pt x="1429" y="776"/>
                      </a:lnTo>
                      <a:lnTo>
                        <a:pt x="1432" y="775"/>
                      </a:lnTo>
                      <a:lnTo>
                        <a:pt x="1434" y="775"/>
                      </a:lnTo>
                      <a:lnTo>
                        <a:pt x="1436" y="774"/>
                      </a:lnTo>
                      <a:lnTo>
                        <a:pt x="1438" y="772"/>
                      </a:lnTo>
                      <a:lnTo>
                        <a:pt x="1440" y="772"/>
                      </a:lnTo>
                      <a:lnTo>
                        <a:pt x="1443" y="770"/>
                      </a:lnTo>
                      <a:lnTo>
                        <a:pt x="1444" y="770"/>
                      </a:lnTo>
                      <a:lnTo>
                        <a:pt x="1444" y="770"/>
                      </a:lnTo>
                      <a:lnTo>
                        <a:pt x="1446" y="768"/>
                      </a:lnTo>
                      <a:lnTo>
                        <a:pt x="1447" y="768"/>
                      </a:lnTo>
                      <a:lnTo>
                        <a:pt x="1450" y="768"/>
                      </a:lnTo>
                      <a:lnTo>
                        <a:pt x="1460" y="770"/>
                      </a:lnTo>
                      <a:lnTo>
                        <a:pt x="1468" y="775"/>
                      </a:lnTo>
                      <a:lnTo>
                        <a:pt x="1476" y="780"/>
                      </a:lnTo>
                      <a:lnTo>
                        <a:pt x="1481" y="788"/>
                      </a:lnTo>
                      <a:lnTo>
                        <a:pt x="1487" y="791"/>
                      </a:lnTo>
                      <a:lnTo>
                        <a:pt x="1493" y="794"/>
                      </a:lnTo>
                      <a:lnTo>
                        <a:pt x="1499" y="795"/>
                      </a:lnTo>
                      <a:lnTo>
                        <a:pt x="1505" y="797"/>
                      </a:lnTo>
                      <a:lnTo>
                        <a:pt x="1510" y="805"/>
                      </a:lnTo>
                      <a:lnTo>
                        <a:pt x="1515" y="811"/>
                      </a:lnTo>
                      <a:lnTo>
                        <a:pt x="1520" y="812"/>
                      </a:lnTo>
                      <a:lnTo>
                        <a:pt x="1525" y="813"/>
                      </a:lnTo>
                      <a:lnTo>
                        <a:pt x="1531" y="813"/>
                      </a:lnTo>
                      <a:lnTo>
                        <a:pt x="1536" y="813"/>
                      </a:lnTo>
                      <a:lnTo>
                        <a:pt x="1538" y="815"/>
                      </a:lnTo>
                      <a:lnTo>
                        <a:pt x="1541" y="816"/>
                      </a:lnTo>
                      <a:lnTo>
                        <a:pt x="1543" y="816"/>
                      </a:lnTo>
                      <a:lnTo>
                        <a:pt x="1545" y="813"/>
                      </a:lnTo>
                      <a:lnTo>
                        <a:pt x="1547" y="811"/>
                      </a:lnTo>
                      <a:lnTo>
                        <a:pt x="1548" y="808"/>
                      </a:lnTo>
                      <a:lnTo>
                        <a:pt x="1552" y="807"/>
                      </a:lnTo>
                      <a:lnTo>
                        <a:pt x="1553" y="808"/>
                      </a:lnTo>
                      <a:lnTo>
                        <a:pt x="1553" y="811"/>
                      </a:lnTo>
                      <a:lnTo>
                        <a:pt x="1553" y="813"/>
                      </a:lnTo>
                      <a:lnTo>
                        <a:pt x="1554" y="815"/>
                      </a:lnTo>
                      <a:lnTo>
                        <a:pt x="1559" y="816"/>
                      </a:lnTo>
                      <a:lnTo>
                        <a:pt x="1564" y="821"/>
                      </a:lnTo>
                      <a:lnTo>
                        <a:pt x="1567" y="823"/>
                      </a:lnTo>
                      <a:lnTo>
                        <a:pt x="1570" y="824"/>
                      </a:lnTo>
                      <a:lnTo>
                        <a:pt x="1573" y="826"/>
                      </a:lnTo>
                      <a:lnTo>
                        <a:pt x="1574" y="827"/>
                      </a:lnTo>
                      <a:lnTo>
                        <a:pt x="1575" y="828"/>
                      </a:lnTo>
                      <a:lnTo>
                        <a:pt x="1578" y="829"/>
                      </a:lnTo>
                      <a:lnTo>
                        <a:pt x="1583" y="829"/>
                      </a:lnTo>
                      <a:lnTo>
                        <a:pt x="1588" y="828"/>
                      </a:lnTo>
                      <a:lnTo>
                        <a:pt x="1593" y="826"/>
                      </a:lnTo>
                      <a:lnTo>
                        <a:pt x="1595" y="822"/>
                      </a:lnTo>
                      <a:lnTo>
                        <a:pt x="1595" y="818"/>
                      </a:lnTo>
                      <a:lnTo>
                        <a:pt x="1598" y="817"/>
                      </a:lnTo>
                      <a:lnTo>
                        <a:pt x="1602" y="816"/>
                      </a:lnTo>
                      <a:lnTo>
                        <a:pt x="1609" y="818"/>
                      </a:lnTo>
                      <a:lnTo>
                        <a:pt x="1610" y="817"/>
                      </a:lnTo>
                      <a:lnTo>
                        <a:pt x="1610" y="815"/>
                      </a:lnTo>
                      <a:lnTo>
                        <a:pt x="1615" y="816"/>
                      </a:lnTo>
                      <a:lnTo>
                        <a:pt x="1617" y="816"/>
                      </a:lnTo>
                      <a:lnTo>
                        <a:pt x="1620" y="816"/>
                      </a:lnTo>
                      <a:lnTo>
                        <a:pt x="1617" y="812"/>
                      </a:lnTo>
                      <a:lnTo>
                        <a:pt x="1623" y="811"/>
                      </a:lnTo>
                      <a:lnTo>
                        <a:pt x="1629" y="810"/>
                      </a:lnTo>
                      <a:lnTo>
                        <a:pt x="1627" y="807"/>
                      </a:lnTo>
                      <a:lnTo>
                        <a:pt x="1625" y="804"/>
                      </a:lnTo>
                      <a:lnTo>
                        <a:pt x="1628" y="802"/>
                      </a:lnTo>
                      <a:lnTo>
                        <a:pt x="1631" y="801"/>
                      </a:lnTo>
                      <a:lnTo>
                        <a:pt x="1632" y="801"/>
                      </a:lnTo>
                      <a:lnTo>
                        <a:pt x="1633" y="799"/>
                      </a:lnTo>
                      <a:lnTo>
                        <a:pt x="1634" y="797"/>
                      </a:lnTo>
                      <a:lnTo>
                        <a:pt x="1637" y="796"/>
                      </a:lnTo>
                      <a:lnTo>
                        <a:pt x="1639" y="795"/>
                      </a:lnTo>
                      <a:lnTo>
                        <a:pt x="1641" y="794"/>
                      </a:lnTo>
                      <a:lnTo>
                        <a:pt x="1644" y="794"/>
                      </a:lnTo>
                      <a:lnTo>
                        <a:pt x="1647" y="792"/>
                      </a:lnTo>
                      <a:lnTo>
                        <a:pt x="1648" y="791"/>
                      </a:lnTo>
                      <a:lnTo>
                        <a:pt x="1652" y="788"/>
                      </a:lnTo>
                      <a:lnTo>
                        <a:pt x="1655" y="786"/>
                      </a:lnTo>
                      <a:lnTo>
                        <a:pt x="1659" y="785"/>
                      </a:lnTo>
                      <a:lnTo>
                        <a:pt x="1661" y="784"/>
                      </a:lnTo>
                      <a:lnTo>
                        <a:pt x="1663" y="783"/>
                      </a:lnTo>
                      <a:lnTo>
                        <a:pt x="1665" y="780"/>
                      </a:lnTo>
                      <a:lnTo>
                        <a:pt x="1668" y="779"/>
                      </a:lnTo>
                      <a:lnTo>
                        <a:pt x="1670" y="778"/>
                      </a:lnTo>
                      <a:lnTo>
                        <a:pt x="1674" y="778"/>
                      </a:lnTo>
                      <a:lnTo>
                        <a:pt x="1676" y="778"/>
                      </a:lnTo>
                      <a:lnTo>
                        <a:pt x="1679" y="775"/>
                      </a:lnTo>
                      <a:lnTo>
                        <a:pt x="1679" y="773"/>
                      </a:lnTo>
                      <a:lnTo>
                        <a:pt x="1682" y="774"/>
                      </a:lnTo>
                      <a:lnTo>
                        <a:pt x="1686" y="776"/>
                      </a:lnTo>
                      <a:lnTo>
                        <a:pt x="1689" y="778"/>
                      </a:lnTo>
                      <a:lnTo>
                        <a:pt x="1692" y="776"/>
                      </a:lnTo>
                      <a:lnTo>
                        <a:pt x="1695" y="775"/>
                      </a:lnTo>
                      <a:lnTo>
                        <a:pt x="1696" y="776"/>
                      </a:lnTo>
                      <a:lnTo>
                        <a:pt x="1697" y="779"/>
                      </a:lnTo>
                      <a:lnTo>
                        <a:pt x="1700" y="780"/>
                      </a:lnTo>
                      <a:lnTo>
                        <a:pt x="1707" y="781"/>
                      </a:lnTo>
                      <a:lnTo>
                        <a:pt x="1714" y="781"/>
                      </a:lnTo>
                      <a:lnTo>
                        <a:pt x="1722" y="781"/>
                      </a:lnTo>
                      <a:lnTo>
                        <a:pt x="1729" y="783"/>
                      </a:lnTo>
                      <a:lnTo>
                        <a:pt x="1735" y="786"/>
                      </a:lnTo>
                      <a:lnTo>
                        <a:pt x="1740" y="792"/>
                      </a:lnTo>
                      <a:lnTo>
                        <a:pt x="1749" y="797"/>
                      </a:lnTo>
                      <a:lnTo>
                        <a:pt x="1757" y="800"/>
                      </a:lnTo>
                      <a:lnTo>
                        <a:pt x="1761" y="801"/>
                      </a:lnTo>
                      <a:lnTo>
                        <a:pt x="1766" y="802"/>
                      </a:lnTo>
                      <a:lnTo>
                        <a:pt x="1772" y="804"/>
                      </a:lnTo>
                      <a:lnTo>
                        <a:pt x="1775" y="804"/>
                      </a:lnTo>
                      <a:lnTo>
                        <a:pt x="1780" y="800"/>
                      </a:lnTo>
                      <a:lnTo>
                        <a:pt x="1786" y="800"/>
                      </a:lnTo>
                      <a:lnTo>
                        <a:pt x="1796" y="802"/>
                      </a:lnTo>
                      <a:lnTo>
                        <a:pt x="1807" y="804"/>
                      </a:lnTo>
                      <a:lnTo>
                        <a:pt x="1810" y="805"/>
                      </a:lnTo>
                      <a:lnTo>
                        <a:pt x="1814" y="806"/>
                      </a:lnTo>
                      <a:lnTo>
                        <a:pt x="1819" y="807"/>
                      </a:lnTo>
                      <a:lnTo>
                        <a:pt x="1823" y="807"/>
                      </a:lnTo>
                      <a:lnTo>
                        <a:pt x="1825" y="806"/>
                      </a:lnTo>
                      <a:lnTo>
                        <a:pt x="1826" y="805"/>
                      </a:lnTo>
                      <a:lnTo>
                        <a:pt x="1829" y="802"/>
                      </a:lnTo>
                      <a:lnTo>
                        <a:pt x="1831" y="801"/>
                      </a:lnTo>
                      <a:lnTo>
                        <a:pt x="1835" y="800"/>
                      </a:lnTo>
                      <a:lnTo>
                        <a:pt x="1836" y="797"/>
                      </a:lnTo>
                      <a:lnTo>
                        <a:pt x="1837" y="790"/>
                      </a:lnTo>
                      <a:lnTo>
                        <a:pt x="1836" y="786"/>
                      </a:lnTo>
                      <a:lnTo>
                        <a:pt x="1835" y="785"/>
                      </a:lnTo>
                      <a:lnTo>
                        <a:pt x="1829" y="781"/>
                      </a:lnTo>
                      <a:lnTo>
                        <a:pt x="1826" y="779"/>
                      </a:lnTo>
                      <a:lnTo>
                        <a:pt x="1824" y="776"/>
                      </a:lnTo>
                      <a:lnTo>
                        <a:pt x="1823" y="774"/>
                      </a:lnTo>
                      <a:lnTo>
                        <a:pt x="1819" y="772"/>
                      </a:lnTo>
                      <a:lnTo>
                        <a:pt x="1818" y="770"/>
                      </a:lnTo>
                      <a:lnTo>
                        <a:pt x="1816" y="768"/>
                      </a:lnTo>
                      <a:lnTo>
                        <a:pt x="1814" y="760"/>
                      </a:lnTo>
                      <a:lnTo>
                        <a:pt x="1814" y="754"/>
                      </a:lnTo>
                      <a:lnTo>
                        <a:pt x="1815" y="753"/>
                      </a:lnTo>
                      <a:lnTo>
                        <a:pt x="1818" y="753"/>
                      </a:lnTo>
                      <a:lnTo>
                        <a:pt x="1816" y="751"/>
                      </a:lnTo>
                      <a:lnTo>
                        <a:pt x="1816" y="747"/>
                      </a:lnTo>
                      <a:lnTo>
                        <a:pt x="1818" y="746"/>
                      </a:lnTo>
                      <a:lnTo>
                        <a:pt x="1821" y="743"/>
                      </a:lnTo>
                      <a:lnTo>
                        <a:pt x="1823" y="742"/>
                      </a:lnTo>
                      <a:lnTo>
                        <a:pt x="1824" y="738"/>
                      </a:lnTo>
                      <a:lnTo>
                        <a:pt x="1824" y="735"/>
                      </a:lnTo>
                      <a:lnTo>
                        <a:pt x="1823" y="732"/>
                      </a:lnTo>
                      <a:lnTo>
                        <a:pt x="1839" y="737"/>
                      </a:lnTo>
                      <a:lnTo>
                        <a:pt x="1853" y="743"/>
                      </a:lnTo>
                      <a:lnTo>
                        <a:pt x="1862" y="746"/>
                      </a:lnTo>
                      <a:lnTo>
                        <a:pt x="1869" y="747"/>
                      </a:lnTo>
                      <a:lnTo>
                        <a:pt x="1878" y="748"/>
                      </a:lnTo>
                      <a:lnTo>
                        <a:pt x="1887" y="751"/>
                      </a:lnTo>
                      <a:lnTo>
                        <a:pt x="1899" y="753"/>
                      </a:lnTo>
                      <a:lnTo>
                        <a:pt x="1912" y="756"/>
                      </a:lnTo>
                      <a:lnTo>
                        <a:pt x="1917" y="758"/>
                      </a:lnTo>
                      <a:lnTo>
                        <a:pt x="1921" y="763"/>
                      </a:lnTo>
                      <a:lnTo>
                        <a:pt x="1923" y="768"/>
                      </a:lnTo>
                      <a:lnTo>
                        <a:pt x="1927" y="773"/>
                      </a:lnTo>
                      <a:lnTo>
                        <a:pt x="1931" y="776"/>
                      </a:lnTo>
                      <a:lnTo>
                        <a:pt x="1934" y="780"/>
                      </a:lnTo>
                      <a:lnTo>
                        <a:pt x="1938" y="783"/>
                      </a:lnTo>
                      <a:lnTo>
                        <a:pt x="1943" y="785"/>
                      </a:lnTo>
                      <a:lnTo>
                        <a:pt x="1946" y="788"/>
                      </a:lnTo>
                      <a:lnTo>
                        <a:pt x="1948" y="789"/>
                      </a:lnTo>
                      <a:lnTo>
                        <a:pt x="1954" y="790"/>
                      </a:lnTo>
                      <a:lnTo>
                        <a:pt x="1958" y="790"/>
                      </a:lnTo>
                      <a:lnTo>
                        <a:pt x="1960" y="791"/>
                      </a:lnTo>
                      <a:lnTo>
                        <a:pt x="1965" y="794"/>
                      </a:lnTo>
                      <a:lnTo>
                        <a:pt x="1970" y="795"/>
                      </a:lnTo>
                      <a:lnTo>
                        <a:pt x="1976" y="795"/>
                      </a:lnTo>
                      <a:lnTo>
                        <a:pt x="1987" y="794"/>
                      </a:lnTo>
                      <a:lnTo>
                        <a:pt x="1997" y="790"/>
                      </a:lnTo>
                      <a:lnTo>
                        <a:pt x="2008" y="786"/>
                      </a:lnTo>
                      <a:lnTo>
                        <a:pt x="2021" y="786"/>
                      </a:lnTo>
                      <a:lnTo>
                        <a:pt x="2033" y="788"/>
                      </a:lnTo>
                      <a:lnTo>
                        <a:pt x="2037" y="789"/>
                      </a:lnTo>
                      <a:lnTo>
                        <a:pt x="2040" y="789"/>
                      </a:lnTo>
                      <a:lnTo>
                        <a:pt x="2048" y="789"/>
                      </a:lnTo>
                      <a:lnTo>
                        <a:pt x="2051" y="790"/>
                      </a:lnTo>
                      <a:lnTo>
                        <a:pt x="2055" y="792"/>
                      </a:lnTo>
                      <a:lnTo>
                        <a:pt x="2061" y="796"/>
                      </a:lnTo>
                      <a:lnTo>
                        <a:pt x="2070" y="800"/>
                      </a:lnTo>
                      <a:lnTo>
                        <a:pt x="2078" y="801"/>
                      </a:lnTo>
                      <a:lnTo>
                        <a:pt x="2083" y="801"/>
                      </a:lnTo>
                      <a:lnTo>
                        <a:pt x="2086" y="802"/>
                      </a:lnTo>
                      <a:lnTo>
                        <a:pt x="2088" y="805"/>
                      </a:lnTo>
                      <a:lnTo>
                        <a:pt x="2092" y="808"/>
                      </a:lnTo>
                      <a:lnTo>
                        <a:pt x="2097" y="812"/>
                      </a:lnTo>
                      <a:lnTo>
                        <a:pt x="2103" y="816"/>
                      </a:lnTo>
                      <a:lnTo>
                        <a:pt x="2112" y="820"/>
                      </a:lnTo>
                      <a:lnTo>
                        <a:pt x="2120" y="821"/>
                      </a:lnTo>
                      <a:lnTo>
                        <a:pt x="2129" y="822"/>
                      </a:lnTo>
                      <a:lnTo>
                        <a:pt x="2137" y="823"/>
                      </a:lnTo>
                      <a:lnTo>
                        <a:pt x="2150" y="826"/>
                      </a:lnTo>
                      <a:lnTo>
                        <a:pt x="2161" y="826"/>
                      </a:lnTo>
                      <a:lnTo>
                        <a:pt x="2168" y="827"/>
                      </a:lnTo>
                      <a:lnTo>
                        <a:pt x="2172" y="827"/>
                      </a:lnTo>
                      <a:lnTo>
                        <a:pt x="2176" y="826"/>
                      </a:lnTo>
                      <a:lnTo>
                        <a:pt x="2179" y="823"/>
                      </a:lnTo>
                      <a:lnTo>
                        <a:pt x="2182" y="821"/>
                      </a:lnTo>
                      <a:lnTo>
                        <a:pt x="2187" y="821"/>
                      </a:lnTo>
                      <a:lnTo>
                        <a:pt x="2191" y="820"/>
                      </a:lnTo>
                      <a:lnTo>
                        <a:pt x="2199" y="817"/>
                      </a:lnTo>
                      <a:lnTo>
                        <a:pt x="2207" y="816"/>
                      </a:lnTo>
                      <a:lnTo>
                        <a:pt x="2211" y="816"/>
                      </a:lnTo>
                      <a:lnTo>
                        <a:pt x="2216" y="816"/>
                      </a:lnTo>
                      <a:lnTo>
                        <a:pt x="2220" y="815"/>
                      </a:lnTo>
                      <a:lnTo>
                        <a:pt x="2222" y="812"/>
                      </a:lnTo>
                      <a:lnTo>
                        <a:pt x="2225" y="806"/>
                      </a:lnTo>
                      <a:lnTo>
                        <a:pt x="2226" y="804"/>
                      </a:lnTo>
                      <a:lnTo>
                        <a:pt x="2228" y="801"/>
                      </a:lnTo>
                      <a:lnTo>
                        <a:pt x="2236" y="796"/>
                      </a:lnTo>
                      <a:lnTo>
                        <a:pt x="2244" y="792"/>
                      </a:lnTo>
                      <a:lnTo>
                        <a:pt x="2253" y="791"/>
                      </a:lnTo>
                      <a:lnTo>
                        <a:pt x="2262" y="795"/>
                      </a:lnTo>
                      <a:lnTo>
                        <a:pt x="2270" y="800"/>
                      </a:lnTo>
                      <a:lnTo>
                        <a:pt x="2280" y="804"/>
                      </a:lnTo>
                      <a:lnTo>
                        <a:pt x="2284" y="804"/>
                      </a:lnTo>
                      <a:lnTo>
                        <a:pt x="2287" y="802"/>
                      </a:lnTo>
                      <a:lnTo>
                        <a:pt x="2291" y="801"/>
                      </a:lnTo>
                      <a:lnTo>
                        <a:pt x="2295" y="800"/>
                      </a:lnTo>
                      <a:lnTo>
                        <a:pt x="2300" y="800"/>
                      </a:lnTo>
                      <a:lnTo>
                        <a:pt x="2305" y="802"/>
                      </a:lnTo>
                      <a:lnTo>
                        <a:pt x="2313" y="807"/>
                      </a:lnTo>
                      <a:lnTo>
                        <a:pt x="2322" y="810"/>
                      </a:lnTo>
                      <a:lnTo>
                        <a:pt x="2330" y="811"/>
                      </a:lnTo>
                      <a:lnTo>
                        <a:pt x="2335" y="812"/>
                      </a:lnTo>
                      <a:lnTo>
                        <a:pt x="2340" y="815"/>
                      </a:lnTo>
                      <a:lnTo>
                        <a:pt x="2344" y="815"/>
                      </a:lnTo>
                      <a:lnTo>
                        <a:pt x="2348" y="813"/>
                      </a:lnTo>
                      <a:lnTo>
                        <a:pt x="2353" y="807"/>
                      </a:lnTo>
                      <a:lnTo>
                        <a:pt x="2355" y="805"/>
                      </a:lnTo>
                      <a:lnTo>
                        <a:pt x="2358" y="802"/>
                      </a:lnTo>
                      <a:lnTo>
                        <a:pt x="2362" y="802"/>
                      </a:lnTo>
                      <a:lnTo>
                        <a:pt x="2367" y="800"/>
                      </a:lnTo>
                      <a:lnTo>
                        <a:pt x="2371" y="797"/>
                      </a:lnTo>
                      <a:lnTo>
                        <a:pt x="2372" y="796"/>
                      </a:lnTo>
                      <a:lnTo>
                        <a:pt x="2372" y="794"/>
                      </a:lnTo>
                      <a:lnTo>
                        <a:pt x="2370" y="792"/>
                      </a:lnTo>
                      <a:lnTo>
                        <a:pt x="2367" y="791"/>
                      </a:lnTo>
                      <a:lnTo>
                        <a:pt x="2365" y="790"/>
                      </a:lnTo>
                      <a:lnTo>
                        <a:pt x="2362" y="788"/>
                      </a:lnTo>
                      <a:lnTo>
                        <a:pt x="2362" y="783"/>
                      </a:lnTo>
                      <a:lnTo>
                        <a:pt x="2364" y="778"/>
                      </a:lnTo>
                      <a:lnTo>
                        <a:pt x="2364" y="775"/>
                      </a:lnTo>
                      <a:lnTo>
                        <a:pt x="2362" y="774"/>
                      </a:lnTo>
                      <a:lnTo>
                        <a:pt x="2361" y="772"/>
                      </a:lnTo>
                      <a:lnTo>
                        <a:pt x="2362" y="770"/>
                      </a:lnTo>
                      <a:lnTo>
                        <a:pt x="2364" y="767"/>
                      </a:lnTo>
                      <a:lnTo>
                        <a:pt x="2362" y="762"/>
                      </a:lnTo>
                      <a:lnTo>
                        <a:pt x="2361" y="754"/>
                      </a:lnTo>
                      <a:lnTo>
                        <a:pt x="2361" y="751"/>
                      </a:lnTo>
                      <a:lnTo>
                        <a:pt x="2361" y="747"/>
                      </a:lnTo>
                      <a:lnTo>
                        <a:pt x="2364" y="743"/>
                      </a:lnTo>
                      <a:lnTo>
                        <a:pt x="2366" y="741"/>
                      </a:lnTo>
                      <a:lnTo>
                        <a:pt x="2369" y="737"/>
                      </a:lnTo>
                      <a:lnTo>
                        <a:pt x="2367" y="733"/>
                      </a:lnTo>
                      <a:lnTo>
                        <a:pt x="2366" y="730"/>
                      </a:lnTo>
                      <a:lnTo>
                        <a:pt x="2362" y="727"/>
                      </a:lnTo>
                      <a:lnTo>
                        <a:pt x="2360" y="725"/>
                      </a:lnTo>
                      <a:lnTo>
                        <a:pt x="2358" y="721"/>
                      </a:lnTo>
                      <a:lnTo>
                        <a:pt x="2356" y="719"/>
                      </a:lnTo>
                      <a:lnTo>
                        <a:pt x="2353" y="717"/>
                      </a:lnTo>
                      <a:lnTo>
                        <a:pt x="2346" y="717"/>
                      </a:lnTo>
                      <a:lnTo>
                        <a:pt x="2343" y="717"/>
                      </a:lnTo>
                      <a:lnTo>
                        <a:pt x="2340" y="716"/>
                      </a:lnTo>
                      <a:lnTo>
                        <a:pt x="2335" y="713"/>
                      </a:lnTo>
                      <a:lnTo>
                        <a:pt x="2338" y="711"/>
                      </a:lnTo>
                      <a:lnTo>
                        <a:pt x="2340" y="709"/>
                      </a:lnTo>
                      <a:lnTo>
                        <a:pt x="2343" y="704"/>
                      </a:lnTo>
                      <a:lnTo>
                        <a:pt x="2345" y="698"/>
                      </a:lnTo>
                      <a:lnTo>
                        <a:pt x="2348" y="697"/>
                      </a:lnTo>
                      <a:lnTo>
                        <a:pt x="2351" y="695"/>
                      </a:lnTo>
                      <a:lnTo>
                        <a:pt x="2359" y="694"/>
                      </a:lnTo>
                      <a:lnTo>
                        <a:pt x="2367" y="692"/>
                      </a:lnTo>
                      <a:lnTo>
                        <a:pt x="2375" y="690"/>
                      </a:lnTo>
                      <a:lnTo>
                        <a:pt x="2382" y="690"/>
                      </a:lnTo>
                      <a:lnTo>
                        <a:pt x="2391" y="690"/>
                      </a:lnTo>
                      <a:lnTo>
                        <a:pt x="2401" y="689"/>
                      </a:lnTo>
                      <a:lnTo>
                        <a:pt x="2409" y="689"/>
                      </a:lnTo>
                      <a:lnTo>
                        <a:pt x="2418" y="692"/>
                      </a:lnTo>
                      <a:lnTo>
                        <a:pt x="2423" y="693"/>
                      </a:lnTo>
                      <a:lnTo>
                        <a:pt x="2426" y="694"/>
                      </a:lnTo>
                      <a:lnTo>
                        <a:pt x="2434" y="698"/>
                      </a:lnTo>
                      <a:lnTo>
                        <a:pt x="2441" y="700"/>
                      </a:lnTo>
                      <a:lnTo>
                        <a:pt x="2445" y="700"/>
                      </a:lnTo>
                      <a:lnTo>
                        <a:pt x="2449" y="701"/>
                      </a:lnTo>
                      <a:lnTo>
                        <a:pt x="2450" y="699"/>
                      </a:lnTo>
                      <a:lnTo>
                        <a:pt x="2452" y="699"/>
                      </a:lnTo>
                      <a:lnTo>
                        <a:pt x="2457" y="700"/>
                      </a:lnTo>
                      <a:lnTo>
                        <a:pt x="2460" y="701"/>
                      </a:lnTo>
                      <a:lnTo>
                        <a:pt x="2463" y="703"/>
                      </a:lnTo>
                      <a:lnTo>
                        <a:pt x="2467" y="704"/>
                      </a:lnTo>
                      <a:lnTo>
                        <a:pt x="2469" y="705"/>
                      </a:lnTo>
                      <a:lnTo>
                        <a:pt x="2472" y="708"/>
                      </a:lnTo>
                      <a:lnTo>
                        <a:pt x="2476" y="709"/>
                      </a:lnTo>
                      <a:lnTo>
                        <a:pt x="2482" y="713"/>
                      </a:lnTo>
                      <a:lnTo>
                        <a:pt x="2484" y="713"/>
                      </a:lnTo>
                      <a:lnTo>
                        <a:pt x="2485" y="714"/>
                      </a:lnTo>
                      <a:lnTo>
                        <a:pt x="2487" y="716"/>
                      </a:lnTo>
                      <a:lnTo>
                        <a:pt x="2490" y="719"/>
                      </a:lnTo>
                      <a:lnTo>
                        <a:pt x="2494" y="721"/>
                      </a:lnTo>
                      <a:lnTo>
                        <a:pt x="2501" y="726"/>
                      </a:lnTo>
                      <a:lnTo>
                        <a:pt x="2508" y="731"/>
                      </a:lnTo>
                      <a:lnTo>
                        <a:pt x="2510" y="733"/>
                      </a:lnTo>
                      <a:lnTo>
                        <a:pt x="2512" y="736"/>
                      </a:lnTo>
                      <a:lnTo>
                        <a:pt x="2515" y="740"/>
                      </a:lnTo>
                      <a:lnTo>
                        <a:pt x="2517" y="742"/>
                      </a:lnTo>
                      <a:lnTo>
                        <a:pt x="2524" y="747"/>
                      </a:lnTo>
                      <a:lnTo>
                        <a:pt x="2526" y="749"/>
                      </a:lnTo>
                      <a:lnTo>
                        <a:pt x="2530" y="751"/>
                      </a:lnTo>
                      <a:lnTo>
                        <a:pt x="2532" y="752"/>
                      </a:lnTo>
                      <a:lnTo>
                        <a:pt x="2535" y="754"/>
                      </a:lnTo>
                      <a:lnTo>
                        <a:pt x="2537" y="757"/>
                      </a:lnTo>
                      <a:lnTo>
                        <a:pt x="2538" y="759"/>
                      </a:lnTo>
                      <a:lnTo>
                        <a:pt x="2546" y="765"/>
                      </a:lnTo>
                      <a:lnTo>
                        <a:pt x="2553" y="770"/>
                      </a:lnTo>
                      <a:lnTo>
                        <a:pt x="2559" y="776"/>
                      </a:lnTo>
                      <a:lnTo>
                        <a:pt x="2565" y="783"/>
                      </a:lnTo>
                      <a:lnTo>
                        <a:pt x="2568" y="786"/>
                      </a:lnTo>
                      <a:lnTo>
                        <a:pt x="2570" y="789"/>
                      </a:lnTo>
                      <a:lnTo>
                        <a:pt x="2576" y="792"/>
                      </a:lnTo>
                      <a:lnTo>
                        <a:pt x="2579" y="795"/>
                      </a:lnTo>
                      <a:lnTo>
                        <a:pt x="2580" y="797"/>
                      </a:lnTo>
                      <a:lnTo>
                        <a:pt x="2583" y="801"/>
                      </a:lnTo>
                      <a:lnTo>
                        <a:pt x="2584" y="804"/>
                      </a:lnTo>
                      <a:lnTo>
                        <a:pt x="2591" y="810"/>
                      </a:lnTo>
                      <a:lnTo>
                        <a:pt x="2600" y="813"/>
                      </a:lnTo>
                      <a:lnTo>
                        <a:pt x="2603" y="813"/>
                      </a:lnTo>
                      <a:lnTo>
                        <a:pt x="2607" y="813"/>
                      </a:lnTo>
                      <a:lnTo>
                        <a:pt x="2611" y="813"/>
                      </a:lnTo>
                      <a:lnTo>
                        <a:pt x="2616" y="813"/>
                      </a:lnTo>
                      <a:lnTo>
                        <a:pt x="2621" y="813"/>
                      </a:lnTo>
                      <a:lnTo>
                        <a:pt x="2627" y="817"/>
                      </a:lnTo>
                      <a:lnTo>
                        <a:pt x="2631" y="818"/>
                      </a:lnTo>
                      <a:lnTo>
                        <a:pt x="2634" y="820"/>
                      </a:lnTo>
                      <a:lnTo>
                        <a:pt x="2642" y="821"/>
                      </a:lnTo>
                      <a:lnTo>
                        <a:pt x="2640" y="820"/>
                      </a:lnTo>
                      <a:lnTo>
                        <a:pt x="2640" y="818"/>
                      </a:lnTo>
                      <a:lnTo>
                        <a:pt x="2643" y="820"/>
                      </a:lnTo>
                      <a:lnTo>
                        <a:pt x="2646" y="822"/>
                      </a:lnTo>
                      <a:lnTo>
                        <a:pt x="2648" y="823"/>
                      </a:lnTo>
                      <a:lnTo>
                        <a:pt x="2653" y="824"/>
                      </a:lnTo>
                      <a:lnTo>
                        <a:pt x="2658" y="827"/>
                      </a:lnTo>
                      <a:lnTo>
                        <a:pt x="2667" y="834"/>
                      </a:lnTo>
                      <a:lnTo>
                        <a:pt x="2672" y="835"/>
                      </a:lnTo>
                      <a:lnTo>
                        <a:pt x="2678" y="835"/>
                      </a:lnTo>
                      <a:lnTo>
                        <a:pt x="2681" y="835"/>
                      </a:lnTo>
                      <a:lnTo>
                        <a:pt x="2683" y="837"/>
                      </a:lnTo>
                      <a:lnTo>
                        <a:pt x="2685" y="839"/>
                      </a:lnTo>
                      <a:lnTo>
                        <a:pt x="2686" y="843"/>
                      </a:lnTo>
                      <a:lnTo>
                        <a:pt x="2687" y="844"/>
                      </a:lnTo>
                      <a:lnTo>
                        <a:pt x="2688" y="845"/>
                      </a:lnTo>
                      <a:lnTo>
                        <a:pt x="2697" y="851"/>
                      </a:lnTo>
                      <a:lnTo>
                        <a:pt x="2699" y="855"/>
                      </a:lnTo>
                      <a:lnTo>
                        <a:pt x="2699" y="860"/>
                      </a:lnTo>
                      <a:lnTo>
                        <a:pt x="2701" y="861"/>
                      </a:lnTo>
                      <a:lnTo>
                        <a:pt x="2703" y="864"/>
                      </a:lnTo>
                      <a:lnTo>
                        <a:pt x="2709" y="869"/>
                      </a:lnTo>
                      <a:lnTo>
                        <a:pt x="2715" y="872"/>
                      </a:lnTo>
                      <a:lnTo>
                        <a:pt x="2720" y="874"/>
                      </a:lnTo>
                      <a:lnTo>
                        <a:pt x="2725" y="874"/>
                      </a:lnTo>
                      <a:lnTo>
                        <a:pt x="2728" y="872"/>
                      </a:lnTo>
                      <a:lnTo>
                        <a:pt x="2730" y="874"/>
                      </a:lnTo>
                      <a:lnTo>
                        <a:pt x="2734" y="875"/>
                      </a:lnTo>
                      <a:lnTo>
                        <a:pt x="2737" y="875"/>
                      </a:lnTo>
                      <a:lnTo>
                        <a:pt x="2742" y="875"/>
                      </a:lnTo>
                      <a:lnTo>
                        <a:pt x="2749" y="875"/>
                      </a:lnTo>
                      <a:lnTo>
                        <a:pt x="2753" y="874"/>
                      </a:lnTo>
                      <a:lnTo>
                        <a:pt x="2756" y="871"/>
                      </a:lnTo>
                      <a:lnTo>
                        <a:pt x="2756" y="870"/>
                      </a:lnTo>
                      <a:lnTo>
                        <a:pt x="2758" y="865"/>
                      </a:lnTo>
                      <a:lnTo>
                        <a:pt x="2762" y="861"/>
                      </a:lnTo>
                      <a:lnTo>
                        <a:pt x="2767" y="861"/>
                      </a:lnTo>
                      <a:lnTo>
                        <a:pt x="2772" y="861"/>
                      </a:lnTo>
                      <a:lnTo>
                        <a:pt x="2773" y="861"/>
                      </a:lnTo>
                      <a:lnTo>
                        <a:pt x="2776" y="859"/>
                      </a:lnTo>
                      <a:lnTo>
                        <a:pt x="2778" y="856"/>
                      </a:lnTo>
                      <a:lnTo>
                        <a:pt x="2779" y="855"/>
                      </a:lnTo>
                      <a:lnTo>
                        <a:pt x="2788" y="853"/>
                      </a:lnTo>
                      <a:lnTo>
                        <a:pt x="2792" y="853"/>
                      </a:lnTo>
                      <a:lnTo>
                        <a:pt x="2797" y="854"/>
                      </a:lnTo>
                      <a:lnTo>
                        <a:pt x="2800" y="855"/>
                      </a:lnTo>
                      <a:lnTo>
                        <a:pt x="2800" y="856"/>
                      </a:lnTo>
                      <a:lnTo>
                        <a:pt x="2801" y="859"/>
                      </a:lnTo>
                      <a:lnTo>
                        <a:pt x="2801" y="863"/>
                      </a:lnTo>
                      <a:lnTo>
                        <a:pt x="2804" y="866"/>
                      </a:lnTo>
                      <a:lnTo>
                        <a:pt x="2809" y="870"/>
                      </a:lnTo>
                      <a:lnTo>
                        <a:pt x="2811" y="872"/>
                      </a:lnTo>
                      <a:lnTo>
                        <a:pt x="2813" y="876"/>
                      </a:lnTo>
                      <a:lnTo>
                        <a:pt x="2814" y="880"/>
                      </a:lnTo>
                      <a:lnTo>
                        <a:pt x="2811" y="881"/>
                      </a:lnTo>
                      <a:lnTo>
                        <a:pt x="2810" y="882"/>
                      </a:lnTo>
                      <a:lnTo>
                        <a:pt x="2808" y="885"/>
                      </a:lnTo>
                      <a:lnTo>
                        <a:pt x="2808" y="887"/>
                      </a:lnTo>
                      <a:lnTo>
                        <a:pt x="2808" y="888"/>
                      </a:lnTo>
                      <a:lnTo>
                        <a:pt x="2810" y="892"/>
                      </a:lnTo>
                      <a:lnTo>
                        <a:pt x="2811" y="896"/>
                      </a:lnTo>
                      <a:lnTo>
                        <a:pt x="2811" y="899"/>
                      </a:lnTo>
                      <a:lnTo>
                        <a:pt x="2814" y="903"/>
                      </a:lnTo>
                      <a:lnTo>
                        <a:pt x="2815" y="908"/>
                      </a:lnTo>
                      <a:lnTo>
                        <a:pt x="2815" y="912"/>
                      </a:lnTo>
                      <a:lnTo>
                        <a:pt x="2816" y="914"/>
                      </a:lnTo>
                      <a:lnTo>
                        <a:pt x="2817" y="917"/>
                      </a:lnTo>
                      <a:lnTo>
                        <a:pt x="2820" y="919"/>
                      </a:lnTo>
                      <a:lnTo>
                        <a:pt x="2820" y="922"/>
                      </a:lnTo>
                      <a:lnTo>
                        <a:pt x="2817" y="924"/>
                      </a:lnTo>
                      <a:lnTo>
                        <a:pt x="2820" y="926"/>
                      </a:lnTo>
                      <a:lnTo>
                        <a:pt x="2819" y="929"/>
                      </a:lnTo>
                      <a:lnTo>
                        <a:pt x="2817" y="933"/>
                      </a:lnTo>
                      <a:lnTo>
                        <a:pt x="2819" y="935"/>
                      </a:lnTo>
                      <a:lnTo>
                        <a:pt x="2821" y="940"/>
                      </a:lnTo>
                      <a:lnTo>
                        <a:pt x="2821" y="941"/>
                      </a:lnTo>
                      <a:lnTo>
                        <a:pt x="2819" y="944"/>
                      </a:lnTo>
                      <a:lnTo>
                        <a:pt x="2817" y="946"/>
                      </a:lnTo>
                      <a:lnTo>
                        <a:pt x="2817" y="949"/>
                      </a:lnTo>
                      <a:lnTo>
                        <a:pt x="2819" y="952"/>
                      </a:lnTo>
                      <a:lnTo>
                        <a:pt x="2821" y="955"/>
                      </a:lnTo>
                      <a:lnTo>
                        <a:pt x="2821" y="957"/>
                      </a:lnTo>
                      <a:lnTo>
                        <a:pt x="2820" y="958"/>
                      </a:lnTo>
                      <a:lnTo>
                        <a:pt x="2817" y="960"/>
                      </a:lnTo>
                      <a:lnTo>
                        <a:pt x="2814" y="960"/>
                      </a:lnTo>
                      <a:lnTo>
                        <a:pt x="2806" y="957"/>
                      </a:lnTo>
                      <a:lnTo>
                        <a:pt x="2804" y="957"/>
                      </a:lnTo>
                      <a:lnTo>
                        <a:pt x="2803" y="956"/>
                      </a:lnTo>
                      <a:lnTo>
                        <a:pt x="2799" y="955"/>
                      </a:lnTo>
                      <a:lnTo>
                        <a:pt x="2794" y="954"/>
                      </a:lnTo>
                      <a:lnTo>
                        <a:pt x="2789" y="951"/>
                      </a:lnTo>
                      <a:lnTo>
                        <a:pt x="2785" y="951"/>
                      </a:lnTo>
                      <a:lnTo>
                        <a:pt x="2784" y="952"/>
                      </a:lnTo>
                      <a:lnTo>
                        <a:pt x="2783" y="955"/>
                      </a:lnTo>
                      <a:lnTo>
                        <a:pt x="2783" y="958"/>
                      </a:lnTo>
                      <a:lnTo>
                        <a:pt x="2782" y="960"/>
                      </a:lnTo>
                      <a:lnTo>
                        <a:pt x="2779" y="962"/>
                      </a:lnTo>
                      <a:lnTo>
                        <a:pt x="2778" y="963"/>
                      </a:lnTo>
                      <a:lnTo>
                        <a:pt x="2772" y="965"/>
                      </a:lnTo>
                      <a:lnTo>
                        <a:pt x="2772" y="966"/>
                      </a:lnTo>
                      <a:lnTo>
                        <a:pt x="2774" y="968"/>
                      </a:lnTo>
                      <a:lnTo>
                        <a:pt x="2778" y="972"/>
                      </a:lnTo>
                      <a:lnTo>
                        <a:pt x="2779" y="973"/>
                      </a:lnTo>
                      <a:lnTo>
                        <a:pt x="2790" y="987"/>
                      </a:lnTo>
                      <a:lnTo>
                        <a:pt x="2798" y="1001"/>
                      </a:lnTo>
                      <a:lnTo>
                        <a:pt x="2801" y="1008"/>
                      </a:lnTo>
                      <a:lnTo>
                        <a:pt x="2805" y="1013"/>
                      </a:lnTo>
                      <a:lnTo>
                        <a:pt x="2809" y="1017"/>
                      </a:lnTo>
                      <a:lnTo>
                        <a:pt x="2810" y="1025"/>
                      </a:lnTo>
                      <a:lnTo>
                        <a:pt x="2810" y="1029"/>
                      </a:lnTo>
                      <a:lnTo>
                        <a:pt x="2810" y="1030"/>
                      </a:lnTo>
                      <a:lnTo>
                        <a:pt x="2809" y="1031"/>
                      </a:lnTo>
                      <a:lnTo>
                        <a:pt x="2801" y="1031"/>
                      </a:lnTo>
                      <a:lnTo>
                        <a:pt x="2799" y="1032"/>
                      </a:lnTo>
                      <a:lnTo>
                        <a:pt x="2797" y="1036"/>
                      </a:lnTo>
                      <a:lnTo>
                        <a:pt x="2801" y="1037"/>
                      </a:lnTo>
                      <a:lnTo>
                        <a:pt x="2805" y="1041"/>
                      </a:lnTo>
                      <a:lnTo>
                        <a:pt x="2811" y="1049"/>
                      </a:lnTo>
                      <a:lnTo>
                        <a:pt x="2811" y="1046"/>
                      </a:lnTo>
                      <a:lnTo>
                        <a:pt x="2811" y="1042"/>
                      </a:lnTo>
                      <a:lnTo>
                        <a:pt x="2809" y="1040"/>
                      </a:lnTo>
                      <a:lnTo>
                        <a:pt x="2805" y="1038"/>
                      </a:lnTo>
                      <a:lnTo>
                        <a:pt x="2809" y="1037"/>
                      </a:lnTo>
                      <a:lnTo>
                        <a:pt x="2813" y="1037"/>
                      </a:lnTo>
                      <a:lnTo>
                        <a:pt x="2816" y="1038"/>
                      </a:lnTo>
                      <a:lnTo>
                        <a:pt x="2820" y="1040"/>
                      </a:lnTo>
                      <a:lnTo>
                        <a:pt x="2820" y="1037"/>
                      </a:lnTo>
                      <a:lnTo>
                        <a:pt x="2820" y="1033"/>
                      </a:lnTo>
                      <a:lnTo>
                        <a:pt x="2820" y="1030"/>
                      </a:lnTo>
                      <a:lnTo>
                        <a:pt x="2819" y="1029"/>
                      </a:lnTo>
                      <a:lnTo>
                        <a:pt x="2820" y="1029"/>
                      </a:lnTo>
                      <a:lnTo>
                        <a:pt x="2821" y="1027"/>
                      </a:lnTo>
                      <a:lnTo>
                        <a:pt x="2821" y="1022"/>
                      </a:lnTo>
                      <a:lnTo>
                        <a:pt x="2822" y="1017"/>
                      </a:lnTo>
                      <a:lnTo>
                        <a:pt x="2822" y="1016"/>
                      </a:lnTo>
                      <a:lnTo>
                        <a:pt x="2825" y="1016"/>
                      </a:lnTo>
                      <a:lnTo>
                        <a:pt x="2827" y="1017"/>
                      </a:lnTo>
                      <a:lnTo>
                        <a:pt x="2827" y="1020"/>
                      </a:lnTo>
                      <a:lnTo>
                        <a:pt x="2828" y="1022"/>
                      </a:lnTo>
                      <a:lnTo>
                        <a:pt x="2831" y="1024"/>
                      </a:lnTo>
                      <a:lnTo>
                        <a:pt x="2832" y="1024"/>
                      </a:lnTo>
                      <a:lnTo>
                        <a:pt x="2833" y="1021"/>
                      </a:lnTo>
                      <a:lnTo>
                        <a:pt x="2835" y="1017"/>
                      </a:lnTo>
                      <a:lnTo>
                        <a:pt x="2835" y="1016"/>
                      </a:lnTo>
                      <a:lnTo>
                        <a:pt x="2837" y="1019"/>
                      </a:lnTo>
                      <a:lnTo>
                        <a:pt x="2840" y="1024"/>
                      </a:lnTo>
                      <a:lnTo>
                        <a:pt x="2842" y="1027"/>
                      </a:lnTo>
                      <a:lnTo>
                        <a:pt x="2843" y="1029"/>
                      </a:lnTo>
                      <a:lnTo>
                        <a:pt x="2844" y="1029"/>
                      </a:lnTo>
                      <a:lnTo>
                        <a:pt x="2847" y="1029"/>
                      </a:lnTo>
                      <a:lnTo>
                        <a:pt x="2849" y="1030"/>
                      </a:lnTo>
                      <a:lnTo>
                        <a:pt x="2852" y="1031"/>
                      </a:lnTo>
                      <a:lnTo>
                        <a:pt x="2854" y="1031"/>
                      </a:lnTo>
                      <a:lnTo>
                        <a:pt x="2857" y="1031"/>
                      </a:lnTo>
                      <a:lnTo>
                        <a:pt x="2860" y="1032"/>
                      </a:lnTo>
                      <a:lnTo>
                        <a:pt x="2863" y="1033"/>
                      </a:lnTo>
                      <a:lnTo>
                        <a:pt x="2865" y="1033"/>
                      </a:lnTo>
                      <a:lnTo>
                        <a:pt x="2867" y="1036"/>
                      </a:lnTo>
                      <a:lnTo>
                        <a:pt x="2869" y="1036"/>
                      </a:lnTo>
                      <a:lnTo>
                        <a:pt x="2874" y="1033"/>
                      </a:lnTo>
                      <a:lnTo>
                        <a:pt x="2889" y="1026"/>
                      </a:lnTo>
                      <a:lnTo>
                        <a:pt x="2895" y="1020"/>
                      </a:lnTo>
                      <a:lnTo>
                        <a:pt x="2901" y="1014"/>
                      </a:lnTo>
                      <a:lnTo>
                        <a:pt x="2905" y="1010"/>
                      </a:lnTo>
                      <a:lnTo>
                        <a:pt x="2907" y="1005"/>
                      </a:lnTo>
                      <a:lnTo>
                        <a:pt x="2908" y="999"/>
                      </a:lnTo>
                      <a:lnTo>
                        <a:pt x="2908" y="997"/>
                      </a:lnTo>
                      <a:lnTo>
                        <a:pt x="2907" y="995"/>
                      </a:lnTo>
                      <a:lnTo>
                        <a:pt x="2908" y="993"/>
                      </a:lnTo>
                      <a:lnTo>
                        <a:pt x="2910" y="990"/>
                      </a:lnTo>
                      <a:lnTo>
                        <a:pt x="2910" y="984"/>
                      </a:lnTo>
                      <a:lnTo>
                        <a:pt x="2910" y="982"/>
                      </a:lnTo>
                      <a:lnTo>
                        <a:pt x="2911" y="981"/>
                      </a:lnTo>
                      <a:lnTo>
                        <a:pt x="2911" y="979"/>
                      </a:lnTo>
                      <a:lnTo>
                        <a:pt x="2913" y="978"/>
                      </a:lnTo>
                      <a:lnTo>
                        <a:pt x="2915" y="976"/>
                      </a:lnTo>
                      <a:lnTo>
                        <a:pt x="2913" y="973"/>
                      </a:lnTo>
                      <a:lnTo>
                        <a:pt x="2913" y="969"/>
                      </a:lnTo>
                      <a:lnTo>
                        <a:pt x="2915" y="968"/>
                      </a:lnTo>
                      <a:lnTo>
                        <a:pt x="2916" y="967"/>
                      </a:lnTo>
                      <a:lnTo>
                        <a:pt x="2917" y="966"/>
                      </a:lnTo>
                      <a:lnTo>
                        <a:pt x="2917" y="963"/>
                      </a:lnTo>
                      <a:lnTo>
                        <a:pt x="2917" y="961"/>
                      </a:lnTo>
                      <a:lnTo>
                        <a:pt x="2918" y="956"/>
                      </a:lnTo>
                      <a:lnTo>
                        <a:pt x="2919" y="951"/>
                      </a:lnTo>
                      <a:lnTo>
                        <a:pt x="2922" y="947"/>
                      </a:lnTo>
                      <a:lnTo>
                        <a:pt x="2924" y="942"/>
                      </a:lnTo>
                      <a:lnTo>
                        <a:pt x="2927" y="938"/>
                      </a:lnTo>
                      <a:lnTo>
                        <a:pt x="2928" y="930"/>
                      </a:lnTo>
                      <a:lnTo>
                        <a:pt x="2929" y="924"/>
                      </a:lnTo>
                      <a:lnTo>
                        <a:pt x="2928" y="918"/>
                      </a:lnTo>
                      <a:lnTo>
                        <a:pt x="2928" y="914"/>
                      </a:lnTo>
                      <a:lnTo>
                        <a:pt x="2929" y="910"/>
                      </a:lnTo>
                      <a:lnTo>
                        <a:pt x="2927" y="906"/>
                      </a:lnTo>
                      <a:lnTo>
                        <a:pt x="2926" y="898"/>
                      </a:lnTo>
                      <a:lnTo>
                        <a:pt x="2926" y="894"/>
                      </a:lnTo>
                      <a:lnTo>
                        <a:pt x="2927" y="891"/>
                      </a:lnTo>
                      <a:lnTo>
                        <a:pt x="2928" y="885"/>
                      </a:lnTo>
                      <a:lnTo>
                        <a:pt x="2928" y="879"/>
                      </a:lnTo>
                      <a:lnTo>
                        <a:pt x="2927" y="872"/>
                      </a:lnTo>
                      <a:lnTo>
                        <a:pt x="2928" y="865"/>
                      </a:lnTo>
                      <a:lnTo>
                        <a:pt x="2932" y="860"/>
                      </a:lnTo>
                      <a:lnTo>
                        <a:pt x="2934" y="855"/>
                      </a:lnTo>
                      <a:lnTo>
                        <a:pt x="2935" y="849"/>
                      </a:lnTo>
                      <a:lnTo>
                        <a:pt x="2933" y="844"/>
                      </a:lnTo>
                      <a:lnTo>
                        <a:pt x="2932" y="840"/>
                      </a:lnTo>
                      <a:lnTo>
                        <a:pt x="2931" y="835"/>
                      </a:lnTo>
                      <a:lnTo>
                        <a:pt x="2928" y="833"/>
                      </a:lnTo>
                      <a:lnTo>
                        <a:pt x="2926" y="832"/>
                      </a:lnTo>
                      <a:lnTo>
                        <a:pt x="2927" y="831"/>
                      </a:lnTo>
                      <a:lnTo>
                        <a:pt x="2926" y="827"/>
                      </a:lnTo>
                      <a:lnTo>
                        <a:pt x="2924" y="824"/>
                      </a:lnTo>
                      <a:lnTo>
                        <a:pt x="2922" y="823"/>
                      </a:lnTo>
                      <a:lnTo>
                        <a:pt x="2922" y="818"/>
                      </a:lnTo>
                      <a:lnTo>
                        <a:pt x="2919" y="813"/>
                      </a:lnTo>
                      <a:lnTo>
                        <a:pt x="2917" y="810"/>
                      </a:lnTo>
                      <a:lnTo>
                        <a:pt x="2913" y="806"/>
                      </a:lnTo>
                      <a:lnTo>
                        <a:pt x="2912" y="802"/>
                      </a:lnTo>
                      <a:lnTo>
                        <a:pt x="2913" y="797"/>
                      </a:lnTo>
                      <a:lnTo>
                        <a:pt x="2911" y="797"/>
                      </a:lnTo>
                      <a:lnTo>
                        <a:pt x="2907" y="796"/>
                      </a:lnTo>
                      <a:lnTo>
                        <a:pt x="2902" y="791"/>
                      </a:lnTo>
                      <a:lnTo>
                        <a:pt x="2897" y="785"/>
                      </a:lnTo>
                      <a:lnTo>
                        <a:pt x="2895" y="780"/>
                      </a:lnTo>
                      <a:lnTo>
                        <a:pt x="2894" y="776"/>
                      </a:lnTo>
                      <a:lnTo>
                        <a:pt x="2892" y="773"/>
                      </a:lnTo>
                      <a:lnTo>
                        <a:pt x="2891" y="770"/>
                      </a:lnTo>
                      <a:lnTo>
                        <a:pt x="2890" y="767"/>
                      </a:lnTo>
                      <a:lnTo>
                        <a:pt x="2888" y="764"/>
                      </a:lnTo>
                      <a:lnTo>
                        <a:pt x="2886" y="762"/>
                      </a:lnTo>
                      <a:lnTo>
                        <a:pt x="2885" y="759"/>
                      </a:lnTo>
                      <a:lnTo>
                        <a:pt x="2886" y="756"/>
                      </a:lnTo>
                      <a:lnTo>
                        <a:pt x="2885" y="754"/>
                      </a:lnTo>
                      <a:lnTo>
                        <a:pt x="2884" y="753"/>
                      </a:lnTo>
                      <a:lnTo>
                        <a:pt x="2883" y="749"/>
                      </a:lnTo>
                      <a:lnTo>
                        <a:pt x="2884" y="748"/>
                      </a:lnTo>
                      <a:lnTo>
                        <a:pt x="2885" y="746"/>
                      </a:lnTo>
                      <a:lnTo>
                        <a:pt x="2885" y="743"/>
                      </a:lnTo>
                      <a:lnTo>
                        <a:pt x="2885" y="741"/>
                      </a:lnTo>
                      <a:lnTo>
                        <a:pt x="2886" y="738"/>
                      </a:lnTo>
                      <a:lnTo>
                        <a:pt x="2884" y="736"/>
                      </a:lnTo>
                      <a:lnTo>
                        <a:pt x="2883" y="733"/>
                      </a:lnTo>
                      <a:lnTo>
                        <a:pt x="2881" y="731"/>
                      </a:lnTo>
                      <a:lnTo>
                        <a:pt x="2879" y="729"/>
                      </a:lnTo>
                      <a:lnTo>
                        <a:pt x="2875" y="729"/>
                      </a:lnTo>
                      <a:lnTo>
                        <a:pt x="2872" y="727"/>
                      </a:lnTo>
                      <a:lnTo>
                        <a:pt x="2868" y="725"/>
                      </a:lnTo>
                      <a:lnTo>
                        <a:pt x="2867" y="721"/>
                      </a:lnTo>
                      <a:lnTo>
                        <a:pt x="2865" y="717"/>
                      </a:lnTo>
                      <a:lnTo>
                        <a:pt x="2863" y="714"/>
                      </a:lnTo>
                      <a:lnTo>
                        <a:pt x="2856" y="709"/>
                      </a:lnTo>
                      <a:lnTo>
                        <a:pt x="2847" y="705"/>
                      </a:lnTo>
                      <a:lnTo>
                        <a:pt x="2840" y="701"/>
                      </a:lnTo>
                      <a:lnTo>
                        <a:pt x="2843" y="701"/>
                      </a:lnTo>
                      <a:lnTo>
                        <a:pt x="2847" y="703"/>
                      </a:lnTo>
                      <a:lnTo>
                        <a:pt x="2853" y="705"/>
                      </a:lnTo>
                      <a:lnTo>
                        <a:pt x="2853" y="704"/>
                      </a:lnTo>
                      <a:lnTo>
                        <a:pt x="2853" y="703"/>
                      </a:lnTo>
                      <a:lnTo>
                        <a:pt x="2854" y="703"/>
                      </a:lnTo>
                      <a:lnTo>
                        <a:pt x="2856" y="704"/>
                      </a:lnTo>
                      <a:lnTo>
                        <a:pt x="2856" y="703"/>
                      </a:lnTo>
                      <a:lnTo>
                        <a:pt x="2856" y="700"/>
                      </a:lnTo>
                      <a:lnTo>
                        <a:pt x="2854" y="699"/>
                      </a:lnTo>
                      <a:lnTo>
                        <a:pt x="2848" y="695"/>
                      </a:lnTo>
                      <a:lnTo>
                        <a:pt x="2842" y="694"/>
                      </a:lnTo>
                      <a:lnTo>
                        <a:pt x="2840" y="693"/>
                      </a:lnTo>
                      <a:lnTo>
                        <a:pt x="2838" y="693"/>
                      </a:lnTo>
                      <a:lnTo>
                        <a:pt x="2831" y="688"/>
                      </a:lnTo>
                      <a:lnTo>
                        <a:pt x="2824" y="684"/>
                      </a:lnTo>
                      <a:lnTo>
                        <a:pt x="2817" y="682"/>
                      </a:lnTo>
                      <a:lnTo>
                        <a:pt x="2810" y="679"/>
                      </a:lnTo>
                      <a:lnTo>
                        <a:pt x="2805" y="674"/>
                      </a:lnTo>
                      <a:lnTo>
                        <a:pt x="2799" y="670"/>
                      </a:lnTo>
                      <a:lnTo>
                        <a:pt x="2792" y="666"/>
                      </a:lnTo>
                      <a:lnTo>
                        <a:pt x="2784" y="665"/>
                      </a:lnTo>
                      <a:lnTo>
                        <a:pt x="2778" y="667"/>
                      </a:lnTo>
                      <a:lnTo>
                        <a:pt x="2774" y="667"/>
                      </a:lnTo>
                      <a:lnTo>
                        <a:pt x="2771" y="667"/>
                      </a:lnTo>
                      <a:lnTo>
                        <a:pt x="2765" y="665"/>
                      </a:lnTo>
                      <a:lnTo>
                        <a:pt x="2761" y="665"/>
                      </a:lnTo>
                      <a:lnTo>
                        <a:pt x="2758" y="665"/>
                      </a:lnTo>
                      <a:lnTo>
                        <a:pt x="2761" y="666"/>
                      </a:lnTo>
                      <a:lnTo>
                        <a:pt x="2762" y="667"/>
                      </a:lnTo>
                      <a:lnTo>
                        <a:pt x="2765" y="671"/>
                      </a:lnTo>
                      <a:lnTo>
                        <a:pt x="2767" y="674"/>
                      </a:lnTo>
                      <a:lnTo>
                        <a:pt x="2768" y="676"/>
                      </a:lnTo>
                      <a:lnTo>
                        <a:pt x="2769" y="677"/>
                      </a:lnTo>
                      <a:lnTo>
                        <a:pt x="2772" y="682"/>
                      </a:lnTo>
                      <a:lnTo>
                        <a:pt x="2773" y="686"/>
                      </a:lnTo>
                      <a:lnTo>
                        <a:pt x="2772" y="688"/>
                      </a:lnTo>
                      <a:lnTo>
                        <a:pt x="2767" y="689"/>
                      </a:lnTo>
                      <a:lnTo>
                        <a:pt x="2768" y="686"/>
                      </a:lnTo>
                      <a:lnTo>
                        <a:pt x="2768" y="682"/>
                      </a:lnTo>
                      <a:lnTo>
                        <a:pt x="2767" y="677"/>
                      </a:lnTo>
                      <a:lnTo>
                        <a:pt x="2765" y="676"/>
                      </a:lnTo>
                      <a:lnTo>
                        <a:pt x="2762" y="676"/>
                      </a:lnTo>
                      <a:lnTo>
                        <a:pt x="2762" y="679"/>
                      </a:lnTo>
                      <a:lnTo>
                        <a:pt x="2762" y="682"/>
                      </a:lnTo>
                      <a:lnTo>
                        <a:pt x="2760" y="686"/>
                      </a:lnTo>
                      <a:lnTo>
                        <a:pt x="2756" y="687"/>
                      </a:lnTo>
                      <a:lnTo>
                        <a:pt x="2752" y="689"/>
                      </a:lnTo>
                      <a:lnTo>
                        <a:pt x="2747" y="689"/>
                      </a:lnTo>
                      <a:lnTo>
                        <a:pt x="2742" y="688"/>
                      </a:lnTo>
                      <a:lnTo>
                        <a:pt x="2742" y="686"/>
                      </a:lnTo>
                      <a:lnTo>
                        <a:pt x="2744" y="682"/>
                      </a:lnTo>
                      <a:lnTo>
                        <a:pt x="2746" y="678"/>
                      </a:lnTo>
                      <a:lnTo>
                        <a:pt x="2747" y="676"/>
                      </a:lnTo>
                      <a:lnTo>
                        <a:pt x="2737" y="674"/>
                      </a:lnTo>
                      <a:lnTo>
                        <a:pt x="2734" y="673"/>
                      </a:lnTo>
                      <a:lnTo>
                        <a:pt x="2730" y="670"/>
                      </a:lnTo>
                      <a:lnTo>
                        <a:pt x="2733" y="670"/>
                      </a:lnTo>
                      <a:lnTo>
                        <a:pt x="2734" y="668"/>
                      </a:lnTo>
                      <a:lnTo>
                        <a:pt x="2735" y="663"/>
                      </a:lnTo>
                      <a:lnTo>
                        <a:pt x="2731" y="665"/>
                      </a:lnTo>
                      <a:lnTo>
                        <a:pt x="2728" y="665"/>
                      </a:lnTo>
                      <a:lnTo>
                        <a:pt x="2725" y="666"/>
                      </a:lnTo>
                      <a:lnTo>
                        <a:pt x="2725" y="670"/>
                      </a:lnTo>
                      <a:lnTo>
                        <a:pt x="2726" y="671"/>
                      </a:lnTo>
                      <a:lnTo>
                        <a:pt x="2728" y="672"/>
                      </a:lnTo>
                      <a:lnTo>
                        <a:pt x="2730" y="672"/>
                      </a:lnTo>
                      <a:lnTo>
                        <a:pt x="2731" y="673"/>
                      </a:lnTo>
                      <a:lnTo>
                        <a:pt x="2733" y="676"/>
                      </a:lnTo>
                      <a:lnTo>
                        <a:pt x="2734" y="678"/>
                      </a:lnTo>
                      <a:lnTo>
                        <a:pt x="2729" y="679"/>
                      </a:lnTo>
                      <a:lnTo>
                        <a:pt x="2725" y="681"/>
                      </a:lnTo>
                      <a:lnTo>
                        <a:pt x="2722" y="679"/>
                      </a:lnTo>
                      <a:lnTo>
                        <a:pt x="2719" y="676"/>
                      </a:lnTo>
                      <a:lnTo>
                        <a:pt x="2715" y="667"/>
                      </a:lnTo>
                      <a:lnTo>
                        <a:pt x="2712" y="665"/>
                      </a:lnTo>
                      <a:lnTo>
                        <a:pt x="2710" y="662"/>
                      </a:lnTo>
                      <a:lnTo>
                        <a:pt x="2710" y="661"/>
                      </a:lnTo>
                      <a:lnTo>
                        <a:pt x="2708" y="657"/>
                      </a:lnTo>
                      <a:lnTo>
                        <a:pt x="2703" y="655"/>
                      </a:lnTo>
                      <a:lnTo>
                        <a:pt x="2697" y="655"/>
                      </a:lnTo>
                      <a:lnTo>
                        <a:pt x="2692" y="655"/>
                      </a:lnTo>
                      <a:lnTo>
                        <a:pt x="2681" y="654"/>
                      </a:lnTo>
                      <a:lnTo>
                        <a:pt x="2669" y="651"/>
                      </a:lnTo>
                      <a:lnTo>
                        <a:pt x="2665" y="650"/>
                      </a:lnTo>
                      <a:lnTo>
                        <a:pt x="2660" y="647"/>
                      </a:lnTo>
                      <a:lnTo>
                        <a:pt x="2659" y="645"/>
                      </a:lnTo>
                      <a:lnTo>
                        <a:pt x="2659" y="644"/>
                      </a:lnTo>
                      <a:lnTo>
                        <a:pt x="2659" y="641"/>
                      </a:lnTo>
                      <a:lnTo>
                        <a:pt x="2661" y="639"/>
                      </a:lnTo>
                      <a:lnTo>
                        <a:pt x="2666" y="636"/>
                      </a:lnTo>
                      <a:lnTo>
                        <a:pt x="2670" y="633"/>
                      </a:lnTo>
                      <a:lnTo>
                        <a:pt x="2671" y="628"/>
                      </a:lnTo>
                      <a:lnTo>
                        <a:pt x="2671" y="626"/>
                      </a:lnTo>
                      <a:lnTo>
                        <a:pt x="2671" y="624"/>
                      </a:lnTo>
                      <a:lnTo>
                        <a:pt x="2675" y="623"/>
                      </a:lnTo>
                      <a:lnTo>
                        <a:pt x="2676" y="622"/>
                      </a:lnTo>
                      <a:lnTo>
                        <a:pt x="2677" y="620"/>
                      </a:lnTo>
                      <a:lnTo>
                        <a:pt x="2680" y="617"/>
                      </a:lnTo>
                      <a:lnTo>
                        <a:pt x="2683" y="613"/>
                      </a:lnTo>
                      <a:lnTo>
                        <a:pt x="2685" y="609"/>
                      </a:lnTo>
                      <a:lnTo>
                        <a:pt x="2686" y="604"/>
                      </a:lnTo>
                      <a:lnTo>
                        <a:pt x="2687" y="599"/>
                      </a:lnTo>
                      <a:lnTo>
                        <a:pt x="2691" y="598"/>
                      </a:lnTo>
                      <a:lnTo>
                        <a:pt x="2687" y="596"/>
                      </a:lnTo>
                      <a:lnTo>
                        <a:pt x="2687" y="592"/>
                      </a:lnTo>
                      <a:lnTo>
                        <a:pt x="2687" y="586"/>
                      </a:lnTo>
                      <a:lnTo>
                        <a:pt x="2687" y="583"/>
                      </a:lnTo>
                      <a:lnTo>
                        <a:pt x="2688" y="582"/>
                      </a:lnTo>
                      <a:lnTo>
                        <a:pt x="2690" y="580"/>
                      </a:lnTo>
                      <a:lnTo>
                        <a:pt x="2691" y="577"/>
                      </a:lnTo>
                      <a:lnTo>
                        <a:pt x="2693" y="572"/>
                      </a:lnTo>
                      <a:lnTo>
                        <a:pt x="2697" y="570"/>
                      </a:lnTo>
                      <a:lnTo>
                        <a:pt x="2699" y="565"/>
                      </a:lnTo>
                      <a:lnTo>
                        <a:pt x="2701" y="560"/>
                      </a:lnTo>
                      <a:lnTo>
                        <a:pt x="2701" y="559"/>
                      </a:lnTo>
                      <a:lnTo>
                        <a:pt x="2703" y="558"/>
                      </a:lnTo>
                      <a:lnTo>
                        <a:pt x="2706" y="556"/>
                      </a:lnTo>
                      <a:lnTo>
                        <a:pt x="2707" y="555"/>
                      </a:lnTo>
                      <a:lnTo>
                        <a:pt x="2706" y="552"/>
                      </a:lnTo>
                      <a:lnTo>
                        <a:pt x="2703" y="547"/>
                      </a:lnTo>
                      <a:lnTo>
                        <a:pt x="2702" y="543"/>
                      </a:lnTo>
                      <a:lnTo>
                        <a:pt x="2702" y="540"/>
                      </a:lnTo>
                      <a:lnTo>
                        <a:pt x="2703" y="537"/>
                      </a:lnTo>
                      <a:lnTo>
                        <a:pt x="2706" y="536"/>
                      </a:lnTo>
                      <a:lnTo>
                        <a:pt x="2709" y="533"/>
                      </a:lnTo>
                      <a:lnTo>
                        <a:pt x="2710" y="531"/>
                      </a:lnTo>
                      <a:lnTo>
                        <a:pt x="2712" y="528"/>
                      </a:lnTo>
                      <a:lnTo>
                        <a:pt x="2712" y="524"/>
                      </a:lnTo>
                      <a:lnTo>
                        <a:pt x="2712" y="521"/>
                      </a:lnTo>
                      <a:lnTo>
                        <a:pt x="2712" y="518"/>
                      </a:lnTo>
                      <a:lnTo>
                        <a:pt x="2714" y="515"/>
                      </a:lnTo>
                      <a:lnTo>
                        <a:pt x="2717" y="512"/>
                      </a:lnTo>
                      <a:lnTo>
                        <a:pt x="2724" y="510"/>
                      </a:lnTo>
                      <a:lnTo>
                        <a:pt x="2730" y="508"/>
                      </a:lnTo>
                      <a:lnTo>
                        <a:pt x="2736" y="508"/>
                      </a:lnTo>
                      <a:lnTo>
                        <a:pt x="2744" y="507"/>
                      </a:lnTo>
                      <a:lnTo>
                        <a:pt x="2750" y="507"/>
                      </a:lnTo>
                      <a:lnTo>
                        <a:pt x="2760" y="507"/>
                      </a:lnTo>
                      <a:lnTo>
                        <a:pt x="2768" y="507"/>
                      </a:lnTo>
                      <a:lnTo>
                        <a:pt x="2777" y="507"/>
                      </a:lnTo>
                      <a:lnTo>
                        <a:pt x="2785" y="507"/>
                      </a:lnTo>
                      <a:lnTo>
                        <a:pt x="2788" y="507"/>
                      </a:lnTo>
                      <a:lnTo>
                        <a:pt x="2790" y="508"/>
                      </a:lnTo>
                      <a:lnTo>
                        <a:pt x="2794" y="512"/>
                      </a:lnTo>
                      <a:lnTo>
                        <a:pt x="2798" y="513"/>
                      </a:lnTo>
                      <a:lnTo>
                        <a:pt x="2800" y="513"/>
                      </a:lnTo>
                      <a:lnTo>
                        <a:pt x="2803" y="513"/>
                      </a:lnTo>
                      <a:lnTo>
                        <a:pt x="2806" y="513"/>
                      </a:lnTo>
                      <a:lnTo>
                        <a:pt x="2803" y="511"/>
                      </a:lnTo>
                      <a:lnTo>
                        <a:pt x="2801" y="508"/>
                      </a:lnTo>
                      <a:lnTo>
                        <a:pt x="2803" y="507"/>
                      </a:lnTo>
                      <a:lnTo>
                        <a:pt x="2804" y="507"/>
                      </a:lnTo>
                      <a:lnTo>
                        <a:pt x="2809" y="507"/>
                      </a:lnTo>
                      <a:lnTo>
                        <a:pt x="2815" y="508"/>
                      </a:lnTo>
                      <a:lnTo>
                        <a:pt x="2822" y="508"/>
                      </a:lnTo>
                      <a:lnTo>
                        <a:pt x="2828" y="511"/>
                      </a:lnTo>
                      <a:lnTo>
                        <a:pt x="2831" y="511"/>
                      </a:lnTo>
                      <a:lnTo>
                        <a:pt x="2833" y="511"/>
                      </a:lnTo>
                      <a:lnTo>
                        <a:pt x="2836" y="511"/>
                      </a:lnTo>
                      <a:lnTo>
                        <a:pt x="2837" y="511"/>
                      </a:lnTo>
                      <a:lnTo>
                        <a:pt x="2836" y="508"/>
                      </a:lnTo>
                      <a:lnTo>
                        <a:pt x="2844" y="507"/>
                      </a:lnTo>
                      <a:lnTo>
                        <a:pt x="2849" y="508"/>
                      </a:lnTo>
                      <a:lnTo>
                        <a:pt x="2853" y="511"/>
                      </a:lnTo>
                      <a:lnTo>
                        <a:pt x="2856" y="512"/>
                      </a:lnTo>
                      <a:lnTo>
                        <a:pt x="2859" y="511"/>
                      </a:lnTo>
                      <a:lnTo>
                        <a:pt x="2862" y="511"/>
                      </a:lnTo>
                      <a:lnTo>
                        <a:pt x="2864" y="512"/>
                      </a:lnTo>
                      <a:lnTo>
                        <a:pt x="2862" y="510"/>
                      </a:lnTo>
                      <a:lnTo>
                        <a:pt x="2858" y="508"/>
                      </a:lnTo>
                      <a:lnTo>
                        <a:pt x="2856" y="506"/>
                      </a:lnTo>
                      <a:lnTo>
                        <a:pt x="2854" y="504"/>
                      </a:lnTo>
                      <a:lnTo>
                        <a:pt x="2858" y="505"/>
                      </a:lnTo>
                      <a:lnTo>
                        <a:pt x="2863" y="504"/>
                      </a:lnTo>
                      <a:lnTo>
                        <a:pt x="2860" y="504"/>
                      </a:lnTo>
                      <a:lnTo>
                        <a:pt x="2858" y="501"/>
                      </a:lnTo>
                      <a:lnTo>
                        <a:pt x="2857" y="500"/>
                      </a:lnTo>
                      <a:lnTo>
                        <a:pt x="2859" y="497"/>
                      </a:lnTo>
                      <a:lnTo>
                        <a:pt x="2864" y="496"/>
                      </a:lnTo>
                      <a:lnTo>
                        <a:pt x="2870" y="496"/>
                      </a:lnTo>
                      <a:lnTo>
                        <a:pt x="2876" y="497"/>
                      </a:lnTo>
                      <a:lnTo>
                        <a:pt x="2881" y="499"/>
                      </a:lnTo>
                      <a:lnTo>
                        <a:pt x="2883" y="500"/>
                      </a:lnTo>
                      <a:lnTo>
                        <a:pt x="2886" y="501"/>
                      </a:lnTo>
                      <a:lnTo>
                        <a:pt x="2895" y="504"/>
                      </a:lnTo>
                      <a:lnTo>
                        <a:pt x="2899" y="505"/>
                      </a:lnTo>
                      <a:lnTo>
                        <a:pt x="2902" y="505"/>
                      </a:lnTo>
                      <a:lnTo>
                        <a:pt x="2904" y="504"/>
                      </a:lnTo>
                      <a:lnTo>
                        <a:pt x="2904" y="502"/>
                      </a:lnTo>
                      <a:lnTo>
                        <a:pt x="2911" y="501"/>
                      </a:lnTo>
                      <a:lnTo>
                        <a:pt x="2916" y="504"/>
                      </a:lnTo>
                      <a:lnTo>
                        <a:pt x="2927" y="508"/>
                      </a:lnTo>
                      <a:lnTo>
                        <a:pt x="2932" y="510"/>
                      </a:lnTo>
                      <a:lnTo>
                        <a:pt x="2937" y="511"/>
                      </a:lnTo>
                      <a:lnTo>
                        <a:pt x="2940" y="511"/>
                      </a:lnTo>
                      <a:lnTo>
                        <a:pt x="2944" y="513"/>
                      </a:lnTo>
                      <a:lnTo>
                        <a:pt x="2942" y="515"/>
                      </a:lnTo>
                      <a:lnTo>
                        <a:pt x="2939" y="515"/>
                      </a:lnTo>
                      <a:lnTo>
                        <a:pt x="2932" y="515"/>
                      </a:lnTo>
                      <a:lnTo>
                        <a:pt x="2927" y="516"/>
                      </a:lnTo>
                      <a:lnTo>
                        <a:pt x="2921" y="516"/>
                      </a:lnTo>
                      <a:lnTo>
                        <a:pt x="2928" y="520"/>
                      </a:lnTo>
                      <a:lnTo>
                        <a:pt x="2935" y="522"/>
                      </a:lnTo>
                      <a:lnTo>
                        <a:pt x="2943" y="522"/>
                      </a:lnTo>
                      <a:lnTo>
                        <a:pt x="2950" y="522"/>
                      </a:lnTo>
                      <a:lnTo>
                        <a:pt x="2948" y="520"/>
                      </a:lnTo>
                      <a:lnTo>
                        <a:pt x="2953" y="518"/>
                      </a:lnTo>
                      <a:lnTo>
                        <a:pt x="2959" y="520"/>
                      </a:lnTo>
                      <a:lnTo>
                        <a:pt x="2965" y="521"/>
                      </a:lnTo>
                      <a:lnTo>
                        <a:pt x="2969" y="522"/>
                      </a:lnTo>
                      <a:lnTo>
                        <a:pt x="2967" y="521"/>
                      </a:lnTo>
                      <a:lnTo>
                        <a:pt x="2967" y="518"/>
                      </a:lnTo>
                      <a:lnTo>
                        <a:pt x="2969" y="517"/>
                      </a:lnTo>
                      <a:lnTo>
                        <a:pt x="2970" y="515"/>
                      </a:lnTo>
                      <a:lnTo>
                        <a:pt x="2972" y="513"/>
                      </a:lnTo>
                      <a:lnTo>
                        <a:pt x="2974" y="512"/>
                      </a:lnTo>
                      <a:lnTo>
                        <a:pt x="2975" y="512"/>
                      </a:lnTo>
                      <a:lnTo>
                        <a:pt x="2979" y="513"/>
                      </a:lnTo>
                      <a:lnTo>
                        <a:pt x="2980" y="513"/>
                      </a:lnTo>
                      <a:lnTo>
                        <a:pt x="2982" y="515"/>
                      </a:lnTo>
                      <a:lnTo>
                        <a:pt x="2990" y="516"/>
                      </a:lnTo>
                      <a:lnTo>
                        <a:pt x="2992" y="517"/>
                      </a:lnTo>
                      <a:lnTo>
                        <a:pt x="2995" y="516"/>
                      </a:lnTo>
                      <a:lnTo>
                        <a:pt x="2996" y="516"/>
                      </a:lnTo>
                      <a:lnTo>
                        <a:pt x="2995" y="513"/>
                      </a:lnTo>
                      <a:lnTo>
                        <a:pt x="2999" y="513"/>
                      </a:lnTo>
                      <a:lnTo>
                        <a:pt x="3003" y="515"/>
                      </a:lnTo>
                      <a:lnTo>
                        <a:pt x="3008" y="515"/>
                      </a:lnTo>
                      <a:lnTo>
                        <a:pt x="3012" y="512"/>
                      </a:lnTo>
                      <a:lnTo>
                        <a:pt x="3007" y="508"/>
                      </a:lnTo>
                      <a:lnTo>
                        <a:pt x="2999" y="505"/>
                      </a:lnTo>
                      <a:lnTo>
                        <a:pt x="2993" y="502"/>
                      </a:lnTo>
                      <a:lnTo>
                        <a:pt x="2990" y="502"/>
                      </a:lnTo>
                      <a:lnTo>
                        <a:pt x="2987" y="505"/>
                      </a:lnTo>
                      <a:lnTo>
                        <a:pt x="2990" y="506"/>
                      </a:lnTo>
                      <a:lnTo>
                        <a:pt x="2986" y="506"/>
                      </a:lnTo>
                      <a:lnTo>
                        <a:pt x="2981" y="505"/>
                      </a:lnTo>
                      <a:lnTo>
                        <a:pt x="2980" y="504"/>
                      </a:lnTo>
                      <a:lnTo>
                        <a:pt x="2979" y="502"/>
                      </a:lnTo>
                      <a:lnTo>
                        <a:pt x="2979" y="500"/>
                      </a:lnTo>
                      <a:lnTo>
                        <a:pt x="2981" y="501"/>
                      </a:lnTo>
                      <a:lnTo>
                        <a:pt x="2977" y="499"/>
                      </a:lnTo>
                      <a:lnTo>
                        <a:pt x="2974" y="495"/>
                      </a:lnTo>
                      <a:lnTo>
                        <a:pt x="2971" y="492"/>
                      </a:lnTo>
                      <a:lnTo>
                        <a:pt x="2972" y="491"/>
                      </a:lnTo>
                      <a:lnTo>
                        <a:pt x="2975" y="491"/>
                      </a:lnTo>
                      <a:lnTo>
                        <a:pt x="2971" y="486"/>
                      </a:lnTo>
                      <a:lnTo>
                        <a:pt x="2970" y="481"/>
                      </a:lnTo>
                      <a:lnTo>
                        <a:pt x="2971" y="478"/>
                      </a:lnTo>
                      <a:lnTo>
                        <a:pt x="2972" y="477"/>
                      </a:lnTo>
                      <a:lnTo>
                        <a:pt x="2976" y="473"/>
                      </a:lnTo>
                      <a:lnTo>
                        <a:pt x="2979" y="469"/>
                      </a:lnTo>
                      <a:lnTo>
                        <a:pt x="2980" y="465"/>
                      </a:lnTo>
                      <a:lnTo>
                        <a:pt x="2979" y="463"/>
                      </a:lnTo>
                      <a:lnTo>
                        <a:pt x="2976" y="459"/>
                      </a:lnTo>
                      <a:lnTo>
                        <a:pt x="2976" y="456"/>
                      </a:lnTo>
                      <a:lnTo>
                        <a:pt x="2979" y="453"/>
                      </a:lnTo>
                      <a:lnTo>
                        <a:pt x="2980" y="451"/>
                      </a:lnTo>
                      <a:lnTo>
                        <a:pt x="2979" y="448"/>
                      </a:lnTo>
                      <a:lnTo>
                        <a:pt x="2976" y="446"/>
                      </a:lnTo>
                      <a:lnTo>
                        <a:pt x="2975" y="445"/>
                      </a:lnTo>
                      <a:lnTo>
                        <a:pt x="2977" y="442"/>
                      </a:lnTo>
                      <a:lnTo>
                        <a:pt x="2979" y="440"/>
                      </a:lnTo>
                      <a:lnTo>
                        <a:pt x="2980" y="437"/>
                      </a:lnTo>
                      <a:lnTo>
                        <a:pt x="2982" y="437"/>
                      </a:lnTo>
                      <a:lnTo>
                        <a:pt x="2982" y="435"/>
                      </a:lnTo>
                      <a:lnTo>
                        <a:pt x="2996" y="436"/>
                      </a:lnTo>
                      <a:lnTo>
                        <a:pt x="3001" y="436"/>
                      </a:lnTo>
                      <a:lnTo>
                        <a:pt x="3006" y="435"/>
                      </a:lnTo>
                      <a:lnTo>
                        <a:pt x="3012" y="433"/>
                      </a:lnTo>
                      <a:lnTo>
                        <a:pt x="3018" y="431"/>
                      </a:lnTo>
                      <a:lnTo>
                        <a:pt x="3020" y="432"/>
                      </a:lnTo>
                      <a:lnTo>
                        <a:pt x="3024" y="433"/>
                      </a:lnTo>
                      <a:lnTo>
                        <a:pt x="3029" y="436"/>
                      </a:lnTo>
                      <a:lnTo>
                        <a:pt x="3031" y="437"/>
                      </a:lnTo>
                      <a:lnTo>
                        <a:pt x="3034" y="438"/>
                      </a:lnTo>
                      <a:lnTo>
                        <a:pt x="3035" y="438"/>
                      </a:lnTo>
                      <a:lnTo>
                        <a:pt x="3038" y="436"/>
                      </a:lnTo>
                      <a:lnTo>
                        <a:pt x="3039" y="433"/>
                      </a:lnTo>
                      <a:lnTo>
                        <a:pt x="3041" y="432"/>
                      </a:lnTo>
                      <a:lnTo>
                        <a:pt x="3044" y="431"/>
                      </a:lnTo>
                      <a:lnTo>
                        <a:pt x="3046" y="432"/>
                      </a:lnTo>
                      <a:lnTo>
                        <a:pt x="3050" y="437"/>
                      </a:lnTo>
                      <a:lnTo>
                        <a:pt x="3052" y="442"/>
                      </a:lnTo>
                      <a:lnTo>
                        <a:pt x="3054" y="443"/>
                      </a:lnTo>
                      <a:lnTo>
                        <a:pt x="3052" y="445"/>
                      </a:lnTo>
                      <a:lnTo>
                        <a:pt x="3052" y="446"/>
                      </a:lnTo>
                      <a:lnTo>
                        <a:pt x="3055" y="447"/>
                      </a:lnTo>
                      <a:lnTo>
                        <a:pt x="3054" y="447"/>
                      </a:lnTo>
                      <a:lnTo>
                        <a:pt x="3055" y="448"/>
                      </a:lnTo>
                      <a:lnTo>
                        <a:pt x="3056" y="449"/>
                      </a:lnTo>
                      <a:lnTo>
                        <a:pt x="3056" y="451"/>
                      </a:lnTo>
                      <a:lnTo>
                        <a:pt x="3056" y="451"/>
                      </a:lnTo>
                      <a:lnTo>
                        <a:pt x="3054" y="449"/>
                      </a:lnTo>
                      <a:lnTo>
                        <a:pt x="3058" y="453"/>
                      </a:lnTo>
                      <a:lnTo>
                        <a:pt x="3063" y="458"/>
                      </a:lnTo>
                      <a:lnTo>
                        <a:pt x="3065" y="459"/>
                      </a:lnTo>
                      <a:lnTo>
                        <a:pt x="3066" y="461"/>
                      </a:lnTo>
                      <a:lnTo>
                        <a:pt x="3067" y="459"/>
                      </a:lnTo>
                      <a:lnTo>
                        <a:pt x="3070" y="458"/>
                      </a:lnTo>
                      <a:lnTo>
                        <a:pt x="3073" y="458"/>
                      </a:lnTo>
                      <a:lnTo>
                        <a:pt x="3076" y="459"/>
                      </a:lnTo>
                      <a:lnTo>
                        <a:pt x="3077" y="462"/>
                      </a:lnTo>
                      <a:lnTo>
                        <a:pt x="3077" y="464"/>
                      </a:lnTo>
                      <a:lnTo>
                        <a:pt x="3078" y="465"/>
                      </a:lnTo>
                      <a:lnTo>
                        <a:pt x="3081" y="467"/>
                      </a:lnTo>
                      <a:lnTo>
                        <a:pt x="3082" y="468"/>
                      </a:lnTo>
                      <a:lnTo>
                        <a:pt x="3084" y="472"/>
                      </a:lnTo>
                      <a:lnTo>
                        <a:pt x="3088" y="467"/>
                      </a:lnTo>
                      <a:lnTo>
                        <a:pt x="3090" y="467"/>
                      </a:lnTo>
                      <a:lnTo>
                        <a:pt x="3094" y="467"/>
                      </a:lnTo>
                      <a:lnTo>
                        <a:pt x="3093" y="464"/>
                      </a:lnTo>
                      <a:lnTo>
                        <a:pt x="3092" y="463"/>
                      </a:lnTo>
                      <a:lnTo>
                        <a:pt x="3093" y="458"/>
                      </a:lnTo>
                      <a:lnTo>
                        <a:pt x="3095" y="453"/>
                      </a:lnTo>
                      <a:lnTo>
                        <a:pt x="3097" y="448"/>
                      </a:lnTo>
                      <a:lnTo>
                        <a:pt x="3098" y="443"/>
                      </a:lnTo>
                      <a:lnTo>
                        <a:pt x="3100" y="441"/>
                      </a:lnTo>
                      <a:lnTo>
                        <a:pt x="3104" y="440"/>
                      </a:lnTo>
                      <a:lnTo>
                        <a:pt x="3108" y="441"/>
                      </a:lnTo>
                      <a:lnTo>
                        <a:pt x="3105" y="440"/>
                      </a:lnTo>
                      <a:lnTo>
                        <a:pt x="3105" y="440"/>
                      </a:lnTo>
                      <a:lnTo>
                        <a:pt x="3105" y="438"/>
                      </a:lnTo>
                      <a:lnTo>
                        <a:pt x="3109" y="438"/>
                      </a:lnTo>
                      <a:lnTo>
                        <a:pt x="3110" y="438"/>
                      </a:lnTo>
                      <a:lnTo>
                        <a:pt x="3115" y="441"/>
                      </a:lnTo>
                      <a:lnTo>
                        <a:pt x="3119" y="443"/>
                      </a:lnTo>
                      <a:lnTo>
                        <a:pt x="3117" y="441"/>
                      </a:lnTo>
                      <a:lnTo>
                        <a:pt x="3120" y="440"/>
                      </a:lnTo>
                      <a:lnTo>
                        <a:pt x="3116" y="437"/>
                      </a:lnTo>
                      <a:lnTo>
                        <a:pt x="3113" y="435"/>
                      </a:lnTo>
                      <a:lnTo>
                        <a:pt x="3108" y="433"/>
                      </a:lnTo>
                      <a:lnTo>
                        <a:pt x="3104" y="430"/>
                      </a:lnTo>
                      <a:lnTo>
                        <a:pt x="3102" y="427"/>
                      </a:lnTo>
                      <a:lnTo>
                        <a:pt x="3098" y="425"/>
                      </a:lnTo>
                      <a:lnTo>
                        <a:pt x="3095" y="421"/>
                      </a:lnTo>
                      <a:lnTo>
                        <a:pt x="3095" y="420"/>
                      </a:lnTo>
                      <a:lnTo>
                        <a:pt x="3097" y="418"/>
                      </a:lnTo>
                      <a:lnTo>
                        <a:pt x="3092" y="416"/>
                      </a:lnTo>
                      <a:lnTo>
                        <a:pt x="3089" y="413"/>
                      </a:lnTo>
                      <a:lnTo>
                        <a:pt x="3095" y="411"/>
                      </a:lnTo>
                      <a:lnTo>
                        <a:pt x="3103" y="409"/>
                      </a:lnTo>
                      <a:lnTo>
                        <a:pt x="3110" y="409"/>
                      </a:lnTo>
                      <a:lnTo>
                        <a:pt x="3117" y="410"/>
                      </a:lnTo>
                      <a:lnTo>
                        <a:pt x="3125" y="413"/>
                      </a:lnTo>
                      <a:lnTo>
                        <a:pt x="3131" y="414"/>
                      </a:lnTo>
                      <a:lnTo>
                        <a:pt x="3146" y="415"/>
                      </a:lnTo>
                      <a:lnTo>
                        <a:pt x="3141" y="415"/>
                      </a:lnTo>
                      <a:lnTo>
                        <a:pt x="3135" y="415"/>
                      </a:lnTo>
                      <a:lnTo>
                        <a:pt x="3138" y="418"/>
                      </a:lnTo>
                      <a:lnTo>
                        <a:pt x="3143" y="419"/>
                      </a:lnTo>
                      <a:lnTo>
                        <a:pt x="3138" y="418"/>
                      </a:lnTo>
                      <a:lnTo>
                        <a:pt x="3132" y="415"/>
                      </a:lnTo>
                      <a:lnTo>
                        <a:pt x="3127" y="415"/>
                      </a:lnTo>
                      <a:lnTo>
                        <a:pt x="3122" y="415"/>
                      </a:lnTo>
                      <a:lnTo>
                        <a:pt x="3120" y="418"/>
                      </a:lnTo>
                      <a:lnTo>
                        <a:pt x="3119" y="420"/>
                      </a:lnTo>
                      <a:lnTo>
                        <a:pt x="3121" y="425"/>
                      </a:lnTo>
                      <a:lnTo>
                        <a:pt x="3125" y="429"/>
                      </a:lnTo>
                      <a:lnTo>
                        <a:pt x="3130" y="432"/>
                      </a:lnTo>
                      <a:lnTo>
                        <a:pt x="3132" y="433"/>
                      </a:lnTo>
                      <a:lnTo>
                        <a:pt x="3133" y="436"/>
                      </a:lnTo>
                      <a:lnTo>
                        <a:pt x="3135" y="442"/>
                      </a:lnTo>
                      <a:lnTo>
                        <a:pt x="3137" y="445"/>
                      </a:lnTo>
                      <a:lnTo>
                        <a:pt x="3140" y="446"/>
                      </a:lnTo>
                      <a:lnTo>
                        <a:pt x="3143" y="446"/>
                      </a:lnTo>
                      <a:lnTo>
                        <a:pt x="3146" y="448"/>
                      </a:lnTo>
                      <a:lnTo>
                        <a:pt x="3148" y="449"/>
                      </a:lnTo>
                      <a:lnTo>
                        <a:pt x="3148" y="452"/>
                      </a:lnTo>
                      <a:lnTo>
                        <a:pt x="3147" y="453"/>
                      </a:lnTo>
                      <a:lnTo>
                        <a:pt x="3147" y="456"/>
                      </a:lnTo>
                      <a:lnTo>
                        <a:pt x="3148" y="458"/>
                      </a:lnTo>
                      <a:lnTo>
                        <a:pt x="3151" y="459"/>
                      </a:lnTo>
                      <a:lnTo>
                        <a:pt x="3156" y="461"/>
                      </a:lnTo>
                      <a:lnTo>
                        <a:pt x="3154" y="462"/>
                      </a:lnTo>
                      <a:lnTo>
                        <a:pt x="3153" y="464"/>
                      </a:lnTo>
                      <a:lnTo>
                        <a:pt x="3152" y="465"/>
                      </a:lnTo>
                      <a:lnTo>
                        <a:pt x="3151" y="465"/>
                      </a:lnTo>
                      <a:lnTo>
                        <a:pt x="3146" y="464"/>
                      </a:lnTo>
                      <a:lnTo>
                        <a:pt x="3142" y="465"/>
                      </a:lnTo>
                      <a:lnTo>
                        <a:pt x="3141" y="468"/>
                      </a:lnTo>
                      <a:lnTo>
                        <a:pt x="3140" y="470"/>
                      </a:lnTo>
                      <a:lnTo>
                        <a:pt x="3135" y="473"/>
                      </a:lnTo>
                      <a:lnTo>
                        <a:pt x="3130" y="477"/>
                      </a:lnTo>
                      <a:lnTo>
                        <a:pt x="3133" y="479"/>
                      </a:lnTo>
                      <a:lnTo>
                        <a:pt x="3136" y="483"/>
                      </a:lnTo>
                      <a:lnTo>
                        <a:pt x="3136" y="484"/>
                      </a:lnTo>
                      <a:lnTo>
                        <a:pt x="3135" y="486"/>
                      </a:lnTo>
                      <a:lnTo>
                        <a:pt x="3133" y="488"/>
                      </a:lnTo>
                      <a:lnTo>
                        <a:pt x="3133" y="489"/>
                      </a:lnTo>
                      <a:lnTo>
                        <a:pt x="3133" y="494"/>
                      </a:lnTo>
                      <a:lnTo>
                        <a:pt x="3132" y="497"/>
                      </a:lnTo>
                      <a:lnTo>
                        <a:pt x="3132" y="500"/>
                      </a:lnTo>
                      <a:lnTo>
                        <a:pt x="3130" y="501"/>
                      </a:lnTo>
                      <a:lnTo>
                        <a:pt x="3129" y="501"/>
                      </a:lnTo>
                      <a:lnTo>
                        <a:pt x="3127" y="502"/>
                      </a:lnTo>
                      <a:lnTo>
                        <a:pt x="3129" y="505"/>
                      </a:lnTo>
                      <a:lnTo>
                        <a:pt x="3129" y="510"/>
                      </a:lnTo>
                      <a:lnTo>
                        <a:pt x="3126" y="513"/>
                      </a:lnTo>
                      <a:lnTo>
                        <a:pt x="3126" y="518"/>
                      </a:lnTo>
                      <a:lnTo>
                        <a:pt x="3127" y="520"/>
                      </a:lnTo>
                      <a:lnTo>
                        <a:pt x="3129" y="522"/>
                      </a:lnTo>
                      <a:lnTo>
                        <a:pt x="3130" y="526"/>
                      </a:lnTo>
                      <a:lnTo>
                        <a:pt x="3130" y="529"/>
                      </a:lnTo>
                      <a:lnTo>
                        <a:pt x="3130" y="532"/>
                      </a:lnTo>
                      <a:lnTo>
                        <a:pt x="3132" y="536"/>
                      </a:lnTo>
                      <a:lnTo>
                        <a:pt x="3130" y="534"/>
                      </a:lnTo>
                      <a:lnTo>
                        <a:pt x="3129" y="534"/>
                      </a:lnTo>
                      <a:lnTo>
                        <a:pt x="3129" y="536"/>
                      </a:lnTo>
                      <a:lnTo>
                        <a:pt x="3129" y="538"/>
                      </a:lnTo>
                      <a:lnTo>
                        <a:pt x="3125" y="543"/>
                      </a:lnTo>
                      <a:lnTo>
                        <a:pt x="3124" y="547"/>
                      </a:lnTo>
                      <a:lnTo>
                        <a:pt x="3124" y="549"/>
                      </a:lnTo>
                      <a:lnTo>
                        <a:pt x="3126" y="550"/>
                      </a:lnTo>
                      <a:lnTo>
                        <a:pt x="3122" y="549"/>
                      </a:lnTo>
                      <a:lnTo>
                        <a:pt x="3119" y="550"/>
                      </a:lnTo>
                      <a:lnTo>
                        <a:pt x="3115" y="550"/>
                      </a:lnTo>
                      <a:lnTo>
                        <a:pt x="3111" y="549"/>
                      </a:lnTo>
                      <a:lnTo>
                        <a:pt x="3111" y="552"/>
                      </a:lnTo>
                      <a:lnTo>
                        <a:pt x="3111" y="553"/>
                      </a:lnTo>
                      <a:lnTo>
                        <a:pt x="3111" y="555"/>
                      </a:lnTo>
                      <a:lnTo>
                        <a:pt x="3110" y="556"/>
                      </a:lnTo>
                      <a:lnTo>
                        <a:pt x="3108" y="558"/>
                      </a:lnTo>
                      <a:lnTo>
                        <a:pt x="3104" y="556"/>
                      </a:lnTo>
                      <a:lnTo>
                        <a:pt x="3100" y="555"/>
                      </a:lnTo>
                      <a:lnTo>
                        <a:pt x="3098" y="555"/>
                      </a:lnTo>
                      <a:lnTo>
                        <a:pt x="3100" y="559"/>
                      </a:lnTo>
                      <a:lnTo>
                        <a:pt x="3104" y="561"/>
                      </a:lnTo>
                      <a:lnTo>
                        <a:pt x="3110" y="566"/>
                      </a:lnTo>
                      <a:lnTo>
                        <a:pt x="3113" y="569"/>
                      </a:lnTo>
                      <a:lnTo>
                        <a:pt x="3114" y="572"/>
                      </a:lnTo>
                      <a:lnTo>
                        <a:pt x="3116" y="577"/>
                      </a:lnTo>
                      <a:lnTo>
                        <a:pt x="3114" y="579"/>
                      </a:lnTo>
                      <a:lnTo>
                        <a:pt x="3113" y="582"/>
                      </a:lnTo>
                      <a:lnTo>
                        <a:pt x="3113" y="586"/>
                      </a:lnTo>
                      <a:lnTo>
                        <a:pt x="3111" y="590"/>
                      </a:lnTo>
                      <a:lnTo>
                        <a:pt x="3111" y="587"/>
                      </a:lnTo>
                      <a:lnTo>
                        <a:pt x="3111" y="587"/>
                      </a:lnTo>
                      <a:lnTo>
                        <a:pt x="3111" y="587"/>
                      </a:lnTo>
                      <a:lnTo>
                        <a:pt x="3111" y="590"/>
                      </a:lnTo>
                      <a:lnTo>
                        <a:pt x="3111" y="591"/>
                      </a:lnTo>
                      <a:lnTo>
                        <a:pt x="3114" y="596"/>
                      </a:lnTo>
                      <a:lnTo>
                        <a:pt x="3116" y="599"/>
                      </a:lnTo>
                      <a:lnTo>
                        <a:pt x="3127" y="614"/>
                      </a:lnTo>
                      <a:lnTo>
                        <a:pt x="3143" y="634"/>
                      </a:lnTo>
                      <a:lnTo>
                        <a:pt x="3162" y="651"/>
                      </a:lnTo>
                      <a:lnTo>
                        <a:pt x="3207" y="690"/>
                      </a:lnTo>
                      <a:lnTo>
                        <a:pt x="3215" y="699"/>
                      </a:lnTo>
                      <a:lnTo>
                        <a:pt x="3224" y="709"/>
                      </a:lnTo>
                      <a:lnTo>
                        <a:pt x="3234" y="716"/>
                      </a:lnTo>
                      <a:lnTo>
                        <a:pt x="3239" y="719"/>
                      </a:lnTo>
                      <a:lnTo>
                        <a:pt x="3244" y="720"/>
                      </a:lnTo>
                      <a:lnTo>
                        <a:pt x="3242" y="721"/>
                      </a:lnTo>
                      <a:lnTo>
                        <a:pt x="3243" y="722"/>
                      </a:lnTo>
                      <a:lnTo>
                        <a:pt x="3244" y="724"/>
                      </a:lnTo>
                      <a:lnTo>
                        <a:pt x="3247" y="725"/>
                      </a:lnTo>
                      <a:lnTo>
                        <a:pt x="3254" y="732"/>
                      </a:lnTo>
                      <a:lnTo>
                        <a:pt x="3269" y="747"/>
                      </a:lnTo>
                      <a:lnTo>
                        <a:pt x="3275" y="754"/>
                      </a:lnTo>
                      <a:lnTo>
                        <a:pt x="3282" y="759"/>
                      </a:lnTo>
                      <a:lnTo>
                        <a:pt x="3290" y="764"/>
                      </a:lnTo>
                      <a:lnTo>
                        <a:pt x="3292" y="767"/>
                      </a:lnTo>
                      <a:lnTo>
                        <a:pt x="3295" y="770"/>
                      </a:lnTo>
                      <a:lnTo>
                        <a:pt x="3298" y="764"/>
                      </a:lnTo>
                      <a:lnTo>
                        <a:pt x="3301" y="758"/>
                      </a:lnTo>
                      <a:lnTo>
                        <a:pt x="3302" y="756"/>
                      </a:lnTo>
                      <a:lnTo>
                        <a:pt x="3302" y="754"/>
                      </a:lnTo>
                      <a:lnTo>
                        <a:pt x="3302" y="753"/>
                      </a:lnTo>
                      <a:lnTo>
                        <a:pt x="3302" y="751"/>
                      </a:lnTo>
                      <a:lnTo>
                        <a:pt x="3306" y="746"/>
                      </a:lnTo>
                      <a:lnTo>
                        <a:pt x="3306" y="740"/>
                      </a:lnTo>
                      <a:lnTo>
                        <a:pt x="3304" y="732"/>
                      </a:lnTo>
                      <a:lnTo>
                        <a:pt x="3302" y="726"/>
                      </a:lnTo>
                      <a:lnTo>
                        <a:pt x="3298" y="722"/>
                      </a:lnTo>
                      <a:lnTo>
                        <a:pt x="3295" y="719"/>
                      </a:lnTo>
                      <a:lnTo>
                        <a:pt x="3292" y="716"/>
                      </a:lnTo>
                      <a:lnTo>
                        <a:pt x="3291" y="714"/>
                      </a:lnTo>
                      <a:lnTo>
                        <a:pt x="3288" y="710"/>
                      </a:lnTo>
                      <a:lnTo>
                        <a:pt x="3287" y="708"/>
                      </a:lnTo>
                      <a:lnTo>
                        <a:pt x="3286" y="706"/>
                      </a:lnTo>
                      <a:lnTo>
                        <a:pt x="3282" y="706"/>
                      </a:lnTo>
                      <a:lnTo>
                        <a:pt x="3281" y="705"/>
                      </a:lnTo>
                      <a:lnTo>
                        <a:pt x="3281" y="704"/>
                      </a:lnTo>
                      <a:lnTo>
                        <a:pt x="3284" y="704"/>
                      </a:lnTo>
                      <a:lnTo>
                        <a:pt x="3285" y="704"/>
                      </a:lnTo>
                      <a:lnTo>
                        <a:pt x="3288" y="708"/>
                      </a:lnTo>
                      <a:lnTo>
                        <a:pt x="3295" y="701"/>
                      </a:lnTo>
                      <a:lnTo>
                        <a:pt x="3298" y="699"/>
                      </a:lnTo>
                      <a:lnTo>
                        <a:pt x="3302" y="698"/>
                      </a:lnTo>
                      <a:lnTo>
                        <a:pt x="3306" y="697"/>
                      </a:lnTo>
                      <a:lnTo>
                        <a:pt x="3307" y="697"/>
                      </a:lnTo>
                      <a:lnTo>
                        <a:pt x="3308" y="698"/>
                      </a:lnTo>
                      <a:lnTo>
                        <a:pt x="3312" y="700"/>
                      </a:lnTo>
                      <a:lnTo>
                        <a:pt x="3315" y="701"/>
                      </a:lnTo>
                      <a:lnTo>
                        <a:pt x="3313" y="698"/>
                      </a:lnTo>
                      <a:lnTo>
                        <a:pt x="3308" y="695"/>
                      </a:lnTo>
                      <a:lnTo>
                        <a:pt x="3299" y="689"/>
                      </a:lnTo>
                      <a:lnTo>
                        <a:pt x="3301" y="690"/>
                      </a:lnTo>
                      <a:lnTo>
                        <a:pt x="3302" y="689"/>
                      </a:lnTo>
                      <a:lnTo>
                        <a:pt x="3298" y="687"/>
                      </a:lnTo>
                      <a:lnTo>
                        <a:pt x="3295" y="683"/>
                      </a:lnTo>
                      <a:lnTo>
                        <a:pt x="3292" y="681"/>
                      </a:lnTo>
                      <a:lnTo>
                        <a:pt x="3290" y="677"/>
                      </a:lnTo>
                      <a:lnTo>
                        <a:pt x="3287" y="673"/>
                      </a:lnTo>
                      <a:lnTo>
                        <a:pt x="3286" y="670"/>
                      </a:lnTo>
                      <a:lnTo>
                        <a:pt x="3287" y="666"/>
                      </a:lnTo>
                      <a:lnTo>
                        <a:pt x="3290" y="662"/>
                      </a:lnTo>
                      <a:lnTo>
                        <a:pt x="3292" y="658"/>
                      </a:lnTo>
                      <a:lnTo>
                        <a:pt x="3295" y="656"/>
                      </a:lnTo>
                      <a:lnTo>
                        <a:pt x="3298" y="655"/>
                      </a:lnTo>
                      <a:lnTo>
                        <a:pt x="3301" y="656"/>
                      </a:lnTo>
                      <a:lnTo>
                        <a:pt x="3303" y="657"/>
                      </a:lnTo>
                      <a:lnTo>
                        <a:pt x="3306" y="658"/>
                      </a:lnTo>
                      <a:lnTo>
                        <a:pt x="3308" y="658"/>
                      </a:lnTo>
                      <a:lnTo>
                        <a:pt x="3313" y="657"/>
                      </a:lnTo>
                      <a:lnTo>
                        <a:pt x="3317" y="657"/>
                      </a:lnTo>
                      <a:lnTo>
                        <a:pt x="3317" y="656"/>
                      </a:lnTo>
                      <a:lnTo>
                        <a:pt x="3318" y="654"/>
                      </a:lnTo>
                      <a:lnTo>
                        <a:pt x="3318" y="651"/>
                      </a:lnTo>
                      <a:lnTo>
                        <a:pt x="3317" y="649"/>
                      </a:lnTo>
                      <a:lnTo>
                        <a:pt x="3312" y="645"/>
                      </a:lnTo>
                      <a:lnTo>
                        <a:pt x="3306" y="641"/>
                      </a:lnTo>
                      <a:lnTo>
                        <a:pt x="3296" y="635"/>
                      </a:lnTo>
                      <a:lnTo>
                        <a:pt x="3287" y="628"/>
                      </a:lnTo>
                      <a:lnTo>
                        <a:pt x="3284" y="624"/>
                      </a:lnTo>
                      <a:lnTo>
                        <a:pt x="3281" y="619"/>
                      </a:lnTo>
                      <a:lnTo>
                        <a:pt x="3277" y="611"/>
                      </a:lnTo>
                      <a:lnTo>
                        <a:pt x="3277" y="608"/>
                      </a:lnTo>
                      <a:lnTo>
                        <a:pt x="3279" y="604"/>
                      </a:lnTo>
                      <a:lnTo>
                        <a:pt x="3280" y="602"/>
                      </a:lnTo>
                      <a:lnTo>
                        <a:pt x="3279" y="601"/>
                      </a:lnTo>
                      <a:lnTo>
                        <a:pt x="3275" y="599"/>
                      </a:lnTo>
                      <a:lnTo>
                        <a:pt x="3279" y="597"/>
                      </a:lnTo>
                      <a:lnTo>
                        <a:pt x="3282" y="597"/>
                      </a:lnTo>
                      <a:lnTo>
                        <a:pt x="3284" y="596"/>
                      </a:lnTo>
                      <a:lnTo>
                        <a:pt x="3284" y="596"/>
                      </a:lnTo>
                      <a:lnTo>
                        <a:pt x="3286" y="596"/>
                      </a:lnTo>
                      <a:lnTo>
                        <a:pt x="3286" y="598"/>
                      </a:lnTo>
                      <a:lnTo>
                        <a:pt x="3285" y="599"/>
                      </a:lnTo>
                      <a:lnTo>
                        <a:pt x="3285" y="601"/>
                      </a:lnTo>
                      <a:lnTo>
                        <a:pt x="3285" y="603"/>
                      </a:lnTo>
                      <a:lnTo>
                        <a:pt x="3288" y="607"/>
                      </a:lnTo>
                      <a:lnTo>
                        <a:pt x="3292" y="609"/>
                      </a:lnTo>
                      <a:lnTo>
                        <a:pt x="3297" y="611"/>
                      </a:lnTo>
                      <a:lnTo>
                        <a:pt x="3301" y="608"/>
                      </a:lnTo>
                      <a:lnTo>
                        <a:pt x="3301" y="606"/>
                      </a:lnTo>
                      <a:lnTo>
                        <a:pt x="3299" y="603"/>
                      </a:lnTo>
                      <a:lnTo>
                        <a:pt x="3295" y="597"/>
                      </a:lnTo>
                      <a:lnTo>
                        <a:pt x="3286" y="591"/>
                      </a:lnTo>
                      <a:lnTo>
                        <a:pt x="3284" y="590"/>
                      </a:lnTo>
                      <a:lnTo>
                        <a:pt x="3281" y="588"/>
                      </a:lnTo>
                      <a:lnTo>
                        <a:pt x="3277" y="588"/>
                      </a:lnTo>
                      <a:lnTo>
                        <a:pt x="3274" y="587"/>
                      </a:lnTo>
                      <a:lnTo>
                        <a:pt x="3271" y="586"/>
                      </a:lnTo>
                      <a:lnTo>
                        <a:pt x="3268" y="583"/>
                      </a:lnTo>
                      <a:lnTo>
                        <a:pt x="3263" y="580"/>
                      </a:lnTo>
                      <a:lnTo>
                        <a:pt x="3258" y="575"/>
                      </a:lnTo>
                      <a:lnTo>
                        <a:pt x="3254" y="572"/>
                      </a:lnTo>
                      <a:lnTo>
                        <a:pt x="3253" y="570"/>
                      </a:lnTo>
                      <a:lnTo>
                        <a:pt x="3253" y="569"/>
                      </a:lnTo>
                      <a:lnTo>
                        <a:pt x="3254" y="563"/>
                      </a:lnTo>
                      <a:lnTo>
                        <a:pt x="3254" y="561"/>
                      </a:lnTo>
                      <a:lnTo>
                        <a:pt x="3252" y="559"/>
                      </a:lnTo>
                      <a:lnTo>
                        <a:pt x="3248" y="556"/>
                      </a:lnTo>
                      <a:lnTo>
                        <a:pt x="3243" y="554"/>
                      </a:lnTo>
                      <a:lnTo>
                        <a:pt x="3234" y="552"/>
                      </a:lnTo>
                      <a:lnTo>
                        <a:pt x="3232" y="552"/>
                      </a:lnTo>
                      <a:lnTo>
                        <a:pt x="3229" y="552"/>
                      </a:lnTo>
                      <a:lnTo>
                        <a:pt x="3228" y="553"/>
                      </a:lnTo>
                      <a:lnTo>
                        <a:pt x="3229" y="555"/>
                      </a:lnTo>
                      <a:lnTo>
                        <a:pt x="3231" y="558"/>
                      </a:lnTo>
                      <a:lnTo>
                        <a:pt x="3228" y="556"/>
                      </a:lnTo>
                      <a:lnTo>
                        <a:pt x="3226" y="555"/>
                      </a:lnTo>
                      <a:lnTo>
                        <a:pt x="3222" y="554"/>
                      </a:lnTo>
                      <a:lnTo>
                        <a:pt x="3218" y="553"/>
                      </a:lnTo>
                      <a:lnTo>
                        <a:pt x="3211" y="549"/>
                      </a:lnTo>
                      <a:lnTo>
                        <a:pt x="3206" y="542"/>
                      </a:lnTo>
                      <a:lnTo>
                        <a:pt x="3205" y="540"/>
                      </a:lnTo>
                      <a:lnTo>
                        <a:pt x="3204" y="538"/>
                      </a:lnTo>
                      <a:lnTo>
                        <a:pt x="3201" y="529"/>
                      </a:lnTo>
                      <a:lnTo>
                        <a:pt x="3201" y="526"/>
                      </a:lnTo>
                      <a:lnTo>
                        <a:pt x="3201" y="522"/>
                      </a:lnTo>
                      <a:lnTo>
                        <a:pt x="3202" y="521"/>
                      </a:lnTo>
                      <a:lnTo>
                        <a:pt x="3205" y="521"/>
                      </a:lnTo>
                      <a:lnTo>
                        <a:pt x="3199" y="516"/>
                      </a:lnTo>
                      <a:lnTo>
                        <a:pt x="3201" y="516"/>
                      </a:lnTo>
                      <a:lnTo>
                        <a:pt x="3205" y="516"/>
                      </a:lnTo>
                      <a:lnTo>
                        <a:pt x="3202" y="515"/>
                      </a:lnTo>
                      <a:lnTo>
                        <a:pt x="3199" y="512"/>
                      </a:lnTo>
                      <a:lnTo>
                        <a:pt x="3197" y="511"/>
                      </a:lnTo>
                      <a:lnTo>
                        <a:pt x="3199" y="510"/>
                      </a:lnTo>
                      <a:lnTo>
                        <a:pt x="3200" y="510"/>
                      </a:lnTo>
                      <a:lnTo>
                        <a:pt x="3199" y="508"/>
                      </a:lnTo>
                      <a:lnTo>
                        <a:pt x="3194" y="506"/>
                      </a:lnTo>
                      <a:lnTo>
                        <a:pt x="3191" y="504"/>
                      </a:lnTo>
                      <a:lnTo>
                        <a:pt x="3190" y="502"/>
                      </a:lnTo>
                      <a:lnTo>
                        <a:pt x="3190" y="500"/>
                      </a:lnTo>
                      <a:lnTo>
                        <a:pt x="3189" y="497"/>
                      </a:lnTo>
                      <a:lnTo>
                        <a:pt x="3186" y="495"/>
                      </a:lnTo>
                      <a:lnTo>
                        <a:pt x="3185" y="492"/>
                      </a:lnTo>
                      <a:lnTo>
                        <a:pt x="3188" y="492"/>
                      </a:lnTo>
                      <a:lnTo>
                        <a:pt x="3189" y="489"/>
                      </a:lnTo>
                      <a:lnTo>
                        <a:pt x="3184" y="489"/>
                      </a:lnTo>
                      <a:lnTo>
                        <a:pt x="3189" y="488"/>
                      </a:lnTo>
                      <a:lnTo>
                        <a:pt x="3194" y="489"/>
                      </a:lnTo>
                      <a:lnTo>
                        <a:pt x="3197" y="490"/>
                      </a:lnTo>
                      <a:lnTo>
                        <a:pt x="3201" y="489"/>
                      </a:lnTo>
                      <a:lnTo>
                        <a:pt x="3200" y="488"/>
                      </a:lnTo>
                      <a:lnTo>
                        <a:pt x="3199" y="488"/>
                      </a:lnTo>
                      <a:lnTo>
                        <a:pt x="3201" y="486"/>
                      </a:lnTo>
                      <a:lnTo>
                        <a:pt x="3205" y="488"/>
                      </a:lnTo>
                      <a:lnTo>
                        <a:pt x="3207" y="488"/>
                      </a:lnTo>
                      <a:lnTo>
                        <a:pt x="3212" y="491"/>
                      </a:lnTo>
                      <a:lnTo>
                        <a:pt x="3216" y="494"/>
                      </a:lnTo>
                      <a:lnTo>
                        <a:pt x="3218" y="495"/>
                      </a:lnTo>
                      <a:lnTo>
                        <a:pt x="3221" y="494"/>
                      </a:lnTo>
                      <a:lnTo>
                        <a:pt x="3222" y="491"/>
                      </a:lnTo>
                      <a:lnTo>
                        <a:pt x="3221" y="489"/>
                      </a:lnTo>
                      <a:lnTo>
                        <a:pt x="3217" y="486"/>
                      </a:lnTo>
                      <a:lnTo>
                        <a:pt x="3212" y="485"/>
                      </a:lnTo>
                      <a:lnTo>
                        <a:pt x="3216" y="485"/>
                      </a:lnTo>
                      <a:lnTo>
                        <a:pt x="3221" y="484"/>
                      </a:lnTo>
                      <a:lnTo>
                        <a:pt x="3223" y="479"/>
                      </a:lnTo>
                      <a:lnTo>
                        <a:pt x="3226" y="474"/>
                      </a:lnTo>
                      <a:lnTo>
                        <a:pt x="3228" y="474"/>
                      </a:lnTo>
                      <a:lnTo>
                        <a:pt x="3232" y="477"/>
                      </a:lnTo>
                      <a:lnTo>
                        <a:pt x="3234" y="479"/>
                      </a:lnTo>
                      <a:lnTo>
                        <a:pt x="3237" y="481"/>
                      </a:lnTo>
                      <a:lnTo>
                        <a:pt x="3239" y="485"/>
                      </a:lnTo>
                      <a:lnTo>
                        <a:pt x="3243" y="490"/>
                      </a:lnTo>
                      <a:lnTo>
                        <a:pt x="3247" y="494"/>
                      </a:lnTo>
                      <a:lnTo>
                        <a:pt x="3249" y="495"/>
                      </a:lnTo>
                      <a:lnTo>
                        <a:pt x="3252" y="494"/>
                      </a:lnTo>
                      <a:lnTo>
                        <a:pt x="3253" y="490"/>
                      </a:lnTo>
                      <a:lnTo>
                        <a:pt x="3253" y="486"/>
                      </a:lnTo>
                      <a:lnTo>
                        <a:pt x="3252" y="481"/>
                      </a:lnTo>
                      <a:lnTo>
                        <a:pt x="3252" y="478"/>
                      </a:lnTo>
                      <a:lnTo>
                        <a:pt x="3254" y="478"/>
                      </a:lnTo>
                      <a:lnTo>
                        <a:pt x="3256" y="478"/>
                      </a:lnTo>
                      <a:lnTo>
                        <a:pt x="3254" y="475"/>
                      </a:lnTo>
                      <a:lnTo>
                        <a:pt x="3259" y="477"/>
                      </a:lnTo>
                      <a:lnTo>
                        <a:pt x="3264" y="475"/>
                      </a:lnTo>
                      <a:lnTo>
                        <a:pt x="3270" y="473"/>
                      </a:lnTo>
                      <a:lnTo>
                        <a:pt x="3274" y="472"/>
                      </a:lnTo>
                      <a:lnTo>
                        <a:pt x="3285" y="470"/>
                      </a:lnTo>
                      <a:lnTo>
                        <a:pt x="3296" y="472"/>
                      </a:lnTo>
                      <a:lnTo>
                        <a:pt x="3308" y="475"/>
                      </a:lnTo>
                      <a:lnTo>
                        <a:pt x="3319" y="480"/>
                      </a:lnTo>
                      <a:lnTo>
                        <a:pt x="3330" y="486"/>
                      </a:lnTo>
                      <a:lnTo>
                        <a:pt x="3341" y="491"/>
                      </a:lnTo>
                      <a:lnTo>
                        <a:pt x="3341" y="490"/>
                      </a:lnTo>
                      <a:lnTo>
                        <a:pt x="3341" y="488"/>
                      </a:lnTo>
                      <a:lnTo>
                        <a:pt x="3339" y="483"/>
                      </a:lnTo>
                      <a:lnTo>
                        <a:pt x="3334" y="478"/>
                      </a:lnTo>
                      <a:lnTo>
                        <a:pt x="3330" y="475"/>
                      </a:lnTo>
                      <a:lnTo>
                        <a:pt x="3333" y="477"/>
                      </a:lnTo>
                      <a:lnTo>
                        <a:pt x="3333" y="475"/>
                      </a:lnTo>
                      <a:lnTo>
                        <a:pt x="3331" y="473"/>
                      </a:lnTo>
                      <a:lnTo>
                        <a:pt x="3335" y="473"/>
                      </a:lnTo>
                      <a:lnTo>
                        <a:pt x="3339" y="472"/>
                      </a:lnTo>
                      <a:lnTo>
                        <a:pt x="3341" y="469"/>
                      </a:lnTo>
                      <a:lnTo>
                        <a:pt x="3341" y="468"/>
                      </a:lnTo>
                      <a:lnTo>
                        <a:pt x="3339" y="467"/>
                      </a:lnTo>
                      <a:lnTo>
                        <a:pt x="3341" y="467"/>
                      </a:lnTo>
                      <a:lnTo>
                        <a:pt x="3344" y="465"/>
                      </a:lnTo>
                      <a:lnTo>
                        <a:pt x="3345" y="463"/>
                      </a:lnTo>
                      <a:lnTo>
                        <a:pt x="3345" y="462"/>
                      </a:lnTo>
                      <a:lnTo>
                        <a:pt x="3347" y="463"/>
                      </a:lnTo>
                      <a:lnTo>
                        <a:pt x="3349" y="462"/>
                      </a:lnTo>
                      <a:lnTo>
                        <a:pt x="3349" y="461"/>
                      </a:lnTo>
                      <a:lnTo>
                        <a:pt x="3347" y="459"/>
                      </a:lnTo>
                      <a:lnTo>
                        <a:pt x="3343" y="457"/>
                      </a:lnTo>
                      <a:lnTo>
                        <a:pt x="3346" y="458"/>
                      </a:lnTo>
                      <a:lnTo>
                        <a:pt x="3351" y="458"/>
                      </a:lnTo>
                      <a:lnTo>
                        <a:pt x="3349" y="457"/>
                      </a:lnTo>
                      <a:lnTo>
                        <a:pt x="3345" y="456"/>
                      </a:lnTo>
                      <a:lnTo>
                        <a:pt x="3347" y="456"/>
                      </a:lnTo>
                      <a:lnTo>
                        <a:pt x="3349" y="454"/>
                      </a:lnTo>
                      <a:lnTo>
                        <a:pt x="3347" y="454"/>
                      </a:lnTo>
                      <a:lnTo>
                        <a:pt x="3345" y="453"/>
                      </a:lnTo>
                      <a:lnTo>
                        <a:pt x="3349" y="453"/>
                      </a:lnTo>
                      <a:lnTo>
                        <a:pt x="3351" y="453"/>
                      </a:lnTo>
                      <a:lnTo>
                        <a:pt x="3351" y="452"/>
                      </a:lnTo>
                      <a:lnTo>
                        <a:pt x="3351" y="451"/>
                      </a:lnTo>
                      <a:lnTo>
                        <a:pt x="3349" y="449"/>
                      </a:lnTo>
                      <a:lnTo>
                        <a:pt x="3354" y="451"/>
                      </a:lnTo>
                      <a:lnTo>
                        <a:pt x="3350" y="447"/>
                      </a:lnTo>
                      <a:lnTo>
                        <a:pt x="3345" y="446"/>
                      </a:lnTo>
                      <a:lnTo>
                        <a:pt x="3347" y="446"/>
                      </a:lnTo>
                      <a:lnTo>
                        <a:pt x="3351" y="446"/>
                      </a:lnTo>
                      <a:lnTo>
                        <a:pt x="3354" y="447"/>
                      </a:lnTo>
                      <a:lnTo>
                        <a:pt x="3356" y="446"/>
                      </a:lnTo>
                      <a:lnTo>
                        <a:pt x="3355" y="443"/>
                      </a:lnTo>
                      <a:lnTo>
                        <a:pt x="3355" y="442"/>
                      </a:lnTo>
                      <a:lnTo>
                        <a:pt x="3357" y="442"/>
                      </a:lnTo>
                      <a:lnTo>
                        <a:pt x="3352" y="437"/>
                      </a:lnTo>
                      <a:lnTo>
                        <a:pt x="3356" y="437"/>
                      </a:lnTo>
                      <a:lnTo>
                        <a:pt x="3360" y="438"/>
                      </a:lnTo>
                      <a:lnTo>
                        <a:pt x="3361" y="438"/>
                      </a:lnTo>
                      <a:lnTo>
                        <a:pt x="3362" y="437"/>
                      </a:lnTo>
                      <a:lnTo>
                        <a:pt x="3362" y="436"/>
                      </a:lnTo>
                      <a:lnTo>
                        <a:pt x="3360" y="435"/>
                      </a:lnTo>
                      <a:lnTo>
                        <a:pt x="3363" y="435"/>
                      </a:lnTo>
                      <a:lnTo>
                        <a:pt x="3367" y="435"/>
                      </a:lnTo>
                      <a:lnTo>
                        <a:pt x="3371" y="435"/>
                      </a:lnTo>
                      <a:lnTo>
                        <a:pt x="3373" y="433"/>
                      </a:lnTo>
                      <a:lnTo>
                        <a:pt x="3368" y="430"/>
                      </a:lnTo>
                      <a:lnTo>
                        <a:pt x="3373" y="430"/>
                      </a:lnTo>
                      <a:lnTo>
                        <a:pt x="3379" y="429"/>
                      </a:lnTo>
                      <a:lnTo>
                        <a:pt x="3377" y="425"/>
                      </a:lnTo>
                      <a:lnTo>
                        <a:pt x="3381" y="425"/>
                      </a:lnTo>
                      <a:lnTo>
                        <a:pt x="3384" y="424"/>
                      </a:lnTo>
                      <a:lnTo>
                        <a:pt x="3388" y="422"/>
                      </a:lnTo>
                      <a:lnTo>
                        <a:pt x="3390" y="420"/>
                      </a:lnTo>
                      <a:lnTo>
                        <a:pt x="3394" y="418"/>
                      </a:lnTo>
                      <a:lnTo>
                        <a:pt x="3397" y="415"/>
                      </a:lnTo>
                      <a:lnTo>
                        <a:pt x="3400" y="414"/>
                      </a:lnTo>
                      <a:lnTo>
                        <a:pt x="3405" y="413"/>
                      </a:lnTo>
                      <a:lnTo>
                        <a:pt x="3399" y="411"/>
                      </a:lnTo>
                      <a:lnTo>
                        <a:pt x="3394" y="409"/>
                      </a:lnTo>
                      <a:lnTo>
                        <a:pt x="3392" y="405"/>
                      </a:lnTo>
                      <a:lnTo>
                        <a:pt x="3388" y="404"/>
                      </a:lnTo>
                      <a:lnTo>
                        <a:pt x="3394" y="406"/>
                      </a:lnTo>
                      <a:lnTo>
                        <a:pt x="3397" y="408"/>
                      </a:lnTo>
                      <a:lnTo>
                        <a:pt x="3400" y="408"/>
                      </a:lnTo>
                      <a:lnTo>
                        <a:pt x="3399" y="406"/>
                      </a:lnTo>
                      <a:lnTo>
                        <a:pt x="3399" y="405"/>
                      </a:lnTo>
                      <a:lnTo>
                        <a:pt x="3400" y="406"/>
                      </a:lnTo>
                      <a:lnTo>
                        <a:pt x="3404" y="409"/>
                      </a:lnTo>
                      <a:lnTo>
                        <a:pt x="3406" y="410"/>
                      </a:lnTo>
                      <a:lnTo>
                        <a:pt x="3410" y="411"/>
                      </a:lnTo>
                      <a:lnTo>
                        <a:pt x="3414" y="413"/>
                      </a:lnTo>
                      <a:lnTo>
                        <a:pt x="3422" y="413"/>
                      </a:lnTo>
                      <a:lnTo>
                        <a:pt x="3440" y="415"/>
                      </a:lnTo>
                      <a:lnTo>
                        <a:pt x="3448" y="416"/>
                      </a:lnTo>
                      <a:lnTo>
                        <a:pt x="3456" y="420"/>
                      </a:lnTo>
                      <a:lnTo>
                        <a:pt x="3454" y="416"/>
                      </a:lnTo>
                      <a:lnTo>
                        <a:pt x="3452" y="415"/>
                      </a:lnTo>
                      <a:lnTo>
                        <a:pt x="3453" y="414"/>
                      </a:lnTo>
                      <a:lnTo>
                        <a:pt x="3454" y="413"/>
                      </a:lnTo>
                      <a:lnTo>
                        <a:pt x="3454" y="409"/>
                      </a:lnTo>
                      <a:lnTo>
                        <a:pt x="3453" y="408"/>
                      </a:lnTo>
                      <a:lnTo>
                        <a:pt x="3450" y="405"/>
                      </a:lnTo>
                      <a:lnTo>
                        <a:pt x="3445" y="404"/>
                      </a:lnTo>
                      <a:lnTo>
                        <a:pt x="3436" y="400"/>
                      </a:lnTo>
                      <a:lnTo>
                        <a:pt x="3434" y="398"/>
                      </a:lnTo>
                      <a:lnTo>
                        <a:pt x="3431" y="397"/>
                      </a:lnTo>
                      <a:lnTo>
                        <a:pt x="3429" y="394"/>
                      </a:lnTo>
                      <a:lnTo>
                        <a:pt x="3425" y="393"/>
                      </a:lnTo>
                      <a:lnTo>
                        <a:pt x="3410" y="389"/>
                      </a:lnTo>
                      <a:lnTo>
                        <a:pt x="3414" y="389"/>
                      </a:lnTo>
                      <a:lnTo>
                        <a:pt x="3406" y="386"/>
                      </a:lnTo>
                      <a:lnTo>
                        <a:pt x="3400" y="382"/>
                      </a:lnTo>
                      <a:lnTo>
                        <a:pt x="3406" y="386"/>
                      </a:lnTo>
                      <a:lnTo>
                        <a:pt x="3403" y="386"/>
                      </a:lnTo>
                      <a:lnTo>
                        <a:pt x="3399" y="384"/>
                      </a:lnTo>
                      <a:lnTo>
                        <a:pt x="3395" y="383"/>
                      </a:lnTo>
                      <a:lnTo>
                        <a:pt x="3392" y="383"/>
                      </a:lnTo>
                      <a:lnTo>
                        <a:pt x="3393" y="382"/>
                      </a:lnTo>
                      <a:lnTo>
                        <a:pt x="3394" y="381"/>
                      </a:lnTo>
                      <a:lnTo>
                        <a:pt x="3399" y="382"/>
                      </a:lnTo>
                      <a:lnTo>
                        <a:pt x="3397" y="381"/>
                      </a:lnTo>
                      <a:lnTo>
                        <a:pt x="3395" y="381"/>
                      </a:lnTo>
                      <a:lnTo>
                        <a:pt x="3397" y="381"/>
                      </a:lnTo>
                      <a:lnTo>
                        <a:pt x="3399" y="381"/>
                      </a:lnTo>
                      <a:lnTo>
                        <a:pt x="3393" y="377"/>
                      </a:lnTo>
                      <a:lnTo>
                        <a:pt x="3389" y="374"/>
                      </a:lnTo>
                      <a:lnTo>
                        <a:pt x="3386" y="372"/>
                      </a:lnTo>
                      <a:lnTo>
                        <a:pt x="3378" y="371"/>
                      </a:lnTo>
                      <a:lnTo>
                        <a:pt x="3377" y="370"/>
                      </a:lnTo>
                      <a:lnTo>
                        <a:pt x="3376" y="368"/>
                      </a:lnTo>
                      <a:lnTo>
                        <a:pt x="3376" y="368"/>
                      </a:lnTo>
                      <a:lnTo>
                        <a:pt x="3378" y="368"/>
                      </a:lnTo>
                      <a:lnTo>
                        <a:pt x="3370" y="365"/>
                      </a:lnTo>
                      <a:lnTo>
                        <a:pt x="3360" y="360"/>
                      </a:lnTo>
                      <a:lnTo>
                        <a:pt x="3360" y="362"/>
                      </a:lnTo>
                      <a:lnTo>
                        <a:pt x="3362" y="363"/>
                      </a:lnTo>
                      <a:lnTo>
                        <a:pt x="3355" y="363"/>
                      </a:lnTo>
                      <a:lnTo>
                        <a:pt x="3346" y="361"/>
                      </a:lnTo>
                      <a:lnTo>
                        <a:pt x="3338" y="358"/>
                      </a:lnTo>
                      <a:lnTo>
                        <a:pt x="3331" y="354"/>
                      </a:lnTo>
                      <a:lnTo>
                        <a:pt x="3329" y="350"/>
                      </a:lnTo>
                      <a:lnTo>
                        <a:pt x="3325" y="347"/>
                      </a:lnTo>
                      <a:lnTo>
                        <a:pt x="3322" y="347"/>
                      </a:lnTo>
                      <a:lnTo>
                        <a:pt x="3318" y="351"/>
                      </a:lnTo>
                      <a:lnTo>
                        <a:pt x="3317" y="352"/>
                      </a:lnTo>
                      <a:lnTo>
                        <a:pt x="3314" y="352"/>
                      </a:lnTo>
                      <a:lnTo>
                        <a:pt x="3311" y="350"/>
                      </a:lnTo>
                      <a:lnTo>
                        <a:pt x="3307" y="351"/>
                      </a:lnTo>
                      <a:lnTo>
                        <a:pt x="3302" y="352"/>
                      </a:lnTo>
                      <a:lnTo>
                        <a:pt x="3306" y="350"/>
                      </a:lnTo>
                      <a:lnTo>
                        <a:pt x="3296" y="346"/>
                      </a:lnTo>
                      <a:lnTo>
                        <a:pt x="3287" y="344"/>
                      </a:lnTo>
                      <a:lnTo>
                        <a:pt x="3291" y="344"/>
                      </a:lnTo>
                      <a:lnTo>
                        <a:pt x="3295" y="345"/>
                      </a:lnTo>
                      <a:lnTo>
                        <a:pt x="3299" y="346"/>
                      </a:lnTo>
                      <a:lnTo>
                        <a:pt x="3303" y="345"/>
                      </a:lnTo>
                      <a:lnTo>
                        <a:pt x="3307" y="345"/>
                      </a:lnTo>
                      <a:lnTo>
                        <a:pt x="3311" y="346"/>
                      </a:lnTo>
                      <a:lnTo>
                        <a:pt x="3314" y="347"/>
                      </a:lnTo>
                      <a:lnTo>
                        <a:pt x="3318" y="347"/>
                      </a:lnTo>
                      <a:lnTo>
                        <a:pt x="3315" y="344"/>
                      </a:lnTo>
                      <a:lnTo>
                        <a:pt x="3312" y="343"/>
                      </a:lnTo>
                      <a:lnTo>
                        <a:pt x="3304" y="340"/>
                      </a:lnTo>
                      <a:lnTo>
                        <a:pt x="3299" y="340"/>
                      </a:lnTo>
                      <a:lnTo>
                        <a:pt x="3296" y="341"/>
                      </a:lnTo>
                      <a:lnTo>
                        <a:pt x="3292" y="340"/>
                      </a:lnTo>
                      <a:lnTo>
                        <a:pt x="3290" y="339"/>
                      </a:lnTo>
                      <a:lnTo>
                        <a:pt x="3298" y="338"/>
                      </a:lnTo>
                      <a:lnTo>
                        <a:pt x="3307" y="339"/>
                      </a:lnTo>
                      <a:lnTo>
                        <a:pt x="3317" y="343"/>
                      </a:lnTo>
                      <a:lnTo>
                        <a:pt x="3324" y="346"/>
                      </a:lnTo>
                      <a:lnTo>
                        <a:pt x="3331" y="349"/>
                      </a:lnTo>
                      <a:lnTo>
                        <a:pt x="3340" y="350"/>
                      </a:lnTo>
                      <a:lnTo>
                        <a:pt x="3349" y="350"/>
                      </a:lnTo>
                      <a:lnTo>
                        <a:pt x="3357" y="350"/>
                      </a:lnTo>
                      <a:lnTo>
                        <a:pt x="3355" y="352"/>
                      </a:lnTo>
                      <a:lnTo>
                        <a:pt x="3357" y="352"/>
                      </a:lnTo>
                      <a:lnTo>
                        <a:pt x="3361" y="350"/>
                      </a:lnTo>
                      <a:lnTo>
                        <a:pt x="3365" y="347"/>
                      </a:lnTo>
                      <a:lnTo>
                        <a:pt x="3366" y="346"/>
                      </a:lnTo>
                      <a:lnTo>
                        <a:pt x="3367" y="344"/>
                      </a:lnTo>
                      <a:lnTo>
                        <a:pt x="3368" y="341"/>
                      </a:lnTo>
                      <a:lnTo>
                        <a:pt x="3370" y="339"/>
                      </a:lnTo>
                      <a:lnTo>
                        <a:pt x="3373" y="338"/>
                      </a:lnTo>
                      <a:lnTo>
                        <a:pt x="3373" y="335"/>
                      </a:lnTo>
                      <a:lnTo>
                        <a:pt x="3372" y="333"/>
                      </a:lnTo>
                      <a:lnTo>
                        <a:pt x="3370" y="330"/>
                      </a:lnTo>
                      <a:lnTo>
                        <a:pt x="3368" y="329"/>
                      </a:lnTo>
                      <a:lnTo>
                        <a:pt x="3366" y="329"/>
                      </a:lnTo>
                      <a:lnTo>
                        <a:pt x="3363" y="329"/>
                      </a:lnTo>
                      <a:lnTo>
                        <a:pt x="3361" y="330"/>
                      </a:lnTo>
                      <a:lnTo>
                        <a:pt x="3361" y="331"/>
                      </a:lnTo>
                      <a:lnTo>
                        <a:pt x="3359" y="330"/>
                      </a:lnTo>
                      <a:lnTo>
                        <a:pt x="3359" y="329"/>
                      </a:lnTo>
                      <a:lnTo>
                        <a:pt x="3360" y="329"/>
                      </a:lnTo>
                      <a:lnTo>
                        <a:pt x="3361" y="329"/>
                      </a:lnTo>
                      <a:lnTo>
                        <a:pt x="3366" y="328"/>
                      </a:lnTo>
                      <a:lnTo>
                        <a:pt x="3367" y="328"/>
                      </a:lnTo>
                      <a:lnTo>
                        <a:pt x="3367" y="325"/>
                      </a:lnTo>
                      <a:lnTo>
                        <a:pt x="3366" y="324"/>
                      </a:lnTo>
                      <a:lnTo>
                        <a:pt x="3363" y="323"/>
                      </a:lnTo>
                      <a:lnTo>
                        <a:pt x="3359" y="320"/>
                      </a:lnTo>
                      <a:lnTo>
                        <a:pt x="3351" y="319"/>
                      </a:lnTo>
                      <a:lnTo>
                        <a:pt x="3347" y="318"/>
                      </a:lnTo>
                      <a:lnTo>
                        <a:pt x="3339" y="314"/>
                      </a:lnTo>
                      <a:lnTo>
                        <a:pt x="3335" y="311"/>
                      </a:lnTo>
                      <a:lnTo>
                        <a:pt x="3333" y="307"/>
                      </a:lnTo>
                      <a:lnTo>
                        <a:pt x="3334" y="308"/>
                      </a:lnTo>
                      <a:lnTo>
                        <a:pt x="3336" y="308"/>
                      </a:lnTo>
                      <a:lnTo>
                        <a:pt x="3341" y="307"/>
                      </a:lnTo>
                      <a:lnTo>
                        <a:pt x="3333" y="302"/>
                      </a:lnTo>
                      <a:lnTo>
                        <a:pt x="3338" y="303"/>
                      </a:lnTo>
                      <a:lnTo>
                        <a:pt x="3335" y="301"/>
                      </a:lnTo>
                      <a:lnTo>
                        <a:pt x="3339" y="302"/>
                      </a:lnTo>
                      <a:lnTo>
                        <a:pt x="3343" y="304"/>
                      </a:lnTo>
                      <a:lnTo>
                        <a:pt x="3346" y="307"/>
                      </a:lnTo>
                      <a:lnTo>
                        <a:pt x="3350" y="307"/>
                      </a:lnTo>
                      <a:lnTo>
                        <a:pt x="3349" y="301"/>
                      </a:lnTo>
                      <a:lnTo>
                        <a:pt x="3352" y="303"/>
                      </a:lnTo>
                      <a:lnTo>
                        <a:pt x="3356" y="307"/>
                      </a:lnTo>
                      <a:lnTo>
                        <a:pt x="3359" y="311"/>
                      </a:lnTo>
                      <a:lnTo>
                        <a:pt x="3357" y="312"/>
                      </a:lnTo>
                      <a:lnTo>
                        <a:pt x="3356" y="312"/>
                      </a:lnTo>
                      <a:lnTo>
                        <a:pt x="3365" y="315"/>
                      </a:lnTo>
                      <a:lnTo>
                        <a:pt x="3373" y="319"/>
                      </a:lnTo>
                      <a:lnTo>
                        <a:pt x="3377" y="320"/>
                      </a:lnTo>
                      <a:lnTo>
                        <a:pt x="3381" y="323"/>
                      </a:lnTo>
                      <a:lnTo>
                        <a:pt x="3383" y="325"/>
                      </a:lnTo>
                      <a:lnTo>
                        <a:pt x="3387" y="327"/>
                      </a:lnTo>
                      <a:lnTo>
                        <a:pt x="3392" y="328"/>
                      </a:lnTo>
                      <a:lnTo>
                        <a:pt x="3397" y="328"/>
                      </a:lnTo>
                      <a:lnTo>
                        <a:pt x="3402" y="328"/>
                      </a:lnTo>
                      <a:lnTo>
                        <a:pt x="3406" y="327"/>
                      </a:lnTo>
                      <a:lnTo>
                        <a:pt x="3410" y="325"/>
                      </a:lnTo>
                      <a:lnTo>
                        <a:pt x="3414" y="323"/>
                      </a:lnTo>
                      <a:lnTo>
                        <a:pt x="3419" y="324"/>
                      </a:lnTo>
                      <a:lnTo>
                        <a:pt x="3424" y="324"/>
                      </a:lnTo>
                      <a:lnTo>
                        <a:pt x="3434" y="327"/>
                      </a:lnTo>
                      <a:lnTo>
                        <a:pt x="3443" y="329"/>
                      </a:lnTo>
                      <a:lnTo>
                        <a:pt x="3463" y="338"/>
                      </a:lnTo>
                      <a:lnTo>
                        <a:pt x="3470" y="343"/>
                      </a:lnTo>
                      <a:lnTo>
                        <a:pt x="3479" y="345"/>
                      </a:lnTo>
                      <a:lnTo>
                        <a:pt x="3483" y="346"/>
                      </a:lnTo>
                      <a:lnTo>
                        <a:pt x="3488" y="347"/>
                      </a:lnTo>
                      <a:lnTo>
                        <a:pt x="3490" y="347"/>
                      </a:lnTo>
                      <a:lnTo>
                        <a:pt x="3491" y="347"/>
                      </a:lnTo>
                      <a:lnTo>
                        <a:pt x="3490" y="346"/>
                      </a:lnTo>
                      <a:lnTo>
                        <a:pt x="3489" y="345"/>
                      </a:lnTo>
                      <a:lnTo>
                        <a:pt x="3497" y="349"/>
                      </a:lnTo>
                      <a:lnTo>
                        <a:pt x="3507" y="351"/>
                      </a:lnTo>
                      <a:lnTo>
                        <a:pt x="3516" y="354"/>
                      </a:lnTo>
                      <a:lnTo>
                        <a:pt x="3526" y="356"/>
                      </a:lnTo>
                      <a:lnTo>
                        <a:pt x="3533" y="358"/>
                      </a:lnTo>
                      <a:lnTo>
                        <a:pt x="3538" y="358"/>
                      </a:lnTo>
                      <a:lnTo>
                        <a:pt x="3541" y="358"/>
                      </a:lnTo>
                      <a:lnTo>
                        <a:pt x="3541" y="357"/>
                      </a:lnTo>
                      <a:lnTo>
                        <a:pt x="3538" y="355"/>
                      </a:lnTo>
                      <a:lnTo>
                        <a:pt x="3534" y="352"/>
                      </a:lnTo>
                      <a:lnTo>
                        <a:pt x="3541" y="355"/>
                      </a:lnTo>
                      <a:lnTo>
                        <a:pt x="3545" y="360"/>
                      </a:lnTo>
                      <a:lnTo>
                        <a:pt x="3550" y="362"/>
                      </a:lnTo>
                      <a:lnTo>
                        <a:pt x="3554" y="362"/>
                      </a:lnTo>
                      <a:lnTo>
                        <a:pt x="3558" y="362"/>
                      </a:lnTo>
                      <a:lnTo>
                        <a:pt x="3554" y="357"/>
                      </a:lnTo>
                      <a:lnTo>
                        <a:pt x="3550" y="356"/>
                      </a:lnTo>
                      <a:lnTo>
                        <a:pt x="3554" y="356"/>
                      </a:lnTo>
                      <a:lnTo>
                        <a:pt x="3557" y="357"/>
                      </a:lnTo>
                      <a:lnTo>
                        <a:pt x="3561" y="358"/>
                      </a:lnTo>
                      <a:lnTo>
                        <a:pt x="3565" y="357"/>
                      </a:lnTo>
                      <a:lnTo>
                        <a:pt x="3560" y="355"/>
                      </a:lnTo>
                      <a:lnTo>
                        <a:pt x="3553" y="352"/>
                      </a:lnTo>
                      <a:lnTo>
                        <a:pt x="3547" y="351"/>
                      </a:lnTo>
                      <a:lnTo>
                        <a:pt x="3541" y="351"/>
                      </a:lnTo>
                      <a:lnTo>
                        <a:pt x="3542" y="349"/>
                      </a:lnTo>
                      <a:lnTo>
                        <a:pt x="3539" y="346"/>
                      </a:lnTo>
                      <a:lnTo>
                        <a:pt x="3536" y="346"/>
                      </a:lnTo>
                      <a:lnTo>
                        <a:pt x="3533" y="347"/>
                      </a:lnTo>
                      <a:lnTo>
                        <a:pt x="3534" y="345"/>
                      </a:lnTo>
                      <a:lnTo>
                        <a:pt x="3536" y="344"/>
                      </a:lnTo>
                      <a:lnTo>
                        <a:pt x="3542" y="344"/>
                      </a:lnTo>
                      <a:lnTo>
                        <a:pt x="3543" y="343"/>
                      </a:lnTo>
                      <a:lnTo>
                        <a:pt x="3543" y="340"/>
                      </a:lnTo>
                      <a:lnTo>
                        <a:pt x="3539" y="338"/>
                      </a:lnTo>
                      <a:lnTo>
                        <a:pt x="3536" y="335"/>
                      </a:lnTo>
                      <a:lnTo>
                        <a:pt x="3526" y="334"/>
                      </a:lnTo>
                      <a:lnTo>
                        <a:pt x="3531" y="333"/>
                      </a:lnTo>
                      <a:lnTo>
                        <a:pt x="3534" y="334"/>
                      </a:lnTo>
                      <a:lnTo>
                        <a:pt x="3527" y="328"/>
                      </a:lnTo>
                      <a:lnTo>
                        <a:pt x="3526" y="328"/>
                      </a:lnTo>
                      <a:lnTo>
                        <a:pt x="3523" y="328"/>
                      </a:lnTo>
                      <a:lnTo>
                        <a:pt x="3522" y="328"/>
                      </a:lnTo>
                      <a:lnTo>
                        <a:pt x="3520" y="327"/>
                      </a:lnTo>
                      <a:lnTo>
                        <a:pt x="3512" y="323"/>
                      </a:lnTo>
                      <a:lnTo>
                        <a:pt x="3502" y="320"/>
                      </a:lnTo>
                      <a:lnTo>
                        <a:pt x="3512" y="322"/>
                      </a:lnTo>
                      <a:lnTo>
                        <a:pt x="3521" y="324"/>
                      </a:lnTo>
                      <a:lnTo>
                        <a:pt x="3525" y="324"/>
                      </a:lnTo>
                      <a:lnTo>
                        <a:pt x="3528" y="325"/>
                      </a:lnTo>
                      <a:lnTo>
                        <a:pt x="3531" y="325"/>
                      </a:lnTo>
                      <a:lnTo>
                        <a:pt x="3531" y="327"/>
                      </a:lnTo>
                      <a:lnTo>
                        <a:pt x="3528" y="327"/>
                      </a:lnTo>
                      <a:lnTo>
                        <a:pt x="3534" y="327"/>
                      </a:lnTo>
                      <a:lnTo>
                        <a:pt x="3541" y="325"/>
                      </a:lnTo>
                      <a:lnTo>
                        <a:pt x="3545" y="327"/>
                      </a:lnTo>
                      <a:lnTo>
                        <a:pt x="3549" y="327"/>
                      </a:lnTo>
                      <a:lnTo>
                        <a:pt x="3545" y="323"/>
                      </a:lnTo>
                      <a:lnTo>
                        <a:pt x="3539" y="320"/>
                      </a:lnTo>
                      <a:lnTo>
                        <a:pt x="3532" y="319"/>
                      </a:lnTo>
                      <a:lnTo>
                        <a:pt x="3527" y="317"/>
                      </a:lnTo>
                      <a:lnTo>
                        <a:pt x="3533" y="319"/>
                      </a:lnTo>
                      <a:lnTo>
                        <a:pt x="3541" y="320"/>
                      </a:lnTo>
                      <a:lnTo>
                        <a:pt x="3547" y="323"/>
                      </a:lnTo>
                      <a:lnTo>
                        <a:pt x="3553" y="323"/>
                      </a:lnTo>
                      <a:lnTo>
                        <a:pt x="3552" y="320"/>
                      </a:lnTo>
                      <a:lnTo>
                        <a:pt x="3548" y="317"/>
                      </a:lnTo>
                      <a:lnTo>
                        <a:pt x="3547" y="314"/>
                      </a:lnTo>
                      <a:lnTo>
                        <a:pt x="3548" y="312"/>
                      </a:lnTo>
                      <a:lnTo>
                        <a:pt x="3550" y="311"/>
                      </a:lnTo>
                      <a:lnTo>
                        <a:pt x="3544" y="308"/>
                      </a:lnTo>
                      <a:lnTo>
                        <a:pt x="3537" y="307"/>
                      </a:lnTo>
                      <a:lnTo>
                        <a:pt x="3539" y="307"/>
                      </a:lnTo>
                      <a:lnTo>
                        <a:pt x="3541" y="307"/>
                      </a:lnTo>
                      <a:lnTo>
                        <a:pt x="3539" y="306"/>
                      </a:lnTo>
                      <a:lnTo>
                        <a:pt x="3537" y="304"/>
                      </a:lnTo>
                      <a:lnTo>
                        <a:pt x="3536" y="304"/>
                      </a:lnTo>
                      <a:lnTo>
                        <a:pt x="3532" y="303"/>
                      </a:lnTo>
                      <a:lnTo>
                        <a:pt x="3528" y="306"/>
                      </a:lnTo>
                      <a:lnTo>
                        <a:pt x="3527" y="303"/>
                      </a:lnTo>
                      <a:lnTo>
                        <a:pt x="3525" y="301"/>
                      </a:lnTo>
                      <a:lnTo>
                        <a:pt x="3520" y="299"/>
                      </a:lnTo>
                      <a:lnTo>
                        <a:pt x="3515" y="297"/>
                      </a:lnTo>
                      <a:lnTo>
                        <a:pt x="3504" y="295"/>
                      </a:lnTo>
                      <a:lnTo>
                        <a:pt x="3500" y="295"/>
                      </a:lnTo>
                      <a:lnTo>
                        <a:pt x="3497" y="293"/>
                      </a:lnTo>
                      <a:lnTo>
                        <a:pt x="3488" y="291"/>
                      </a:lnTo>
                      <a:lnTo>
                        <a:pt x="3479" y="287"/>
                      </a:lnTo>
                      <a:lnTo>
                        <a:pt x="3473" y="285"/>
                      </a:lnTo>
                      <a:lnTo>
                        <a:pt x="3467" y="284"/>
                      </a:lnTo>
                      <a:lnTo>
                        <a:pt x="3453" y="284"/>
                      </a:lnTo>
                      <a:lnTo>
                        <a:pt x="3451" y="284"/>
                      </a:lnTo>
                      <a:lnTo>
                        <a:pt x="3448" y="282"/>
                      </a:lnTo>
                      <a:lnTo>
                        <a:pt x="3445" y="282"/>
                      </a:lnTo>
                      <a:lnTo>
                        <a:pt x="3443" y="282"/>
                      </a:lnTo>
                      <a:lnTo>
                        <a:pt x="3451" y="284"/>
                      </a:lnTo>
                      <a:lnTo>
                        <a:pt x="3458" y="285"/>
                      </a:lnTo>
                      <a:lnTo>
                        <a:pt x="3451" y="286"/>
                      </a:lnTo>
                      <a:lnTo>
                        <a:pt x="3447" y="285"/>
                      </a:lnTo>
                      <a:lnTo>
                        <a:pt x="3442" y="284"/>
                      </a:lnTo>
                      <a:lnTo>
                        <a:pt x="3445" y="287"/>
                      </a:lnTo>
                      <a:lnTo>
                        <a:pt x="3442" y="286"/>
                      </a:lnTo>
                      <a:lnTo>
                        <a:pt x="3438" y="285"/>
                      </a:lnTo>
                      <a:lnTo>
                        <a:pt x="3437" y="282"/>
                      </a:lnTo>
                      <a:lnTo>
                        <a:pt x="3437" y="282"/>
                      </a:lnTo>
                      <a:lnTo>
                        <a:pt x="3440" y="282"/>
                      </a:lnTo>
                      <a:lnTo>
                        <a:pt x="3435" y="282"/>
                      </a:lnTo>
                      <a:lnTo>
                        <a:pt x="3430" y="282"/>
                      </a:lnTo>
                      <a:lnTo>
                        <a:pt x="3427" y="281"/>
                      </a:lnTo>
                      <a:lnTo>
                        <a:pt x="3425" y="280"/>
                      </a:lnTo>
                      <a:lnTo>
                        <a:pt x="3415" y="280"/>
                      </a:lnTo>
                      <a:lnTo>
                        <a:pt x="3405" y="281"/>
                      </a:lnTo>
                      <a:lnTo>
                        <a:pt x="3408" y="281"/>
                      </a:lnTo>
                      <a:lnTo>
                        <a:pt x="3413" y="282"/>
                      </a:lnTo>
                      <a:lnTo>
                        <a:pt x="3424" y="286"/>
                      </a:lnTo>
                      <a:lnTo>
                        <a:pt x="3429" y="288"/>
                      </a:lnTo>
                      <a:lnTo>
                        <a:pt x="3432" y="290"/>
                      </a:lnTo>
                      <a:lnTo>
                        <a:pt x="3435" y="292"/>
                      </a:lnTo>
                      <a:lnTo>
                        <a:pt x="3434" y="295"/>
                      </a:lnTo>
                      <a:lnTo>
                        <a:pt x="3437" y="296"/>
                      </a:lnTo>
                      <a:lnTo>
                        <a:pt x="3441" y="297"/>
                      </a:lnTo>
                      <a:lnTo>
                        <a:pt x="3448" y="298"/>
                      </a:lnTo>
                      <a:lnTo>
                        <a:pt x="3452" y="302"/>
                      </a:lnTo>
                      <a:lnTo>
                        <a:pt x="3454" y="306"/>
                      </a:lnTo>
                      <a:lnTo>
                        <a:pt x="3452" y="304"/>
                      </a:lnTo>
                      <a:lnTo>
                        <a:pt x="3447" y="301"/>
                      </a:lnTo>
                      <a:lnTo>
                        <a:pt x="3442" y="299"/>
                      </a:lnTo>
                      <a:lnTo>
                        <a:pt x="3441" y="299"/>
                      </a:lnTo>
                      <a:lnTo>
                        <a:pt x="3441" y="301"/>
                      </a:lnTo>
                      <a:lnTo>
                        <a:pt x="3437" y="301"/>
                      </a:lnTo>
                      <a:lnTo>
                        <a:pt x="3432" y="298"/>
                      </a:lnTo>
                      <a:lnTo>
                        <a:pt x="3429" y="296"/>
                      </a:lnTo>
                      <a:lnTo>
                        <a:pt x="3424" y="295"/>
                      </a:lnTo>
                      <a:lnTo>
                        <a:pt x="3421" y="293"/>
                      </a:lnTo>
                      <a:lnTo>
                        <a:pt x="3418" y="292"/>
                      </a:lnTo>
                      <a:lnTo>
                        <a:pt x="3415" y="291"/>
                      </a:lnTo>
                      <a:lnTo>
                        <a:pt x="3415" y="291"/>
                      </a:lnTo>
                      <a:lnTo>
                        <a:pt x="3418" y="291"/>
                      </a:lnTo>
                      <a:lnTo>
                        <a:pt x="3406" y="285"/>
                      </a:lnTo>
                      <a:lnTo>
                        <a:pt x="3397" y="280"/>
                      </a:lnTo>
                      <a:lnTo>
                        <a:pt x="3389" y="274"/>
                      </a:lnTo>
                      <a:lnTo>
                        <a:pt x="3384" y="271"/>
                      </a:lnTo>
                      <a:lnTo>
                        <a:pt x="3379" y="270"/>
                      </a:lnTo>
                      <a:lnTo>
                        <a:pt x="3382" y="272"/>
                      </a:lnTo>
                      <a:lnTo>
                        <a:pt x="3381" y="272"/>
                      </a:lnTo>
                      <a:lnTo>
                        <a:pt x="3378" y="271"/>
                      </a:lnTo>
                      <a:lnTo>
                        <a:pt x="3372" y="269"/>
                      </a:lnTo>
                      <a:lnTo>
                        <a:pt x="3365" y="265"/>
                      </a:lnTo>
                      <a:lnTo>
                        <a:pt x="3361" y="263"/>
                      </a:lnTo>
                      <a:lnTo>
                        <a:pt x="3346" y="259"/>
                      </a:lnTo>
                      <a:lnTo>
                        <a:pt x="3331" y="256"/>
                      </a:lnTo>
                      <a:lnTo>
                        <a:pt x="3317" y="252"/>
                      </a:lnTo>
                      <a:lnTo>
                        <a:pt x="3311" y="252"/>
                      </a:lnTo>
                      <a:lnTo>
                        <a:pt x="3306" y="252"/>
                      </a:lnTo>
                      <a:lnTo>
                        <a:pt x="3301" y="249"/>
                      </a:lnTo>
                      <a:lnTo>
                        <a:pt x="3298" y="248"/>
                      </a:lnTo>
                      <a:lnTo>
                        <a:pt x="3295" y="249"/>
                      </a:lnTo>
                      <a:lnTo>
                        <a:pt x="3293" y="249"/>
                      </a:lnTo>
                      <a:lnTo>
                        <a:pt x="3291" y="248"/>
                      </a:lnTo>
                      <a:lnTo>
                        <a:pt x="3291" y="247"/>
                      </a:lnTo>
                      <a:lnTo>
                        <a:pt x="3291" y="247"/>
                      </a:lnTo>
                      <a:lnTo>
                        <a:pt x="3293" y="247"/>
                      </a:lnTo>
                      <a:lnTo>
                        <a:pt x="3287" y="245"/>
                      </a:lnTo>
                      <a:lnTo>
                        <a:pt x="3284" y="247"/>
                      </a:lnTo>
                      <a:lnTo>
                        <a:pt x="3279" y="245"/>
                      </a:lnTo>
                      <a:lnTo>
                        <a:pt x="3275" y="244"/>
                      </a:lnTo>
                      <a:lnTo>
                        <a:pt x="3271" y="242"/>
                      </a:lnTo>
                      <a:lnTo>
                        <a:pt x="3261" y="240"/>
                      </a:lnTo>
                      <a:lnTo>
                        <a:pt x="3256" y="239"/>
                      </a:lnTo>
                      <a:lnTo>
                        <a:pt x="3252" y="237"/>
                      </a:lnTo>
                      <a:lnTo>
                        <a:pt x="3259" y="239"/>
                      </a:lnTo>
                      <a:lnTo>
                        <a:pt x="3247" y="234"/>
                      </a:lnTo>
                      <a:lnTo>
                        <a:pt x="3233" y="232"/>
                      </a:lnTo>
                      <a:lnTo>
                        <a:pt x="3206" y="226"/>
                      </a:lnTo>
                      <a:lnTo>
                        <a:pt x="3196" y="223"/>
                      </a:lnTo>
                      <a:lnTo>
                        <a:pt x="3186" y="221"/>
                      </a:lnTo>
                      <a:lnTo>
                        <a:pt x="3181" y="220"/>
                      </a:lnTo>
                      <a:lnTo>
                        <a:pt x="3177" y="220"/>
                      </a:lnTo>
                      <a:lnTo>
                        <a:pt x="3172" y="218"/>
                      </a:lnTo>
                      <a:lnTo>
                        <a:pt x="3167" y="216"/>
                      </a:lnTo>
                      <a:lnTo>
                        <a:pt x="3172" y="217"/>
                      </a:lnTo>
                      <a:lnTo>
                        <a:pt x="3177" y="218"/>
                      </a:lnTo>
                      <a:lnTo>
                        <a:pt x="3168" y="215"/>
                      </a:lnTo>
                      <a:lnTo>
                        <a:pt x="3158" y="215"/>
                      </a:lnTo>
                      <a:lnTo>
                        <a:pt x="3148" y="213"/>
                      </a:lnTo>
                      <a:lnTo>
                        <a:pt x="3140" y="212"/>
                      </a:lnTo>
                      <a:lnTo>
                        <a:pt x="3120" y="209"/>
                      </a:lnTo>
                      <a:lnTo>
                        <a:pt x="3102" y="205"/>
                      </a:lnTo>
                      <a:lnTo>
                        <a:pt x="3092" y="204"/>
                      </a:lnTo>
                      <a:lnTo>
                        <a:pt x="3083" y="204"/>
                      </a:lnTo>
                      <a:lnTo>
                        <a:pt x="3066" y="204"/>
                      </a:lnTo>
                      <a:lnTo>
                        <a:pt x="3047" y="204"/>
                      </a:lnTo>
                      <a:lnTo>
                        <a:pt x="3039" y="202"/>
                      </a:lnTo>
                      <a:lnTo>
                        <a:pt x="3035" y="201"/>
                      </a:lnTo>
                      <a:lnTo>
                        <a:pt x="3030" y="201"/>
                      </a:lnTo>
                      <a:lnTo>
                        <a:pt x="3039" y="204"/>
                      </a:lnTo>
                      <a:lnTo>
                        <a:pt x="3035" y="205"/>
                      </a:lnTo>
                      <a:lnTo>
                        <a:pt x="3031" y="205"/>
                      </a:lnTo>
                      <a:lnTo>
                        <a:pt x="3028" y="204"/>
                      </a:lnTo>
                      <a:lnTo>
                        <a:pt x="3024" y="202"/>
                      </a:lnTo>
                      <a:lnTo>
                        <a:pt x="3017" y="200"/>
                      </a:lnTo>
                      <a:lnTo>
                        <a:pt x="3009" y="200"/>
                      </a:lnTo>
                      <a:lnTo>
                        <a:pt x="2998" y="199"/>
                      </a:lnTo>
                      <a:lnTo>
                        <a:pt x="2987" y="197"/>
                      </a:lnTo>
                      <a:lnTo>
                        <a:pt x="2975" y="196"/>
                      </a:lnTo>
                      <a:lnTo>
                        <a:pt x="2964" y="196"/>
                      </a:lnTo>
                      <a:lnTo>
                        <a:pt x="2972" y="200"/>
                      </a:lnTo>
                      <a:lnTo>
                        <a:pt x="2980" y="205"/>
                      </a:lnTo>
                      <a:lnTo>
                        <a:pt x="2977" y="206"/>
                      </a:lnTo>
                      <a:lnTo>
                        <a:pt x="2977" y="209"/>
                      </a:lnTo>
                      <a:lnTo>
                        <a:pt x="2977" y="210"/>
                      </a:lnTo>
                      <a:lnTo>
                        <a:pt x="2980" y="211"/>
                      </a:lnTo>
                      <a:lnTo>
                        <a:pt x="2987" y="211"/>
                      </a:lnTo>
                      <a:lnTo>
                        <a:pt x="2993" y="212"/>
                      </a:lnTo>
                      <a:lnTo>
                        <a:pt x="3006" y="218"/>
                      </a:lnTo>
                      <a:lnTo>
                        <a:pt x="3018" y="226"/>
                      </a:lnTo>
                      <a:lnTo>
                        <a:pt x="3015" y="228"/>
                      </a:lnTo>
                      <a:lnTo>
                        <a:pt x="3022" y="233"/>
                      </a:lnTo>
                      <a:lnTo>
                        <a:pt x="3015" y="229"/>
                      </a:lnTo>
                      <a:lnTo>
                        <a:pt x="3018" y="232"/>
                      </a:lnTo>
                      <a:lnTo>
                        <a:pt x="3022" y="233"/>
                      </a:lnTo>
                      <a:lnTo>
                        <a:pt x="3015" y="233"/>
                      </a:lnTo>
                      <a:lnTo>
                        <a:pt x="3009" y="233"/>
                      </a:lnTo>
                      <a:lnTo>
                        <a:pt x="3003" y="233"/>
                      </a:lnTo>
                      <a:lnTo>
                        <a:pt x="2997" y="233"/>
                      </a:lnTo>
                      <a:lnTo>
                        <a:pt x="2990" y="229"/>
                      </a:lnTo>
                      <a:lnTo>
                        <a:pt x="2982" y="224"/>
                      </a:lnTo>
                      <a:lnTo>
                        <a:pt x="2972" y="223"/>
                      </a:lnTo>
                      <a:lnTo>
                        <a:pt x="2964" y="222"/>
                      </a:lnTo>
                      <a:lnTo>
                        <a:pt x="2954" y="221"/>
                      </a:lnTo>
                      <a:lnTo>
                        <a:pt x="2945" y="216"/>
                      </a:lnTo>
                      <a:lnTo>
                        <a:pt x="2944" y="215"/>
                      </a:lnTo>
                      <a:lnTo>
                        <a:pt x="2940" y="212"/>
                      </a:lnTo>
                      <a:lnTo>
                        <a:pt x="2932" y="209"/>
                      </a:lnTo>
                      <a:lnTo>
                        <a:pt x="2924" y="206"/>
                      </a:lnTo>
                      <a:lnTo>
                        <a:pt x="2921" y="206"/>
                      </a:lnTo>
                      <a:lnTo>
                        <a:pt x="2919" y="209"/>
                      </a:lnTo>
                      <a:lnTo>
                        <a:pt x="2915" y="212"/>
                      </a:lnTo>
                      <a:lnTo>
                        <a:pt x="2908" y="213"/>
                      </a:lnTo>
                      <a:lnTo>
                        <a:pt x="2901" y="213"/>
                      </a:lnTo>
                      <a:lnTo>
                        <a:pt x="2895" y="212"/>
                      </a:lnTo>
                      <a:lnTo>
                        <a:pt x="2884" y="211"/>
                      </a:lnTo>
                      <a:lnTo>
                        <a:pt x="2873" y="211"/>
                      </a:lnTo>
                      <a:lnTo>
                        <a:pt x="2863" y="210"/>
                      </a:lnTo>
                      <a:lnTo>
                        <a:pt x="2852" y="209"/>
                      </a:lnTo>
                      <a:lnTo>
                        <a:pt x="2846" y="207"/>
                      </a:lnTo>
                      <a:lnTo>
                        <a:pt x="2840" y="207"/>
                      </a:lnTo>
                      <a:lnTo>
                        <a:pt x="2828" y="209"/>
                      </a:lnTo>
                      <a:lnTo>
                        <a:pt x="2806" y="209"/>
                      </a:lnTo>
                      <a:lnTo>
                        <a:pt x="2800" y="210"/>
                      </a:lnTo>
                      <a:lnTo>
                        <a:pt x="2795" y="211"/>
                      </a:lnTo>
                      <a:lnTo>
                        <a:pt x="2790" y="211"/>
                      </a:lnTo>
                      <a:lnTo>
                        <a:pt x="2784" y="211"/>
                      </a:lnTo>
                      <a:lnTo>
                        <a:pt x="2776" y="209"/>
                      </a:lnTo>
                      <a:lnTo>
                        <a:pt x="2766" y="207"/>
                      </a:lnTo>
                      <a:lnTo>
                        <a:pt x="2757" y="206"/>
                      </a:lnTo>
                      <a:lnTo>
                        <a:pt x="2749" y="202"/>
                      </a:lnTo>
                      <a:lnTo>
                        <a:pt x="2747" y="200"/>
                      </a:lnTo>
                      <a:lnTo>
                        <a:pt x="2746" y="197"/>
                      </a:lnTo>
                      <a:lnTo>
                        <a:pt x="2742" y="196"/>
                      </a:lnTo>
                      <a:lnTo>
                        <a:pt x="2746" y="196"/>
                      </a:lnTo>
                      <a:lnTo>
                        <a:pt x="2735" y="189"/>
                      </a:lnTo>
                      <a:lnTo>
                        <a:pt x="2730" y="185"/>
                      </a:lnTo>
                      <a:lnTo>
                        <a:pt x="2724" y="183"/>
                      </a:lnTo>
                      <a:lnTo>
                        <a:pt x="2712" y="179"/>
                      </a:lnTo>
                      <a:lnTo>
                        <a:pt x="2699" y="175"/>
                      </a:lnTo>
                      <a:lnTo>
                        <a:pt x="2671" y="172"/>
                      </a:lnTo>
                      <a:lnTo>
                        <a:pt x="2643" y="169"/>
                      </a:lnTo>
                      <a:lnTo>
                        <a:pt x="2629" y="169"/>
                      </a:lnTo>
                      <a:lnTo>
                        <a:pt x="2616" y="170"/>
                      </a:lnTo>
                      <a:lnTo>
                        <a:pt x="2590" y="175"/>
                      </a:lnTo>
                      <a:lnTo>
                        <a:pt x="2578" y="177"/>
                      </a:lnTo>
                      <a:lnTo>
                        <a:pt x="2564" y="177"/>
                      </a:lnTo>
                      <a:lnTo>
                        <a:pt x="2552" y="175"/>
                      </a:lnTo>
                      <a:lnTo>
                        <a:pt x="2540" y="172"/>
                      </a:lnTo>
                      <a:lnTo>
                        <a:pt x="2544" y="173"/>
                      </a:lnTo>
                      <a:lnTo>
                        <a:pt x="2549" y="172"/>
                      </a:lnTo>
                      <a:lnTo>
                        <a:pt x="2543" y="169"/>
                      </a:lnTo>
                      <a:lnTo>
                        <a:pt x="2537" y="165"/>
                      </a:lnTo>
                      <a:lnTo>
                        <a:pt x="2525" y="163"/>
                      </a:lnTo>
                      <a:lnTo>
                        <a:pt x="2516" y="162"/>
                      </a:lnTo>
                      <a:lnTo>
                        <a:pt x="2511" y="162"/>
                      </a:lnTo>
                      <a:lnTo>
                        <a:pt x="2508" y="163"/>
                      </a:lnTo>
                      <a:lnTo>
                        <a:pt x="2503" y="165"/>
                      </a:lnTo>
                      <a:lnTo>
                        <a:pt x="2498" y="165"/>
                      </a:lnTo>
                      <a:lnTo>
                        <a:pt x="2501" y="163"/>
                      </a:lnTo>
                      <a:lnTo>
                        <a:pt x="2503" y="161"/>
                      </a:lnTo>
                      <a:lnTo>
                        <a:pt x="2501" y="159"/>
                      </a:lnTo>
                      <a:lnTo>
                        <a:pt x="2496" y="158"/>
                      </a:lnTo>
                      <a:lnTo>
                        <a:pt x="2493" y="158"/>
                      </a:lnTo>
                      <a:lnTo>
                        <a:pt x="2489" y="159"/>
                      </a:lnTo>
                      <a:lnTo>
                        <a:pt x="2487" y="158"/>
                      </a:lnTo>
                      <a:lnTo>
                        <a:pt x="2483" y="156"/>
                      </a:lnTo>
                      <a:lnTo>
                        <a:pt x="2479" y="154"/>
                      </a:lnTo>
                      <a:lnTo>
                        <a:pt x="2476" y="154"/>
                      </a:lnTo>
                      <a:lnTo>
                        <a:pt x="2468" y="154"/>
                      </a:lnTo>
                      <a:lnTo>
                        <a:pt x="2460" y="154"/>
                      </a:lnTo>
                      <a:lnTo>
                        <a:pt x="2457" y="154"/>
                      </a:lnTo>
                      <a:lnTo>
                        <a:pt x="2455" y="151"/>
                      </a:lnTo>
                      <a:lnTo>
                        <a:pt x="2458" y="152"/>
                      </a:lnTo>
                      <a:lnTo>
                        <a:pt x="2460" y="151"/>
                      </a:lnTo>
                      <a:lnTo>
                        <a:pt x="2460" y="148"/>
                      </a:lnTo>
                      <a:lnTo>
                        <a:pt x="2466" y="150"/>
                      </a:lnTo>
                      <a:lnTo>
                        <a:pt x="2472" y="151"/>
                      </a:lnTo>
                      <a:lnTo>
                        <a:pt x="2473" y="151"/>
                      </a:lnTo>
                      <a:lnTo>
                        <a:pt x="2474" y="150"/>
                      </a:lnTo>
                      <a:lnTo>
                        <a:pt x="2472" y="147"/>
                      </a:lnTo>
                      <a:lnTo>
                        <a:pt x="2469" y="146"/>
                      </a:lnTo>
                      <a:lnTo>
                        <a:pt x="2467" y="145"/>
                      </a:lnTo>
                      <a:lnTo>
                        <a:pt x="2447" y="140"/>
                      </a:lnTo>
                      <a:lnTo>
                        <a:pt x="2428" y="137"/>
                      </a:lnTo>
                      <a:lnTo>
                        <a:pt x="2404" y="136"/>
                      </a:lnTo>
                      <a:lnTo>
                        <a:pt x="2401" y="137"/>
                      </a:lnTo>
                      <a:lnTo>
                        <a:pt x="2399" y="140"/>
                      </a:lnTo>
                      <a:lnTo>
                        <a:pt x="2398" y="142"/>
                      </a:lnTo>
                      <a:lnTo>
                        <a:pt x="2398" y="147"/>
                      </a:lnTo>
                      <a:lnTo>
                        <a:pt x="2397" y="150"/>
                      </a:lnTo>
                      <a:lnTo>
                        <a:pt x="2394" y="151"/>
                      </a:lnTo>
                      <a:lnTo>
                        <a:pt x="2387" y="153"/>
                      </a:lnTo>
                      <a:lnTo>
                        <a:pt x="2378" y="153"/>
                      </a:lnTo>
                      <a:lnTo>
                        <a:pt x="2375" y="152"/>
                      </a:lnTo>
                      <a:lnTo>
                        <a:pt x="2372" y="151"/>
                      </a:lnTo>
                      <a:lnTo>
                        <a:pt x="2375" y="151"/>
                      </a:lnTo>
                      <a:lnTo>
                        <a:pt x="2375" y="151"/>
                      </a:lnTo>
                      <a:lnTo>
                        <a:pt x="2373" y="150"/>
                      </a:lnTo>
                      <a:lnTo>
                        <a:pt x="2370" y="147"/>
                      </a:lnTo>
                      <a:lnTo>
                        <a:pt x="2367" y="146"/>
                      </a:lnTo>
                      <a:lnTo>
                        <a:pt x="2376" y="147"/>
                      </a:lnTo>
                      <a:lnTo>
                        <a:pt x="2385" y="147"/>
                      </a:lnTo>
                      <a:lnTo>
                        <a:pt x="2383" y="146"/>
                      </a:lnTo>
                      <a:lnTo>
                        <a:pt x="2382" y="145"/>
                      </a:lnTo>
                      <a:lnTo>
                        <a:pt x="2377" y="143"/>
                      </a:lnTo>
                      <a:lnTo>
                        <a:pt x="2376" y="142"/>
                      </a:lnTo>
                      <a:lnTo>
                        <a:pt x="2375" y="141"/>
                      </a:lnTo>
                      <a:lnTo>
                        <a:pt x="2375" y="140"/>
                      </a:lnTo>
                      <a:lnTo>
                        <a:pt x="2372" y="138"/>
                      </a:lnTo>
                      <a:lnTo>
                        <a:pt x="2376" y="138"/>
                      </a:lnTo>
                      <a:lnTo>
                        <a:pt x="2378" y="140"/>
                      </a:lnTo>
                      <a:lnTo>
                        <a:pt x="2382" y="142"/>
                      </a:lnTo>
                      <a:lnTo>
                        <a:pt x="2385" y="143"/>
                      </a:lnTo>
                      <a:lnTo>
                        <a:pt x="2385" y="141"/>
                      </a:lnTo>
                      <a:lnTo>
                        <a:pt x="2387" y="141"/>
                      </a:lnTo>
                      <a:lnTo>
                        <a:pt x="2389" y="143"/>
                      </a:lnTo>
                      <a:lnTo>
                        <a:pt x="2391" y="147"/>
                      </a:lnTo>
                      <a:lnTo>
                        <a:pt x="2392" y="148"/>
                      </a:lnTo>
                      <a:lnTo>
                        <a:pt x="2394" y="142"/>
                      </a:lnTo>
                      <a:lnTo>
                        <a:pt x="2392" y="138"/>
                      </a:lnTo>
                      <a:lnTo>
                        <a:pt x="2388" y="137"/>
                      </a:lnTo>
                      <a:lnTo>
                        <a:pt x="2383" y="136"/>
                      </a:lnTo>
                      <a:lnTo>
                        <a:pt x="2375" y="137"/>
                      </a:lnTo>
                      <a:lnTo>
                        <a:pt x="2364" y="137"/>
                      </a:lnTo>
                      <a:lnTo>
                        <a:pt x="2354" y="140"/>
                      </a:lnTo>
                      <a:lnTo>
                        <a:pt x="2348" y="140"/>
                      </a:lnTo>
                      <a:lnTo>
                        <a:pt x="2342" y="137"/>
                      </a:lnTo>
                      <a:lnTo>
                        <a:pt x="2344" y="137"/>
                      </a:lnTo>
                      <a:lnTo>
                        <a:pt x="2348" y="138"/>
                      </a:lnTo>
                      <a:lnTo>
                        <a:pt x="2348" y="136"/>
                      </a:lnTo>
                      <a:lnTo>
                        <a:pt x="2349" y="135"/>
                      </a:lnTo>
                      <a:lnTo>
                        <a:pt x="2354" y="134"/>
                      </a:lnTo>
                      <a:lnTo>
                        <a:pt x="2360" y="134"/>
                      </a:lnTo>
                      <a:lnTo>
                        <a:pt x="2365" y="135"/>
                      </a:lnTo>
                      <a:lnTo>
                        <a:pt x="2383" y="136"/>
                      </a:lnTo>
                      <a:lnTo>
                        <a:pt x="2392" y="136"/>
                      </a:lnTo>
                      <a:lnTo>
                        <a:pt x="2375" y="131"/>
                      </a:lnTo>
                      <a:lnTo>
                        <a:pt x="2356" y="129"/>
                      </a:lnTo>
                      <a:lnTo>
                        <a:pt x="2337" y="129"/>
                      </a:lnTo>
                      <a:lnTo>
                        <a:pt x="2318" y="127"/>
                      </a:lnTo>
                      <a:lnTo>
                        <a:pt x="2280" y="126"/>
                      </a:lnTo>
                      <a:lnTo>
                        <a:pt x="2273" y="125"/>
                      </a:lnTo>
                      <a:lnTo>
                        <a:pt x="2264" y="124"/>
                      </a:lnTo>
                      <a:lnTo>
                        <a:pt x="2247" y="121"/>
                      </a:lnTo>
                      <a:lnTo>
                        <a:pt x="2252" y="124"/>
                      </a:lnTo>
                      <a:lnTo>
                        <a:pt x="2257" y="125"/>
                      </a:lnTo>
                      <a:lnTo>
                        <a:pt x="2262" y="127"/>
                      </a:lnTo>
                      <a:lnTo>
                        <a:pt x="2264" y="130"/>
                      </a:lnTo>
                      <a:lnTo>
                        <a:pt x="2268" y="130"/>
                      </a:lnTo>
                      <a:lnTo>
                        <a:pt x="2264" y="130"/>
                      </a:lnTo>
                      <a:lnTo>
                        <a:pt x="2259" y="131"/>
                      </a:lnTo>
                      <a:lnTo>
                        <a:pt x="2255" y="132"/>
                      </a:lnTo>
                      <a:lnTo>
                        <a:pt x="2252" y="132"/>
                      </a:lnTo>
                      <a:lnTo>
                        <a:pt x="2246" y="132"/>
                      </a:lnTo>
                      <a:lnTo>
                        <a:pt x="2239" y="132"/>
                      </a:lnTo>
                      <a:lnTo>
                        <a:pt x="2237" y="134"/>
                      </a:lnTo>
                      <a:lnTo>
                        <a:pt x="2238" y="136"/>
                      </a:lnTo>
                      <a:lnTo>
                        <a:pt x="2241" y="138"/>
                      </a:lnTo>
                      <a:lnTo>
                        <a:pt x="2244" y="141"/>
                      </a:lnTo>
                      <a:lnTo>
                        <a:pt x="2246" y="140"/>
                      </a:lnTo>
                      <a:lnTo>
                        <a:pt x="2248" y="140"/>
                      </a:lnTo>
                      <a:lnTo>
                        <a:pt x="2251" y="140"/>
                      </a:lnTo>
                      <a:lnTo>
                        <a:pt x="2253" y="140"/>
                      </a:lnTo>
                      <a:lnTo>
                        <a:pt x="2258" y="140"/>
                      </a:lnTo>
                      <a:lnTo>
                        <a:pt x="2263" y="140"/>
                      </a:lnTo>
                      <a:lnTo>
                        <a:pt x="2260" y="141"/>
                      </a:lnTo>
                      <a:lnTo>
                        <a:pt x="2257" y="141"/>
                      </a:lnTo>
                      <a:lnTo>
                        <a:pt x="2257" y="143"/>
                      </a:lnTo>
                      <a:lnTo>
                        <a:pt x="2259" y="146"/>
                      </a:lnTo>
                      <a:lnTo>
                        <a:pt x="2253" y="147"/>
                      </a:lnTo>
                      <a:lnTo>
                        <a:pt x="2269" y="152"/>
                      </a:lnTo>
                      <a:lnTo>
                        <a:pt x="2282" y="159"/>
                      </a:lnTo>
                      <a:lnTo>
                        <a:pt x="2278" y="158"/>
                      </a:lnTo>
                      <a:lnTo>
                        <a:pt x="2273" y="159"/>
                      </a:lnTo>
                      <a:lnTo>
                        <a:pt x="2268" y="159"/>
                      </a:lnTo>
                      <a:lnTo>
                        <a:pt x="2262" y="158"/>
                      </a:lnTo>
                      <a:lnTo>
                        <a:pt x="2259" y="157"/>
                      </a:lnTo>
                      <a:lnTo>
                        <a:pt x="2254" y="156"/>
                      </a:lnTo>
                      <a:lnTo>
                        <a:pt x="2251" y="156"/>
                      </a:lnTo>
                      <a:lnTo>
                        <a:pt x="2249" y="158"/>
                      </a:lnTo>
                      <a:lnTo>
                        <a:pt x="2247" y="156"/>
                      </a:lnTo>
                      <a:lnTo>
                        <a:pt x="2244" y="156"/>
                      </a:lnTo>
                      <a:lnTo>
                        <a:pt x="2239" y="156"/>
                      </a:lnTo>
                      <a:lnTo>
                        <a:pt x="2243" y="161"/>
                      </a:lnTo>
                      <a:lnTo>
                        <a:pt x="2246" y="162"/>
                      </a:lnTo>
                      <a:lnTo>
                        <a:pt x="2249" y="163"/>
                      </a:lnTo>
                      <a:lnTo>
                        <a:pt x="2254" y="163"/>
                      </a:lnTo>
                      <a:lnTo>
                        <a:pt x="2248" y="164"/>
                      </a:lnTo>
                      <a:lnTo>
                        <a:pt x="2252" y="165"/>
                      </a:lnTo>
                      <a:lnTo>
                        <a:pt x="2246" y="165"/>
                      </a:lnTo>
                      <a:lnTo>
                        <a:pt x="2249" y="167"/>
                      </a:lnTo>
                      <a:lnTo>
                        <a:pt x="2254" y="168"/>
                      </a:lnTo>
                      <a:lnTo>
                        <a:pt x="2242" y="165"/>
                      </a:lnTo>
                      <a:lnTo>
                        <a:pt x="2230" y="163"/>
                      </a:lnTo>
                      <a:lnTo>
                        <a:pt x="2217" y="159"/>
                      </a:lnTo>
                      <a:lnTo>
                        <a:pt x="2204" y="156"/>
                      </a:lnTo>
                      <a:lnTo>
                        <a:pt x="2198" y="156"/>
                      </a:lnTo>
                      <a:lnTo>
                        <a:pt x="2191" y="154"/>
                      </a:lnTo>
                      <a:lnTo>
                        <a:pt x="2188" y="156"/>
                      </a:lnTo>
                      <a:lnTo>
                        <a:pt x="2185" y="157"/>
                      </a:lnTo>
                      <a:lnTo>
                        <a:pt x="2183" y="158"/>
                      </a:lnTo>
                      <a:lnTo>
                        <a:pt x="2179" y="159"/>
                      </a:lnTo>
                      <a:lnTo>
                        <a:pt x="2178" y="159"/>
                      </a:lnTo>
                      <a:lnTo>
                        <a:pt x="2177" y="161"/>
                      </a:lnTo>
                      <a:lnTo>
                        <a:pt x="2179" y="164"/>
                      </a:lnTo>
                      <a:lnTo>
                        <a:pt x="2176" y="162"/>
                      </a:lnTo>
                      <a:lnTo>
                        <a:pt x="2169" y="161"/>
                      </a:lnTo>
                      <a:lnTo>
                        <a:pt x="2163" y="161"/>
                      </a:lnTo>
                      <a:lnTo>
                        <a:pt x="2157" y="161"/>
                      </a:lnTo>
                      <a:lnTo>
                        <a:pt x="2144" y="158"/>
                      </a:lnTo>
                      <a:lnTo>
                        <a:pt x="2130" y="153"/>
                      </a:lnTo>
                      <a:lnTo>
                        <a:pt x="2125" y="151"/>
                      </a:lnTo>
                      <a:lnTo>
                        <a:pt x="2120" y="148"/>
                      </a:lnTo>
                      <a:lnTo>
                        <a:pt x="2116" y="148"/>
                      </a:lnTo>
                      <a:lnTo>
                        <a:pt x="2115" y="150"/>
                      </a:lnTo>
                      <a:lnTo>
                        <a:pt x="2115" y="152"/>
                      </a:lnTo>
                      <a:lnTo>
                        <a:pt x="2118" y="157"/>
                      </a:lnTo>
                      <a:lnTo>
                        <a:pt x="2120" y="161"/>
                      </a:lnTo>
                      <a:lnTo>
                        <a:pt x="2124" y="164"/>
                      </a:lnTo>
                      <a:lnTo>
                        <a:pt x="2128" y="165"/>
                      </a:lnTo>
                      <a:lnTo>
                        <a:pt x="2126" y="167"/>
                      </a:lnTo>
                      <a:lnTo>
                        <a:pt x="2126" y="169"/>
                      </a:lnTo>
                      <a:lnTo>
                        <a:pt x="2126" y="175"/>
                      </a:lnTo>
                      <a:lnTo>
                        <a:pt x="2125" y="179"/>
                      </a:lnTo>
                      <a:lnTo>
                        <a:pt x="2124" y="180"/>
                      </a:lnTo>
                      <a:lnTo>
                        <a:pt x="2120" y="179"/>
                      </a:lnTo>
                      <a:lnTo>
                        <a:pt x="2108" y="175"/>
                      </a:lnTo>
                      <a:lnTo>
                        <a:pt x="2096" y="172"/>
                      </a:lnTo>
                      <a:lnTo>
                        <a:pt x="2088" y="169"/>
                      </a:lnTo>
                      <a:lnTo>
                        <a:pt x="2081" y="167"/>
                      </a:lnTo>
                      <a:lnTo>
                        <a:pt x="2073" y="164"/>
                      </a:lnTo>
                      <a:lnTo>
                        <a:pt x="2066" y="161"/>
                      </a:lnTo>
                      <a:lnTo>
                        <a:pt x="2060" y="158"/>
                      </a:lnTo>
                      <a:lnTo>
                        <a:pt x="2054" y="156"/>
                      </a:lnTo>
                      <a:lnTo>
                        <a:pt x="2050" y="156"/>
                      </a:lnTo>
                      <a:lnTo>
                        <a:pt x="2048" y="153"/>
                      </a:lnTo>
                      <a:lnTo>
                        <a:pt x="2053" y="152"/>
                      </a:lnTo>
                      <a:lnTo>
                        <a:pt x="2055" y="152"/>
                      </a:lnTo>
                      <a:lnTo>
                        <a:pt x="2057" y="152"/>
                      </a:lnTo>
                      <a:lnTo>
                        <a:pt x="2049" y="148"/>
                      </a:lnTo>
                      <a:lnTo>
                        <a:pt x="2040" y="145"/>
                      </a:lnTo>
                      <a:lnTo>
                        <a:pt x="2050" y="150"/>
                      </a:lnTo>
                      <a:lnTo>
                        <a:pt x="2046" y="152"/>
                      </a:lnTo>
                      <a:lnTo>
                        <a:pt x="2043" y="152"/>
                      </a:lnTo>
                      <a:lnTo>
                        <a:pt x="2033" y="148"/>
                      </a:lnTo>
                      <a:lnTo>
                        <a:pt x="2022" y="143"/>
                      </a:lnTo>
                      <a:lnTo>
                        <a:pt x="2018" y="141"/>
                      </a:lnTo>
                      <a:lnTo>
                        <a:pt x="2016" y="138"/>
                      </a:lnTo>
                      <a:lnTo>
                        <a:pt x="2023" y="141"/>
                      </a:lnTo>
                      <a:lnTo>
                        <a:pt x="2030" y="143"/>
                      </a:lnTo>
                      <a:lnTo>
                        <a:pt x="2038" y="143"/>
                      </a:lnTo>
                      <a:lnTo>
                        <a:pt x="2045" y="141"/>
                      </a:lnTo>
                      <a:lnTo>
                        <a:pt x="2043" y="141"/>
                      </a:lnTo>
                      <a:lnTo>
                        <a:pt x="2041" y="141"/>
                      </a:lnTo>
                      <a:lnTo>
                        <a:pt x="2043" y="140"/>
                      </a:lnTo>
                      <a:lnTo>
                        <a:pt x="2044" y="138"/>
                      </a:lnTo>
                      <a:lnTo>
                        <a:pt x="2037" y="136"/>
                      </a:lnTo>
                      <a:lnTo>
                        <a:pt x="2028" y="132"/>
                      </a:lnTo>
                      <a:lnTo>
                        <a:pt x="2019" y="132"/>
                      </a:lnTo>
                      <a:lnTo>
                        <a:pt x="2014" y="131"/>
                      </a:lnTo>
                      <a:lnTo>
                        <a:pt x="2009" y="130"/>
                      </a:lnTo>
                      <a:lnTo>
                        <a:pt x="2016" y="131"/>
                      </a:lnTo>
                      <a:lnTo>
                        <a:pt x="2018" y="130"/>
                      </a:lnTo>
                      <a:lnTo>
                        <a:pt x="2021" y="129"/>
                      </a:lnTo>
                      <a:lnTo>
                        <a:pt x="2017" y="127"/>
                      </a:lnTo>
                      <a:lnTo>
                        <a:pt x="2021" y="127"/>
                      </a:lnTo>
                      <a:lnTo>
                        <a:pt x="2023" y="126"/>
                      </a:lnTo>
                      <a:lnTo>
                        <a:pt x="2011" y="125"/>
                      </a:lnTo>
                      <a:lnTo>
                        <a:pt x="2016" y="124"/>
                      </a:lnTo>
                      <a:lnTo>
                        <a:pt x="2019" y="122"/>
                      </a:lnTo>
                      <a:lnTo>
                        <a:pt x="2009" y="122"/>
                      </a:lnTo>
                      <a:lnTo>
                        <a:pt x="2000" y="120"/>
                      </a:lnTo>
                      <a:lnTo>
                        <a:pt x="2005" y="120"/>
                      </a:lnTo>
                      <a:lnTo>
                        <a:pt x="2008" y="116"/>
                      </a:lnTo>
                      <a:lnTo>
                        <a:pt x="2006" y="115"/>
                      </a:lnTo>
                      <a:lnTo>
                        <a:pt x="2005" y="116"/>
                      </a:lnTo>
                      <a:lnTo>
                        <a:pt x="2003" y="116"/>
                      </a:lnTo>
                      <a:lnTo>
                        <a:pt x="2002" y="116"/>
                      </a:lnTo>
                      <a:lnTo>
                        <a:pt x="2001" y="115"/>
                      </a:lnTo>
                      <a:lnTo>
                        <a:pt x="2000" y="114"/>
                      </a:lnTo>
                      <a:lnTo>
                        <a:pt x="1996" y="113"/>
                      </a:lnTo>
                      <a:lnTo>
                        <a:pt x="1991" y="111"/>
                      </a:lnTo>
                      <a:lnTo>
                        <a:pt x="1987" y="111"/>
                      </a:lnTo>
                      <a:lnTo>
                        <a:pt x="1982" y="110"/>
                      </a:lnTo>
                      <a:lnTo>
                        <a:pt x="1976" y="108"/>
                      </a:lnTo>
                      <a:lnTo>
                        <a:pt x="1970" y="106"/>
                      </a:lnTo>
                      <a:lnTo>
                        <a:pt x="1965" y="105"/>
                      </a:lnTo>
                      <a:lnTo>
                        <a:pt x="1960" y="105"/>
                      </a:lnTo>
                      <a:lnTo>
                        <a:pt x="1955" y="104"/>
                      </a:lnTo>
                      <a:lnTo>
                        <a:pt x="1950" y="105"/>
                      </a:lnTo>
                      <a:lnTo>
                        <a:pt x="1953" y="106"/>
                      </a:lnTo>
                      <a:lnTo>
                        <a:pt x="1948" y="108"/>
                      </a:lnTo>
                      <a:lnTo>
                        <a:pt x="1943" y="108"/>
                      </a:lnTo>
                      <a:lnTo>
                        <a:pt x="1941" y="108"/>
                      </a:lnTo>
                      <a:lnTo>
                        <a:pt x="1938" y="108"/>
                      </a:lnTo>
                      <a:lnTo>
                        <a:pt x="1937" y="106"/>
                      </a:lnTo>
                      <a:lnTo>
                        <a:pt x="1938" y="105"/>
                      </a:lnTo>
                      <a:lnTo>
                        <a:pt x="1941" y="105"/>
                      </a:lnTo>
                      <a:lnTo>
                        <a:pt x="1937" y="104"/>
                      </a:lnTo>
                      <a:lnTo>
                        <a:pt x="1933" y="105"/>
                      </a:lnTo>
                      <a:lnTo>
                        <a:pt x="1930" y="106"/>
                      </a:lnTo>
                      <a:lnTo>
                        <a:pt x="1926" y="106"/>
                      </a:lnTo>
                      <a:lnTo>
                        <a:pt x="1925" y="105"/>
                      </a:lnTo>
                      <a:lnTo>
                        <a:pt x="1922" y="104"/>
                      </a:lnTo>
                      <a:lnTo>
                        <a:pt x="1916" y="103"/>
                      </a:lnTo>
                      <a:lnTo>
                        <a:pt x="1907" y="100"/>
                      </a:lnTo>
                      <a:lnTo>
                        <a:pt x="1898" y="99"/>
                      </a:lnTo>
                      <a:lnTo>
                        <a:pt x="1890" y="99"/>
                      </a:lnTo>
                      <a:lnTo>
                        <a:pt x="1887" y="99"/>
                      </a:lnTo>
                      <a:lnTo>
                        <a:pt x="1883" y="98"/>
                      </a:lnTo>
                      <a:lnTo>
                        <a:pt x="1887" y="100"/>
                      </a:lnTo>
                      <a:lnTo>
                        <a:pt x="1884" y="102"/>
                      </a:lnTo>
                      <a:lnTo>
                        <a:pt x="1882" y="102"/>
                      </a:lnTo>
                      <a:lnTo>
                        <a:pt x="1878" y="99"/>
                      </a:lnTo>
                      <a:lnTo>
                        <a:pt x="1879" y="104"/>
                      </a:lnTo>
                      <a:lnTo>
                        <a:pt x="1883" y="109"/>
                      </a:lnTo>
                      <a:lnTo>
                        <a:pt x="1889" y="111"/>
                      </a:lnTo>
                      <a:lnTo>
                        <a:pt x="1893" y="113"/>
                      </a:lnTo>
                      <a:lnTo>
                        <a:pt x="1891" y="114"/>
                      </a:lnTo>
                      <a:lnTo>
                        <a:pt x="1891" y="114"/>
                      </a:lnTo>
                      <a:lnTo>
                        <a:pt x="1893" y="116"/>
                      </a:lnTo>
                      <a:lnTo>
                        <a:pt x="1894" y="118"/>
                      </a:lnTo>
                      <a:lnTo>
                        <a:pt x="1893" y="119"/>
                      </a:lnTo>
                      <a:lnTo>
                        <a:pt x="1890" y="120"/>
                      </a:lnTo>
                      <a:lnTo>
                        <a:pt x="1884" y="120"/>
                      </a:lnTo>
                      <a:lnTo>
                        <a:pt x="1877" y="119"/>
                      </a:lnTo>
                      <a:lnTo>
                        <a:pt x="1861" y="120"/>
                      </a:lnTo>
                      <a:lnTo>
                        <a:pt x="1845" y="120"/>
                      </a:lnTo>
                      <a:lnTo>
                        <a:pt x="1826" y="119"/>
                      </a:lnTo>
                      <a:lnTo>
                        <a:pt x="1808" y="116"/>
                      </a:lnTo>
                      <a:lnTo>
                        <a:pt x="1794" y="115"/>
                      </a:lnTo>
                      <a:lnTo>
                        <a:pt x="1788" y="113"/>
                      </a:lnTo>
                      <a:lnTo>
                        <a:pt x="1782" y="108"/>
                      </a:lnTo>
                      <a:lnTo>
                        <a:pt x="1784" y="106"/>
                      </a:lnTo>
                      <a:lnTo>
                        <a:pt x="1787" y="106"/>
                      </a:lnTo>
                      <a:lnTo>
                        <a:pt x="1791" y="106"/>
                      </a:lnTo>
                      <a:lnTo>
                        <a:pt x="1788" y="104"/>
                      </a:lnTo>
                      <a:lnTo>
                        <a:pt x="1783" y="103"/>
                      </a:lnTo>
                      <a:lnTo>
                        <a:pt x="1771" y="102"/>
                      </a:lnTo>
                      <a:lnTo>
                        <a:pt x="1759" y="103"/>
                      </a:lnTo>
                      <a:lnTo>
                        <a:pt x="1754" y="103"/>
                      </a:lnTo>
                      <a:lnTo>
                        <a:pt x="1749" y="103"/>
                      </a:lnTo>
                      <a:lnTo>
                        <a:pt x="1732" y="102"/>
                      </a:lnTo>
                      <a:lnTo>
                        <a:pt x="1716" y="102"/>
                      </a:lnTo>
                      <a:lnTo>
                        <a:pt x="1698" y="103"/>
                      </a:lnTo>
                      <a:lnTo>
                        <a:pt x="1681" y="105"/>
                      </a:lnTo>
                      <a:lnTo>
                        <a:pt x="1689" y="108"/>
                      </a:lnTo>
                      <a:lnTo>
                        <a:pt x="1696" y="109"/>
                      </a:lnTo>
                      <a:lnTo>
                        <a:pt x="1692" y="110"/>
                      </a:lnTo>
                      <a:lnTo>
                        <a:pt x="1689" y="110"/>
                      </a:lnTo>
                      <a:lnTo>
                        <a:pt x="1686" y="109"/>
                      </a:lnTo>
                      <a:lnTo>
                        <a:pt x="1682" y="108"/>
                      </a:lnTo>
                      <a:lnTo>
                        <a:pt x="1680" y="106"/>
                      </a:lnTo>
                      <a:lnTo>
                        <a:pt x="1679" y="105"/>
                      </a:lnTo>
                      <a:lnTo>
                        <a:pt x="1679" y="104"/>
                      </a:lnTo>
                      <a:lnTo>
                        <a:pt x="1677" y="102"/>
                      </a:lnTo>
                      <a:lnTo>
                        <a:pt x="1673" y="99"/>
                      </a:lnTo>
                      <a:lnTo>
                        <a:pt x="1668" y="97"/>
                      </a:lnTo>
                      <a:lnTo>
                        <a:pt x="1657" y="93"/>
                      </a:lnTo>
                      <a:lnTo>
                        <a:pt x="1663" y="98"/>
                      </a:lnTo>
                      <a:lnTo>
                        <a:pt x="1659" y="100"/>
                      </a:lnTo>
                      <a:lnTo>
                        <a:pt x="1654" y="100"/>
                      </a:lnTo>
                      <a:lnTo>
                        <a:pt x="1648" y="100"/>
                      </a:lnTo>
                      <a:lnTo>
                        <a:pt x="1643" y="100"/>
                      </a:lnTo>
                      <a:lnTo>
                        <a:pt x="1641" y="99"/>
                      </a:lnTo>
                      <a:lnTo>
                        <a:pt x="1638" y="99"/>
                      </a:lnTo>
                      <a:lnTo>
                        <a:pt x="1631" y="95"/>
                      </a:lnTo>
                      <a:lnTo>
                        <a:pt x="1628" y="94"/>
                      </a:lnTo>
                      <a:lnTo>
                        <a:pt x="1627" y="93"/>
                      </a:lnTo>
                      <a:lnTo>
                        <a:pt x="1626" y="92"/>
                      </a:lnTo>
                      <a:lnTo>
                        <a:pt x="1628" y="92"/>
                      </a:lnTo>
                      <a:lnTo>
                        <a:pt x="1625" y="90"/>
                      </a:lnTo>
                      <a:lnTo>
                        <a:pt x="1623" y="90"/>
                      </a:lnTo>
                      <a:lnTo>
                        <a:pt x="1622" y="93"/>
                      </a:lnTo>
                      <a:lnTo>
                        <a:pt x="1621" y="94"/>
                      </a:lnTo>
                      <a:lnTo>
                        <a:pt x="1617" y="94"/>
                      </a:lnTo>
                      <a:lnTo>
                        <a:pt x="1614" y="93"/>
                      </a:lnTo>
                      <a:lnTo>
                        <a:pt x="1611" y="92"/>
                      </a:lnTo>
                      <a:lnTo>
                        <a:pt x="1609" y="92"/>
                      </a:lnTo>
                      <a:lnTo>
                        <a:pt x="1605" y="92"/>
                      </a:lnTo>
                      <a:lnTo>
                        <a:pt x="1601" y="92"/>
                      </a:lnTo>
                      <a:lnTo>
                        <a:pt x="1599" y="93"/>
                      </a:lnTo>
                      <a:lnTo>
                        <a:pt x="1598" y="95"/>
                      </a:lnTo>
                      <a:lnTo>
                        <a:pt x="1596" y="95"/>
                      </a:lnTo>
                      <a:lnTo>
                        <a:pt x="1595" y="97"/>
                      </a:lnTo>
                      <a:lnTo>
                        <a:pt x="1598" y="100"/>
                      </a:lnTo>
                      <a:lnTo>
                        <a:pt x="1601" y="102"/>
                      </a:lnTo>
                      <a:lnTo>
                        <a:pt x="1605" y="100"/>
                      </a:lnTo>
                      <a:lnTo>
                        <a:pt x="1609" y="100"/>
                      </a:lnTo>
                      <a:lnTo>
                        <a:pt x="1617" y="98"/>
                      </a:lnTo>
                      <a:lnTo>
                        <a:pt x="1621" y="98"/>
                      </a:lnTo>
                      <a:lnTo>
                        <a:pt x="1625" y="100"/>
                      </a:lnTo>
                      <a:lnTo>
                        <a:pt x="1611" y="104"/>
                      </a:lnTo>
                      <a:lnTo>
                        <a:pt x="1604" y="105"/>
                      </a:lnTo>
                      <a:lnTo>
                        <a:pt x="1596" y="104"/>
                      </a:lnTo>
                      <a:lnTo>
                        <a:pt x="1601" y="106"/>
                      </a:lnTo>
                      <a:lnTo>
                        <a:pt x="1599" y="106"/>
                      </a:lnTo>
                      <a:lnTo>
                        <a:pt x="1596" y="108"/>
                      </a:lnTo>
                      <a:lnTo>
                        <a:pt x="1593" y="109"/>
                      </a:lnTo>
                      <a:lnTo>
                        <a:pt x="1590" y="110"/>
                      </a:lnTo>
                      <a:lnTo>
                        <a:pt x="1580" y="110"/>
                      </a:lnTo>
                      <a:lnTo>
                        <a:pt x="1583" y="111"/>
                      </a:lnTo>
                      <a:lnTo>
                        <a:pt x="1583" y="111"/>
                      </a:lnTo>
                      <a:lnTo>
                        <a:pt x="1580" y="113"/>
                      </a:lnTo>
                      <a:lnTo>
                        <a:pt x="1575" y="114"/>
                      </a:lnTo>
                      <a:lnTo>
                        <a:pt x="1573" y="114"/>
                      </a:lnTo>
                      <a:lnTo>
                        <a:pt x="1566" y="114"/>
                      </a:lnTo>
                      <a:lnTo>
                        <a:pt x="1558" y="114"/>
                      </a:lnTo>
                      <a:lnTo>
                        <a:pt x="1552" y="114"/>
                      </a:lnTo>
                      <a:lnTo>
                        <a:pt x="1547" y="114"/>
                      </a:lnTo>
                      <a:lnTo>
                        <a:pt x="1545" y="114"/>
                      </a:lnTo>
                      <a:lnTo>
                        <a:pt x="1545" y="116"/>
                      </a:lnTo>
                      <a:lnTo>
                        <a:pt x="1546" y="118"/>
                      </a:lnTo>
                      <a:lnTo>
                        <a:pt x="1547" y="119"/>
                      </a:lnTo>
                      <a:lnTo>
                        <a:pt x="1543" y="121"/>
                      </a:lnTo>
                      <a:lnTo>
                        <a:pt x="1540" y="124"/>
                      </a:lnTo>
                      <a:lnTo>
                        <a:pt x="1530" y="124"/>
                      </a:lnTo>
                      <a:lnTo>
                        <a:pt x="1532" y="124"/>
                      </a:lnTo>
                      <a:lnTo>
                        <a:pt x="1536" y="122"/>
                      </a:lnTo>
                      <a:lnTo>
                        <a:pt x="1538" y="120"/>
                      </a:lnTo>
                      <a:lnTo>
                        <a:pt x="1540" y="118"/>
                      </a:lnTo>
                      <a:lnTo>
                        <a:pt x="1538" y="114"/>
                      </a:lnTo>
                      <a:lnTo>
                        <a:pt x="1540" y="111"/>
                      </a:lnTo>
                      <a:lnTo>
                        <a:pt x="1542" y="110"/>
                      </a:lnTo>
                      <a:lnTo>
                        <a:pt x="1545" y="110"/>
                      </a:lnTo>
                      <a:lnTo>
                        <a:pt x="1547" y="110"/>
                      </a:lnTo>
                      <a:lnTo>
                        <a:pt x="1548" y="110"/>
                      </a:lnTo>
                      <a:lnTo>
                        <a:pt x="1550" y="109"/>
                      </a:lnTo>
                      <a:lnTo>
                        <a:pt x="1551" y="106"/>
                      </a:lnTo>
                      <a:lnTo>
                        <a:pt x="1552" y="105"/>
                      </a:lnTo>
                      <a:lnTo>
                        <a:pt x="1556" y="103"/>
                      </a:lnTo>
                      <a:lnTo>
                        <a:pt x="1563" y="102"/>
                      </a:lnTo>
                      <a:lnTo>
                        <a:pt x="1569" y="100"/>
                      </a:lnTo>
                      <a:lnTo>
                        <a:pt x="1572" y="99"/>
                      </a:lnTo>
                      <a:lnTo>
                        <a:pt x="1573" y="99"/>
                      </a:lnTo>
                      <a:lnTo>
                        <a:pt x="1573" y="97"/>
                      </a:lnTo>
                      <a:lnTo>
                        <a:pt x="1574" y="95"/>
                      </a:lnTo>
                      <a:lnTo>
                        <a:pt x="1578" y="93"/>
                      </a:lnTo>
                      <a:lnTo>
                        <a:pt x="1583" y="92"/>
                      </a:lnTo>
                      <a:lnTo>
                        <a:pt x="1588" y="89"/>
                      </a:lnTo>
                      <a:lnTo>
                        <a:pt x="1590" y="86"/>
                      </a:lnTo>
                      <a:lnTo>
                        <a:pt x="1585" y="84"/>
                      </a:lnTo>
                      <a:lnTo>
                        <a:pt x="1582" y="84"/>
                      </a:lnTo>
                      <a:lnTo>
                        <a:pt x="1588" y="83"/>
                      </a:lnTo>
                      <a:lnTo>
                        <a:pt x="1594" y="82"/>
                      </a:lnTo>
                      <a:lnTo>
                        <a:pt x="1590" y="79"/>
                      </a:lnTo>
                      <a:lnTo>
                        <a:pt x="1595" y="79"/>
                      </a:lnTo>
                      <a:lnTo>
                        <a:pt x="1599" y="78"/>
                      </a:lnTo>
                      <a:lnTo>
                        <a:pt x="1606" y="75"/>
                      </a:lnTo>
                      <a:lnTo>
                        <a:pt x="1609" y="75"/>
                      </a:lnTo>
                      <a:lnTo>
                        <a:pt x="1611" y="75"/>
                      </a:lnTo>
                      <a:lnTo>
                        <a:pt x="1612" y="75"/>
                      </a:lnTo>
                      <a:lnTo>
                        <a:pt x="1615" y="75"/>
                      </a:lnTo>
                      <a:lnTo>
                        <a:pt x="1616" y="72"/>
                      </a:lnTo>
                      <a:lnTo>
                        <a:pt x="1616" y="70"/>
                      </a:lnTo>
                      <a:lnTo>
                        <a:pt x="1617" y="70"/>
                      </a:lnTo>
                      <a:lnTo>
                        <a:pt x="1618" y="68"/>
                      </a:lnTo>
                      <a:lnTo>
                        <a:pt x="1622" y="68"/>
                      </a:lnTo>
                      <a:lnTo>
                        <a:pt x="1627" y="66"/>
                      </a:lnTo>
                      <a:lnTo>
                        <a:pt x="1631" y="61"/>
                      </a:lnTo>
                      <a:lnTo>
                        <a:pt x="1632" y="60"/>
                      </a:lnTo>
                      <a:lnTo>
                        <a:pt x="1632" y="57"/>
                      </a:lnTo>
                      <a:lnTo>
                        <a:pt x="1628" y="55"/>
                      </a:lnTo>
                      <a:lnTo>
                        <a:pt x="1622" y="52"/>
                      </a:lnTo>
                      <a:lnTo>
                        <a:pt x="1618" y="51"/>
                      </a:lnTo>
                      <a:lnTo>
                        <a:pt x="1616" y="51"/>
                      </a:lnTo>
                      <a:lnTo>
                        <a:pt x="1612" y="51"/>
                      </a:lnTo>
                      <a:lnTo>
                        <a:pt x="1610" y="51"/>
                      </a:lnTo>
                      <a:lnTo>
                        <a:pt x="1607" y="50"/>
                      </a:lnTo>
                      <a:lnTo>
                        <a:pt x="1604" y="47"/>
                      </a:lnTo>
                      <a:lnTo>
                        <a:pt x="1600" y="46"/>
                      </a:lnTo>
                      <a:lnTo>
                        <a:pt x="1593" y="45"/>
                      </a:lnTo>
                      <a:lnTo>
                        <a:pt x="1601" y="45"/>
                      </a:lnTo>
                      <a:lnTo>
                        <a:pt x="1610" y="47"/>
                      </a:lnTo>
                      <a:lnTo>
                        <a:pt x="1617" y="50"/>
                      </a:lnTo>
                      <a:lnTo>
                        <a:pt x="1626" y="51"/>
                      </a:lnTo>
                      <a:lnTo>
                        <a:pt x="1623" y="47"/>
                      </a:lnTo>
                      <a:lnTo>
                        <a:pt x="1620" y="44"/>
                      </a:lnTo>
                      <a:lnTo>
                        <a:pt x="1615" y="44"/>
                      </a:lnTo>
                      <a:lnTo>
                        <a:pt x="1612" y="44"/>
                      </a:lnTo>
                      <a:lnTo>
                        <a:pt x="1610" y="43"/>
                      </a:lnTo>
                      <a:lnTo>
                        <a:pt x="1606" y="40"/>
                      </a:lnTo>
                      <a:lnTo>
                        <a:pt x="1602" y="36"/>
                      </a:lnTo>
                      <a:lnTo>
                        <a:pt x="1598" y="34"/>
                      </a:lnTo>
                      <a:lnTo>
                        <a:pt x="1593" y="34"/>
                      </a:lnTo>
                      <a:lnTo>
                        <a:pt x="1598" y="36"/>
                      </a:lnTo>
                      <a:lnTo>
                        <a:pt x="1601" y="38"/>
                      </a:lnTo>
                      <a:lnTo>
                        <a:pt x="1598" y="38"/>
                      </a:lnTo>
                      <a:lnTo>
                        <a:pt x="1595" y="38"/>
                      </a:lnTo>
                      <a:lnTo>
                        <a:pt x="1593" y="40"/>
                      </a:lnTo>
                      <a:lnTo>
                        <a:pt x="1591" y="38"/>
                      </a:lnTo>
                      <a:lnTo>
                        <a:pt x="1589" y="35"/>
                      </a:lnTo>
                      <a:lnTo>
                        <a:pt x="1585" y="34"/>
                      </a:lnTo>
                      <a:lnTo>
                        <a:pt x="1583" y="33"/>
                      </a:lnTo>
                      <a:lnTo>
                        <a:pt x="1580" y="31"/>
                      </a:lnTo>
                      <a:lnTo>
                        <a:pt x="1577" y="30"/>
                      </a:lnTo>
                      <a:lnTo>
                        <a:pt x="1573" y="29"/>
                      </a:lnTo>
                      <a:lnTo>
                        <a:pt x="1569" y="31"/>
                      </a:lnTo>
                      <a:lnTo>
                        <a:pt x="1568" y="29"/>
                      </a:lnTo>
                      <a:lnTo>
                        <a:pt x="1564" y="27"/>
                      </a:lnTo>
                      <a:lnTo>
                        <a:pt x="1558" y="25"/>
                      </a:lnTo>
                      <a:lnTo>
                        <a:pt x="1552" y="24"/>
                      </a:lnTo>
                      <a:lnTo>
                        <a:pt x="1540" y="23"/>
                      </a:lnTo>
                      <a:lnTo>
                        <a:pt x="1535" y="22"/>
                      </a:lnTo>
                      <a:lnTo>
                        <a:pt x="1531" y="22"/>
                      </a:lnTo>
                      <a:lnTo>
                        <a:pt x="1519" y="22"/>
                      </a:lnTo>
                      <a:lnTo>
                        <a:pt x="1508" y="22"/>
                      </a:lnTo>
                      <a:lnTo>
                        <a:pt x="1494" y="23"/>
                      </a:lnTo>
                      <a:lnTo>
                        <a:pt x="1482" y="23"/>
                      </a:lnTo>
                      <a:lnTo>
                        <a:pt x="1483" y="24"/>
                      </a:lnTo>
                      <a:lnTo>
                        <a:pt x="1484" y="25"/>
                      </a:lnTo>
                      <a:lnTo>
                        <a:pt x="1482" y="27"/>
                      </a:lnTo>
                      <a:lnTo>
                        <a:pt x="1479" y="28"/>
                      </a:lnTo>
                      <a:lnTo>
                        <a:pt x="1476" y="28"/>
                      </a:lnTo>
                      <a:lnTo>
                        <a:pt x="1466" y="29"/>
                      </a:lnTo>
                      <a:lnTo>
                        <a:pt x="1461" y="29"/>
                      </a:lnTo>
                      <a:lnTo>
                        <a:pt x="1456" y="28"/>
                      </a:lnTo>
                      <a:lnTo>
                        <a:pt x="1460" y="27"/>
                      </a:lnTo>
                      <a:lnTo>
                        <a:pt x="1462" y="23"/>
                      </a:lnTo>
                      <a:lnTo>
                        <a:pt x="1463" y="19"/>
                      </a:lnTo>
                      <a:lnTo>
                        <a:pt x="1462" y="18"/>
                      </a:lnTo>
                      <a:lnTo>
                        <a:pt x="1460" y="17"/>
                      </a:lnTo>
                      <a:lnTo>
                        <a:pt x="1451" y="14"/>
                      </a:lnTo>
                      <a:lnTo>
                        <a:pt x="1443" y="14"/>
                      </a:lnTo>
                      <a:lnTo>
                        <a:pt x="1425" y="17"/>
                      </a:lnTo>
                      <a:lnTo>
                        <a:pt x="1428" y="16"/>
                      </a:lnTo>
                      <a:lnTo>
                        <a:pt x="1429" y="13"/>
                      </a:lnTo>
                      <a:lnTo>
                        <a:pt x="1413" y="14"/>
                      </a:lnTo>
                      <a:lnTo>
                        <a:pt x="1396" y="14"/>
                      </a:lnTo>
                      <a:lnTo>
                        <a:pt x="1406" y="12"/>
                      </a:lnTo>
                      <a:lnTo>
                        <a:pt x="1414" y="11"/>
                      </a:lnTo>
                      <a:lnTo>
                        <a:pt x="1422" y="8"/>
                      </a:lnTo>
                      <a:lnTo>
                        <a:pt x="1424" y="7"/>
                      </a:lnTo>
                      <a:lnTo>
                        <a:pt x="1428" y="7"/>
                      </a:lnTo>
                      <a:lnTo>
                        <a:pt x="1423" y="4"/>
                      </a:lnTo>
                      <a:lnTo>
                        <a:pt x="1417" y="3"/>
                      </a:lnTo>
                      <a:lnTo>
                        <a:pt x="1404" y="2"/>
                      </a:lnTo>
                      <a:lnTo>
                        <a:pt x="1393" y="1"/>
                      </a:lnTo>
                      <a:lnTo>
                        <a:pt x="1384" y="0"/>
                      </a:lnTo>
                      <a:lnTo>
                        <a:pt x="1377" y="0"/>
                      </a:lnTo>
                      <a:lnTo>
                        <a:pt x="1377" y="0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6" name="Freeform 909">
                  <a:extLst>
                    <a:ext uri="{FF2B5EF4-FFF2-40B4-BE49-F238E27FC236}">
                      <a16:creationId xmlns:a16="http://schemas.microsoft.com/office/drawing/2014/main" id="{167FD6DC-BE52-489C-A545-96940A6804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08076" y="5232905"/>
                  <a:ext cx="6716" cy="0"/>
                </a:xfrm>
                <a:custGeom>
                  <a:avLst/>
                  <a:gdLst>
                    <a:gd name="T0" fmla="*/ 6 w 6"/>
                    <a:gd name="T1" fmla="*/ 0 h 1"/>
                    <a:gd name="T2" fmla="*/ 4 w 6"/>
                    <a:gd name="T3" fmla="*/ 0 h 1"/>
                    <a:gd name="T4" fmla="*/ 0 w 6"/>
                    <a:gd name="T5" fmla="*/ 1 h 1"/>
                    <a:gd name="T6" fmla="*/ 6 w 6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6" y="0"/>
                      </a:move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7" name="Freeform 910">
                  <a:extLst>
                    <a:ext uri="{FF2B5EF4-FFF2-40B4-BE49-F238E27FC236}">
                      <a16:creationId xmlns:a16="http://schemas.microsoft.com/office/drawing/2014/main" id="{41773146-D795-4ABD-93BD-94F9B96DB5B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66277" y="4689232"/>
                  <a:ext cx="76110" cy="10609"/>
                </a:xfrm>
                <a:custGeom>
                  <a:avLst/>
                  <a:gdLst>
                    <a:gd name="T0" fmla="*/ 0 w 69"/>
                    <a:gd name="T1" fmla="*/ 5 h 8"/>
                    <a:gd name="T2" fmla="*/ 2 w 69"/>
                    <a:gd name="T3" fmla="*/ 6 h 8"/>
                    <a:gd name="T4" fmla="*/ 7 w 69"/>
                    <a:gd name="T5" fmla="*/ 6 h 8"/>
                    <a:gd name="T6" fmla="*/ 11 w 69"/>
                    <a:gd name="T7" fmla="*/ 6 h 8"/>
                    <a:gd name="T8" fmla="*/ 13 w 69"/>
                    <a:gd name="T9" fmla="*/ 6 h 8"/>
                    <a:gd name="T10" fmla="*/ 18 w 69"/>
                    <a:gd name="T11" fmla="*/ 7 h 8"/>
                    <a:gd name="T12" fmla="*/ 22 w 69"/>
                    <a:gd name="T13" fmla="*/ 8 h 8"/>
                    <a:gd name="T14" fmla="*/ 26 w 69"/>
                    <a:gd name="T15" fmla="*/ 8 h 8"/>
                    <a:gd name="T16" fmla="*/ 31 w 69"/>
                    <a:gd name="T17" fmla="*/ 7 h 8"/>
                    <a:gd name="T18" fmla="*/ 39 w 69"/>
                    <a:gd name="T19" fmla="*/ 5 h 8"/>
                    <a:gd name="T20" fmla="*/ 48 w 69"/>
                    <a:gd name="T21" fmla="*/ 2 h 8"/>
                    <a:gd name="T22" fmla="*/ 53 w 69"/>
                    <a:gd name="T23" fmla="*/ 2 h 8"/>
                    <a:gd name="T24" fmla="*/ 58 w 69"/>
                    <a:gd name="T25" fmla="*/ 3 h 8"/>
                    <a:gd name="T26" fmla="*/ 63 w 69"/>
                    <a:gd name="T27" fmla="*/ 5 h 8"/>
                    <a:gd name="T28" fmla="*/ 69 w 69"/>
                    <a:gd name="T29" fmla="*/ 5 h 8"/>
                    <a:gd name="T30" fmla="*/ 63 w 69"/>
                    <a:gd name="T31" fmla="*/ 2 h 8"/>
                    <a:gd name="T32" fmla="*/ 64 w 69"/>
                    <a:gd name="T33" fmla="*/ 2 h 8"/>
                    <a:gd name="T34" fmla="*/ 65 w 69"/>
                    <a:gd name="T35" fmla="*/ 2 h 8"/>
                    <a:gd name="T36" fmla="*/ 61 w 69"/>
                    <a:gd name="T37" fmla="*/ 1 h 8"/>
                    <a:gd name="T38" fmla="*/ 58 w 69"/>
                    <a:gd name="T39" fmla="*/ 1 h 8"/>
                    <a:gd name="T40" fmla="*/ 55 w 69"/>
                    <a:gd name="T41" fmla="*/ 0 h 8"/>
                    <a:gd name="T42" fmla="*/ 47 w 69"/>
                    <a:gd name="T43" fmla="*/ 1 h 8"/>
                    <a:gd name="T44" fmla="*/ 38 w 69"/>
                    <a:gd name="T45" fmla="*/ 2 h 8"/>
                    <a:gd name="T46" fmla="*/ 20 w 69"/>
                    <a:gd name="T47" fmla="*/ 3 h 8"/>
                    <a:gd name="T48" fmla="*/ 0 w 69"/>
                    <a:gd name="T49" fmla="*/ 5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9" h="8">
                      <a:moveTo>
                        <a:pt x="0" y="5"/>
                      </a:moveTo>
                      <a:lnTo>
                        <a:pt x="2" y="6"/>
                      </a:lnTo>
                      <a:lnTo>
                        <a:pt x="7" y="6"/>
                      </a:lnTo>
                      <a:lnTo>
                        <a:pt x="11" y="6"/>
                      </a:lnTo>
                      <a:lnTo>
                        <a:pt x="13" y="6"/>
                      </a:lnTo>
                      <a:lnTo>
                        <a:pt x="18" y="7"/>
                      </a:lnTo>
                      <a:lnTo>
                        <a:pt x="22" y="8"/>
                      </a:lnTo>
                      <a:lnTo>
                        <a:pt x="26" y="8"/>
                      </a:lnTo>
                      <a:lnTo>
                        <a:pt x="31" y="7"/>
                      </a:lnTo>
                      <a:lnTo>
                        <a:pt x="39" y="5"/>
                      </a:lnTo>
                      <a:lnTo>
                        <a:pt x="48" y="2"/>
                      </a:lnTo>
                      <a:lnTo>
                        <a:pt x="53" y="2"/>
                      </a:lnTo>
                      <a:lnTo>
                        <a:pt x="58" y="3"/>
                      </a:lnTo>
                      <a:lnTo>
                        <a:pt x="63" y="5"/>
                      </a:lnTo>
                      <a:lnTo>
                        <a:pt x="69" y="5"/>
                      </a:lnTo>
                      <a:lnTo>
                        <a:pt x="63" y="2"/>
                      </a:lnTo>
                      <a:lnTo>
                        <a:pt x="64" y="2"/>
                      </a:lnTo>
                      <a:lnTo>
                        <a:pt x="65" y="2"/>
                      </a:lnTo>
                      <a:lnTo>
                        <a:pt x="61" y="1"/>
                      </a:lnTo>
                      <a:lnTo>
                        <a:pt x="58" y="1"/>
                      </a:lnTo>
                      <a:lnTo>
                        <a:pt x="55" y="0"/>
                      </a:lnTo>
                      <a:lnTo>
                        <a:pt x="47" y="1"/>
                      </a:lnTo>
                      <a:lnTo>
                        <a:pt x="38" y="2"/>
                      </a:lnTo>
                      <a:lnTo>
                        <a:pt x="20" y="3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8" name="Freeform 911">
                  <a:extLst>
                    <a:ext uri="{FF2B5EF4-FFF2-40B4-BE49-F238E27FC236}">
                      <a16:creationId xmlns:a16="http://schemas.microsoft.com/office/drawing/2014/main" id="{D2B84A0A-959F-4D90-B0E7-C762EED8AF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06571" y="4686578"/>
                  <a:ext cx="94018" cy="23870"/>
                </a:xfrm>
                <a:custGeom>
                  <a:avLst/>
                  <a:gdLst>
                    <a:gd name="T0" fmla="*/ 18 w 83"/>
                    <a:gd name="T1" fmla="*/ 17 h 18"/>
                    <a:gd name="T2" fmla="*/ 25 w 83"/>
                    <a:gd name="T3" fmla="*/ 18 h 18"/>
                    <a:gd name="T4" fmla="*/ 32 w 83"/>
                    <a:gd name="T5" fmla="*/ 17 h 18"/>
                    <a:gd name="T6" fmla="*/ 37 w 83"/>
                    <a:gd name="T7" fmla="*/ 16 h 18"/>
                    <a:gd name="T8" fmla="*/ 41 w 83"/>
                    <a:gd name="T9" fmla="*/ 16 h 18"/>
                    <a:gd name="T10" fmla="*/ 39 w 83"/>
                    <a:gd name="T11" fmla="*/ 13 h 18"/>
                    <a:gd name="T12" fmla="*/ 34 w 83"/>
                    <a:gd name="T13" fmla="*/ 13 h 18"/>
                    <a:gd name="T14" fmla="*/ 39 w 83"/>
                    <a:gd name="T15" fmla="*/ 11 h 18"/>
                    <a:gd name="T16" fmla="*/ 44 w 83"/>
                    <a:gd name="T17" fmla="*/ 11 h 18"/>
                    <a:gd name="T18" fmla="*/ 50 w 83"/>
                    <a:gd name="T19" fmla="*/ 11 h 18"/>
                    <a:gd name="T20" fmla="*/ 55 w 83"/>
                    <a:gd name="T21" fmla="*/ 9 h 18"/>
                    <a:gd name="T22" fmla="*/ 61 w 83"/>
                    <a:gd name="T23" fmla="*/ 7 h 18"/>
                    <a:gd name="T24" fmla="*/ 68 w 83"/>
                    <a:gd name="T25" fmla="*/ 7 h 18"/>
                    <a:gd name="T26" fmla="*/ 76 w 83"/>
                    <a:gd name="T27" fmla="*/ 7 h 18"/>
                    <a:gd name="T28" fmla="*/ 83 w 83"/>
                    <a:gd name="T29" fmla="*/ 6 h 18"/>
                    <a:gd name="T30" fmla="*/ 77 w 83"/>
                    <a:gd name="T31" fmla="*/ 3 h 18"/>
                    <a:gd name="T32" fmla="*/ 71 w 83"/>
                    <a:gd name="T33" fmla="*/ 3 h 18"/>
                    <a:gd name="T34" fmla="*/ 65 w 83"/>
                    <a:gd name="T35" fmla="*/ 3 h 18"/>
                    <a:gd name="T36" fmla="*/ 59 w 83"/>
                    <a:gd name="T37" fmla="*/ 3 h 18"/>
                    <a:gd name="T38" fmla="*/ 64 w 83"/>
                    <a:gd name="T39" fmla="*/ 2 h 18"/>
                    <a:gd name="T40" fmla="*/ 68 w 83"/>
                    <a:gd name="T41" fmla="*/ 2 h 18"/>
                    <a:gd name="T42" fmla="*/ 65 w 83"/>
                    <a:gd name="T43" fmla="*/ 0 h 18"/>
                    <a:gd name="T44" fmla="*/ 61 w 83"/>
                    <a:gd name="T45" fmla="*/ 0 h 18"/>
                    <a:gd name="T46" fmla="*/ 57 w 83"/>
                    <a:gd name="T47" fmla="*/ 1 h 18"/>
                    <a:gd name="T48" fmla="*/ 54 w 83"/>
                    <a:gd name="T49" fmla="*/ 1 h 18"/>
                    <a:gd name="T50" fmla="*/ 59 w 83"/>
                    <a:gd name="T51" fmla="*/ 0 h 18"/>
                    <a:gd name="T52" fmla="*/ 54 w 83"/>
                    <a:gd name="T53" fmla="*/ 0 h 18"/>
                    <a:gd name="T54" fmla="*/ 48 w 83"/>
                    <a:gd name="T55" fmla="*/ 0 h 18"/>
                    <a:gd name="T56" fmla="*/ 38 w 83"/>
                    <a:gd name="T57" fmla="*/ 2 h 18"/>
                    <a:gd name="T58" fmla="*/ 41 w 83"/>
                    <a:gd name="T59" fmla="*/ 4 h 18"/>
                    <a:gd name="T60" fmla="*/ 46 w 83"/>
                    <a:gd name="T61" fmla="*/ 3 h 18"/>
                    <a:gd name="T62" fmla="*/ 41 w 83"/>
                    <a:gd name="T63" fmla="*/ 6 h 18"/>
                    <a:gd name="T64" fmla="*/ 37 w 83"/>
                    <a:gd name="T65" fmla="*/ 7 h 18"/>
                    <a:gd name="T66" fmla="*/ 33 w 83"/>
                    <a:gd name="T67" fmla="*/ 7 h 18"/>
                    <a:gd name="T68" fmla="*/ 27 w 83"/>
                    <a:gd name="T69" fmla="*/ 7 h 18"/>
                    <a:gd name="T70" fmla="*/ 23 w 83"/>
                    <a:gd name="T71" fmla="*/ 7 h 18"/>
                    <a:gd name="T72" fmla="*/ 18 w 83"/>
                    <a:gd name="T73" fmla="*/ 7 h 18"/>
                    <a:gd name="T74" fmla="*/ 11 w 83"/>
                    <a:gd name="T75" fmla="*/ 9 h 18"/>
                    <a:gd name="T76" fmla="*/ 18 w 83"/>
                    <a:gd name="T77" fmla="*/ 9 h 18"/>
                    <a:gd name="T78" fmla="*/ 22 w 83"/>
                    <a:gd name="T79" fmla="*/ 9 h 18"/>
                    <a:gd name="T80" fmla="*/ 25 w 83"/>
                    <a:gd name="T81" fmla="*/ 11 h 18"/>
                    <a:gd name="T82" fmla="*/ 17 w 83"/>
                    <a:gd name="T83" fmla="*/ 11 h 18"/>
                    <a:gd name="T84" fmla="*/ 23 w 83"/>
                    <a:gd name="T85" fmla="*/ 12 h 18"/>
                    <a:gd name="T86" fmla="*/ 18 w 83"/>
                    <a:gd name="T87" fmla="*/ 13 h 18"/>
                    <a:gd name="T88" fmla="*/ 12 w 83"/>
                    <a:gd name="T89" fmla="*/ 13 h 18"/>
                    <a:gd name="T90" fmla="*/ 6 w 83"/>
                    <a:gd name="T91" fmla="*/ 12 h 18"/>
                    <a:gd name="T92" fmla="*/ 0 w 83"/>
                    <a:gd name="T93" fmla="*/ 13 h 18"/>
                    <a:gd name="T94" fmla="*/ 5 w 83"/>
                    <a:gd name="T95" fmla="*/ 14 h 18"/>
                    <a:gd name="T96" fmla="*/ 11 w 83"/>
                    <a:gd name="T97" fmla="*/ 14 h 18"/>
                    <a:gd name="T98" fmla="*/ 17 w 83"/>
                    <a:gd name="T99" fmla="*/ 14 h 18"/>
                    <a:gd name="T100" fmla="*/ 23 w 83"/>
                    <a:gd name="T101" fmla="*/ 14 h 18"/>
                    <a:gd name="T102" fmla="*/ 18 w 83"/>
                    <a:gd name="T103" fmla="*/ 17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83" h="18">
                      <a:moveTo>
                        <a:pt x="18" y="17"/>
                      </a:moveTo>
                      <a:lnTo>
                        <a:pt x="25" y="18"/>
                      </a:lnTo>
                      <a:lnTo>
                        <a:pt x="32" y="17"/>
                      </a:lnTo>
                      <a:lnTo>
                        <a:pt x="37" y="16"/>
                      </a:lnTo>
                      <a:lnTo>
                        <a:pt x="41" y="16"/>
                      </a:lnTo>
                      <a:lnTo>
                        <a:pt x="39" y="13"/>
                      </a:lnTo>
                      <a:lnTo>
                        <a:pt x="34" y="13"/>
                      </a:lnTo>
                      <a:lnTo>
                        <a:pt x="39" y="11"/>
                      </a:lnTo>
                      <a:lnTo>
                        <a:pt x="44" y="11"/>
                      </a:lnTo>
                      <a:lnTo>
                        <a:pt x="50" y="11"/>
                      </a:lnTo>
                      <a:lnTo>
                        <a:pt x="55" y="9"/>
                      </a:lnTo>
                      <a:lnTo>
                        <a:pt x="61" y="7"/>
                      </a:lnTo>
                      <a:lnTo>
                        <a:pt x="68" y="7"/>
                      </a:lnTo>
                      <a:lnTo>
                        <a:pt x="76" y="7"/>
                      </a:lnTo>
                      <a:lnTo>
                        <a:pt x="83" y="6"/>
                      </a:lnTo>
                      <a:lnTo>
                        <a:pt x="77" y="3"/>
                      </a:lnTo>
                      <a:lnTo>
                        <a:pt x="71" y="3"/>
                      </a:lnTo>
                      <a:lnTo>
                        <a:pt x="65" y="3"/>
                      </a:lnTo>
                      <a:lnTo>
                        <a:pt x="59" y="3"/>
                      </a:lnTo>
                      <a:lnTo>
                        <a:pt x="64" y="2"/>
                      </a:lnTo>
                      <a:lnTo>
                        <a:pt x="68" y="2"/>
                      </a:lnTo>
                      <a:lnTo>
                        <a:pt x="65" y="0"/>
                      </a:lnTo>
                      <a:lnTo>
                        <a:pt x="61" y="0"/>
                      </a:lnTo>
                      <a:lnTo>
                        <a:pt x="57" y="1"/>
                      </a:lnTo>
                      <a:lnTo>
                        <a:pt x="54" y="1"/>
                      </a:lnTo>
                      <a:lnTo>
                        <a:pt x="59" y="0"/>
                      </a:lnTo>
                      <a:lnTo>
                        <a:pt x="54" y="0"/>
                      </a:lnTo>
                      <a:lnTo>
                        <a:pt x="48" y="0"/>
                      </a:lnTo>
                      <a:lnTo>
                        <a:pt x="38" y="2"/>
                      </a:lnTo>
                      <a:lnTo>
                        <a:pt x="41" y="4"/>
                      </a:lnTo>
                      <a:lnTo>
                        <a:pt x="46" y="3"/>
                      </a:lnTo>
                      <a:lnTo>
                        <a:pt x="41" y="6"/>
                      </a:lnTo>
                      <a:lnTo>
                        <a:pt x="37" y="7"/>
                      </a:lnTo>
                      <a:lnTo>
                        <a:pt x="33" y="7"/>
                      </a:lnTo>
                      <a:lnTo>
                        <a:pt x="27" y="7"/>
                      </a:lnTo>
                      <a:lnTo>
                        <a:pt x="23" y="7"/>
                      </a:lnTo>
                      <a:lnTo>
                        <a:pt x="18" y="7"/>
                      </a:lnTo>
                      <a:lnTo>
                        <a:pt x="11" y="9"/>
                      </a:lnTo>
                      <a:lnTo>
                        <a:pt x="18" y="9"/>
                      </a:lnTo>
                      <a:lnTo>
                        <a:pt x="22" y="9"/>
                      </a:lnTo>
                      <a:lnTo>
                        <a:pt x="25" y="11"/>
                      </a:lnTo>
                      <a:lnTo>
                        <a:pt x="17" y="11"/>
                      </a:lnTo>
                      <a:lnTo>
                        <a:pt x="23" y="12"/>
                      </a:lnTo>
                      <a:lnTo>
                        <a:pt x="18" y="13"/>
                      </a:lnTo>
                      <a:lnTo>
                        <a:pt x="12" y="13"/>
                      </a:lnTo>
                      <a:lnTo>
                        <a:pt x="6" y="12"/>
                      </a:lnTo>
                      <a:lnTo>
                        <a:pt x="0" y="13"/>
                      </a:lnTo>
                      <a:lnTo>
                        <a:pt x="5" y="14"/>
                      </a:lnTo>
                      <a:lnTo>
                        <a:pt x="11" y="14"/>
                      </a:lnTo>
                      <a:lnTo>
                        <a:pt x="17" y="14"/>
                      </a:lnTo>
                      <a:lnTo>
                        <a:pt x="23" y="14"/>
                      </a:lnTo>
                      <a:lnTo>
                        <a:pt x="18" y="1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9" name="Freeform 912">
                  <a:extLst>
                    <a:ext uri="{FF2B5EF4-FFF2-40B4-BE49-F238E27FC236}">
                      <a16:creationId xmlns:a16="http://schemas.microsoft.com/office/drawing/2014/main" id="{6C62116F-1862-4EF7-8D94-07BB2D481B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58056" y="5171908"/>
                  <a:ext cx="2240" cy="2653"/>
                </a:xfrm>
                <a:custGeom>
                  <a:avLst/>
                  <a:gdLst>
                    <a:gd name="T0" fmla="*/ 0 w 3"/>
                    <a:gd name="T1" fmla="*/ 0 h 2"/>
                    <a:gd name="T2" fmla="*/ 0 w 3"/>
                    <a:gd name="T3" fmla="*/ 2 h 2"/>
                    <a:gd name="T4" fmla="*/ 3 w 3"/>
                    <a:gd name="T5" fmla="*/ 0 h 2"/>
                    <a:gd name="T6" fmla="*/ 0 w 3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2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0" name="Freeform 913">
                  <a:extLst>
                    <a:ext uri="{FF2B5EF4-FFF2-40B4-BE49-F238E27FC236}">
                      <a16:creationId xmlns:a16="http://schemas.microsoft.com/office/drawing/2014/main" id="{FB17BFDA-91E7-4A6E-BAA0-6F5281AC23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67009" y="4707796"/>
                  <a:ext cx="11193" cy="2653"/>
                </a:xfrm>
                <a:custGeom>
                  <a:avLst/>
                  <a:gdLst>
                    <a:gd name="T0" fmla="*/ 6 w 11"/>
                    <a:gd name="T1" fmla="*/ 4 h 4"/>
                    <a:gd name="T2" fmla="*/ 8 w 11"/>
                    <a:gd name="T3" fmla="*/ 3 h 4"/>
                    <a:gd name="T4" fmla="*/ 11 w 11"/>
                    <a:gd name="T5" fmla="*/ 0 h 4"/>
                    <a:gd name="T6" fmla="*/ 5 w 11"/>
                    <a:gd name="T7" fmla="*/ 0 h 4"/>
                    <a:gd name="T8" fmla="*/ 0 w 11"/>
                    <a:gd name="T9" fmla="*/ 3 h 4"/>
                    <a:gd name="T10" fmla="*/ 6 w 11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" h="4">
                      <a:moveTo>
                        <a:pt x="6" y="4"/>
                      </a:moveTo>
                      <a:lnTo>
                        <a:pt x="8" y="3"/>
                      </a:lnTo>
                      <a:lnTo>
                        <a:pt x="11" y="0"/>
                      </a:lnTo>
                      <a:lnTo>
                        <a:pt x="5" y="0"/>
                      </a:lnTo>
                      <a:lnTo>
                        <a:pt x="0" y="3"/>
                      </a:lnTo>
                      <a:lnTo>
                        <a:pt x="6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1" name="Freeform 914">
                  <a:extLst>
                    <a:ext uri="{FF2B5EF4-FFF2-40B4-BE49-F238E27FC236}">
                      <a16:creationId xmlns:a16="http://schemas.microsoft.com/office/drawing/2014/main" id="{7ABD9F10-2A8E-46E1-96A8-D1361553CD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71487" y="4681275"/>
                  <a:ext cx="8954" cy="2653"/>
                </a:xfrm>
                <a:custGeom>
                  <a:avLst/>
                  <a:gdLst>
                    <a:gd name="T0" fmla="*/ 0 w 9"/>
                    <a:gd name="T1" fmla="*/ 2 h 2"/>
                    <a:gd name="T2" fmla="*/ 3 w 9"/>
                    <a:gd name="T3" fmla="*/ 2 h 2"/>
                    <a:gd name="T4" fmla="*/ 5 w 9"/>
                    <a:gd name="T5" fmla="*/ 2 h 2"/>
                    <a:gd name="T6" fmla="*/ 8 w 9"/>
                    <a:gd name="T7" fmla="*/ 1 h 2"/>
                    <a:gd name="T8" fmla="*/ 9 w 9"/>
                    <a:gd name="T9" fmla="*/ 1 h 2"/>
                    <a:gd name="T10" fmla="*/ 4 w 9"/>
                    <a:gd name="T11" fmla="*/ 0 h 2"/>
                    <a:gd name="T12" fmla="*/ 0 w 9"/>
                    <a:gd name="T13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2">
                      <a:moveTo>
                        <a:pt x="0" y="2"/>
                      </a:moveTo>
                      <a:lnTo>
                        <a:pt x="3" y="2"/>
                      </a:lnTo>
                      <a:lnTo>
                        <a:pt x="5" y="2"/>
                      </a:lnTo>
                      <a:lnTo>
                        <a:pt x="8" y="1"/>
                      </a:lnTo>
                      <a:lnTo>
                        <a:pt x="9" y="1"/>
                      </a:lnTo>
                      <a:lnTo>
                        <a:pt x="4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2" name="Freeform 915">
                  <a:extLst>
                    <a:ext uri="{FF2B5EF4-FFF2-40B4-BE49-F238E27FC236}">
                      <a16:creationId xmlns:a16="http://schemas.microsoft.com/office/drawing/2014/main" id="{1EC32C82-4C12-45F7-9268-5146058039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78202" y="4710448"/>
                  <a:ext cx="29101" cy="5304"/>
                </a:xfrm>
                <a:custGeom>
                  <a:avLst/>
                  <a:gdLst>
                    <a:gd name="T0" fmla="*/ 9 w 27"/>
                    <a:gd name="T1" fmla="*/ 1 h 4"/>
                    <a:gd name="T2" fmla="*/ 4 w 27"/>
                    <a:gd name="T3" fmla="*/ 1 h 4"/>
                    <a:gd name="T4" fmla="*/ 0 w 27"/>
                    <a:gd name="T5" fmla="*/ 2 h 4"/>
                    <a:gd name="T6" fmla="*/ 13 w 27"/>
                    <a:gd name="T7" fmla="*/ 4 h 4"/>
                    <a:gd name="T8" fmla="*/ 19 w 27"/>
                    <a:gd name="T9" fmla="*/ 4 h 4"/>
                    <a:gd name="T10" fmla="*/ 27 w 27"/>
                    <a:gd name="T11" fmla="*/ 2 h 4"/>
                    <a:gd name="T12" fmla="*/ 18 w 27"/>
                    <a:gd name="T13" fmla="*/ 0 h 4"/>
                    <a:gd name="T14" fmla="*/ 13 w 27"/>
                    <a:gd name="T15" fmla="*/ 0 h 4"/>
                    <a:gd name="T16" fmla="*/ 9 w 27"/>
                    <a:gd name="T17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7" h="4">
                      <a:moveTo>
                        <a:pt x="9" y="1"/>
                      </a:moveTo>
                      <a:lnTo>
                        <a:pt x="4" y="1"/>
                      </a:lnTo>
                      <a:lnTo>
                        <a:pt x="0" y="2"/>
                      </a:lnTo>
                      <a:lnTo>
                        <a:pt x="13" y="4"/>
                      </a:lnTo>
                      <a:lnTo>
                        <a:pt x="19" y="4"/>
                      </a:lnTo>
                      <a:lnTo>
                        <a:pt x="27" y="2"/>
                      </a:lnTo>
                      <a:lnTo>
                        <a:pt x="18" y="0"/>
                      </a:lnTo>
                      <a:lnTo>
                        <a:pt x="13" y="0"/>
                      </a:lnTo>
                      <a:lnTo>
                        <a:pt x="9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3" name="Freeform 916">
                  <a:extLst>
                    <a:ext uri="{FF2B5EF4-FFF2-40B4-BE49-F238E27FC236}">
                      <a16:creationId xmlns:a16="http://schemas.microsoft.com/office/drawing/2014/main" id="{D7D86764-D382-41E3-8D94-6C5BAAFF1E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18495" y="4702491"/>
                  <a:ext cx="31340" cy="7957"/>
                </a:xfrm>
                <a:custGeom>
                  <a:avLst/>
                  <a:gdLst>
                    <a:gd name="T0" fmla="*/ 3 w 30"/>
                    <a:gd name="T1" fmla="*/ 3 h 6"/>
                    <a:gd name="T2" fmla="*/ 16 w 30"/>
                    <a:gd name="T3" fmla="*/ 6 h 6"/>
                    <a:gd name="T4" fmla="*/ 24 w 30"/>
                    <a:gd name="T5" fmla="*/ 5 h 6"/>
                    <a:gd name="T6" fmla="*/ 30 w 30"/>
                    <a:gd name="T7" fmla="*/ 2 h 6"/>
                    <a:gd name="T8" fmla="*/ 22 w 30"/>
                    <a:gd name="T9" fmla="*/ 1 h 6"/>
                    <a:gd name="T10" fmla="*/ 14 w 30"/>
                    <a:gd name="T11" fmla="*/ 0 h 6"/>
                    <a:gd name="T12" fmla="*/ 9 w 30"/>
                    <a:gd name="T13" fmla="*/ 1 h 6"/>
                    <a:gd name="T14" fmla="*/ 5 w 30"/>
                    <a:gd name="T15" fmla="*/ 2 h 6"/>
                    <a:gd name="T16" fmla="*/ 0 w 30"/>
                    <a:gd name="T17" fmla="*/ 2 h 6"/>
                    <a:gd name="T18" fmla="*/ 3 w 30"/>
                    <a:gd name="T19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0" h="6">
                      <a:moveTo>
                        <a:pt x="3" y="3"/>
                      </a:moveTo>
                      <a:lnTo>
                        <a:pt x="16" y="6"/>
                      </a:lnTo>
                      <a:lnTo>
                        <a:pt x="24" y="5"/>
                      </a:lnTo>
                      <a:lnTo>
                        <a:pt x="30" y="2"/>
                      </a:lnTo>
                      <a:lnTo>
                        <a:pt x="22" y="1"/>
                      </a:lnTo>
                      <a:lnTo>
                        <a:pt x="14" y="0"/>
                      </a:lnTo>
                      <a:lnTo>
                        <a:pt x="9" y="1"/>
                      </a:lnTo>
                      <a:lnTo>
                        <a:pt x="5" y="2"/>
                      </a:lnTo>
                      <a:lnTo>
                        <a:pt x="0" y="2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4" name="Freeform 917">
                  <a:extLst>
                    <a:ext uri="{FF2B5EF4-FFF2-40B4-BE49-F238E27FC236}">
                      <a16:creationId xmlns:a16="http://schemas.microsoft.com/office/drawing/2014/main" id="{8EE994D5-4215-444F-AC3F-48BCB7EB21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31927" y="4694536"/>
                  <a:ext cx="8954" cy="5304"/>
                </a:xfrm>
                <a:custGeom>
                  <a:avLst/>
                  <a:gdLst>
                    <a:gd name="T0" fmla="*/ 2 w 8"/>
                    <a:gd name="T1" fmla="*/ 2 h 2"/>
                    <a:gd name="T2" fmla="*/ 6 w 8"/>
                    <a:gd name="T3" fmla="*/ 2 h 2"/>
                    <a:gd name="T4" fmla="*/ 8 w 8"/>
                    <a:gd name="T5" fmla="*/ 2 h 2"/>
                    <a:gd name="T6" fmla="*/ 3 w 8"/>
                    <a:gd name="T7" fmla="*/ 0 h 2"/>
                    <a:gd name="T8" fmla="*/ 0 w 8"/>
                    <a:gd name="T9" fmla="*/ 0 h 2"/>
                    <a:gd name="T10" fmla="*/ 2 w 8"/>
                    <a:gd name="T1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" h="2">
                      <a:moveTo>
                        <a:pt x="2" y="2"/>
                      </a:moveTo>
                      <a:lnTo>
                        <a:pt x="6" y="2"/>
                      </a:lnTo>
                      <a:lnTo>
                        <a:pt x="8" y="2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5" name="Freeform 918">
                  <a:extLst>
                    <a:ext uri="{FF2B5EF4-FFF2-40B4-BE49-F238E27FC236}">
                      <a16:creationId xmlns:a16="http://schemas.microsoft.com/office/drawing/2014/main" id="{2198D577-8F10-4269-B049-325F2286AD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0881" y="4675971"/>
                  <a:ext cx="6716" cy="2653"/>
                </a:xfrm>
                <a:custGeom>
                  <a:avLst/>
                  <a:gdLst>
                    <a:gd name="T0" fmla="*/ 3 w 6"/>
                    <a:gd name="T1" fmla="*/ 1 h 1"/>
                    <a:gd name="T2" fmla="*/ 6 w 6"/>
                    <a:gd name="T3" fmla="*/ 1 h 1"/>
                    <a:gd name="T4" fmla="*/ 0 w 6"/>
                    <a:gd name="T5" fmla="*/ 0 h 1"/>
                    <a:gd name="T6" fmla="*/ 3 w 6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3" y="1"/>
                      </a:moveTo>
                      <a:lnTo>
                        <a:pt x="6" y="1"/>
                      </a:lnTo>
                      <a:lnTo>
                        <a:pt x="0" y="0"/>
                      </a:lnTo>
                      <a:lnTo>
                        <a:pt x="3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6" name="Freeform 919">
                  <a:extLst>
                    <a:ext uri="{FF2B5EF4-FFF2-40B4-BE49-F238E27FC236}">
                      <a16:creationId xmlns:a16="http://schemas.microsoft.com/office/drawing/2014/main" id="{C9A43CB3-9B16-4E59-92AE-90FB087CEB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5358" y="4689232"/>
                  <a:ext cx="40293" cy="2653"/>
                </a:xfrm>
                <a:custGeom>
                  <a:avLst/>
                  <a:gdLst>
                    <a:gd name="T0" fmla="*/ 0 w 35"/>
                    <a:gd name="T1" fmla="*/ 1 h 2"/>
                    <a:gd name="T2" fmla="*/ 2 w 35"/>
                    <a:gd name="T3" fmla="*/ 2 h 2"/>
                    <a:gd name="T4" fmla="*/ 7 w 35"/>
                    <a:gd name="T5" fmla="*/ 2 h 2"/>
                    <a:gd name="T6" fmla="*/ 11 w 35"/>
                    <a:gd name="T7" fmla="*/ 2 h 2"/>
                    <a:gd name="T8" fmla="*/ 13 w 35"/>
                    <a:gd name="T9" fmla="*/ 2 h 2"/>
                    <a:gd name="T10" fmla="*/ 24 w 35"/>
                    <a:gd name="T11" fmla="*/ 2 h 2"/>
                    <a:gd name="T12" fmla="*/ 35 w 35"/>
                    <a:gd name="T13" fmla="*/ 1 h 2"/>
                    <a:gd name="T14" fmla="*/ 18 w 35"/>
                    <a:gd name="T15" fmla="*/ 0 h 2"/>
                    <a:gd name="T16" fmla="*/ 10 w 35"/>
                    <a:gd name="T17" fmla="*/ 0 h 2"/>
                    <a:gd name="T18" fmla="*/ 0 w 35"/>
                    <a:gd name="T1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5" h="2">
                      <a:moveTo>
                        <a:pt x="0" y="1"/>
                      </a:moveTo>
                      <a:lnTo>
                        <a:pt x="2" y="2"/>
                      </a:lnTo>
                      <a:lnTo>
                        <a:pt x="7" y="2"/>
                      </a:lnTo>
                      <a:lnTo>
                        <a:pt x="11" y="2"/>
                      </a:lnTo>
                      <a:lnTo>
                        <a:pt x="13" y="2"/>
                      </a:lnTo>
                      <a:lnTo>
                        <a:pt x="24" y="2"/>
                      </a:lnTo>
                      <a:lnTo>
                        <a:pt x="35" y="1"/>
                      </a:lnTo>
                      <a:lnTo>
                        <a:pt x="18" y="0"/>
                      </a:lnTo>
                      <a:lnTo>
                        <a:pt x="10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7" name="Freeform 920">
                  <a:extLst>
                    <a:ext uri="{FF2B5EF4-FFF2-40B4-BE49-F238E27FC236}">
                      <a16:creationId xmlns:a16="http://schemas.microsoft.com/office/drawing/2014/main" id="{C2EE3929-55A9-4DD4-9A08-991F957991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7595" y="4697187"/>
                  <a:ext cx="8954" cy="2653"/>
                </a:xfrm>
                <a:custGeom>
                  <a:avLst/>
                  <a:gdLst>
                    <a:gd name="T0" fmla="*/ 0 w 10"/>
                    <a:gd name="T1" fmla="*/ 1 h 2"/>
                    <a:gd name="T2" fmla="*/ 5 w 10"/>
                    <a:gd name="T3" fmla="*/ 2 h 2"/>
                    <a:gd name="T4" fmla="*/ 10 w 10"/>
                    <a:gd name="T5" fmla="*/ 1 h 2"/>
                    <a:gd name="T6" fmla="*/ 5 w 10"/>
                    <a:gd name="T7" fmla="*/ 0 h 2"/>
                    <a:gd name="T8" fmla="*/ 0 w 10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2">
                      <a:moveTo>
                        <a:pt x="0" y="1"/>
                      </a:moveTo>
                      <a:lnTo>
                        <a:pt x="5" y="2"/>
                      </a:lnTo>
                      <a:lnTo>
                        <a:pt x="10" y="1"/>
                      </a:lnTo>
                      <a:lnTo>
                        <a:pt x="5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8" name="Freeform 921">
                  <a:extLst>
                    <a:ext uri="{FF2B5EF4-FFF2-40B4-BE49-F238E27FC236}">
                      <a16:creationId xmlns:a16="http://schemas.microsoft.com/office/drawing/2014/main" id="{46A3ACD3-C742-4C45-AFF7-C5D5FD1FC4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9835" y="4681275"/>
                  <a:ext cx="69394" cy="13261"/>
                </a:xfrm>
                <a:custGeom>
                  <a:avLst/>
                  <a:gdLst>
                    <a:gd name="T0" fmla="*/ 0 w 61"/>
                    <a:gd name="T1" fmla="*/ 1 h 8"/>
                    <a:gd name="T2" fmla="*/ 17 w 61"/>
                    <a:gd name="T3" fmla="*/ 5 h 8"/>
                    <a:gd name="T4" fmla="*/ 33 w 61"/>
                    <a:gd name="T5" fmla="*/ 6 h 8"/>
                    <a:gd name="T6" fmla="*/ 40 w 61"/>
                    <a:gd name="T7" fmla="*/ 7 h 8"/>
                    <a:gd name="T8" fmla="*/ 48 w 61"/>
                    <a:gd name="T9" fmla="*/ 8 h 8"/>
                    <a:gd name="T10" fmla="*/ 55 w 61"/>
                    <a:gd name="T11" fmla="*/ 8 h 8"/>
                    <a:gd name="T12" fmla="*/ 61 w 61"/>
                    <a:gd name="T13" fmla="*/ 6 h 8"/>
                    <a:gd name="T14" fmla="*/ 44 w 61"/>
                    <a:gd name="T15" fmla="*/ 2 h 8"/>
                    <a:gd name="T16" fmla="*/ 27 w 61"/>
                    <a:gd name="T17" fmla="*/ 1 h 8"/>
                    <a:gd name="T18" fmla="*/ 24 w 61"/>
                    <a:gd name="T19" fmla="*/ 1 h 8"/>
                    <a:gd name="T20" fmla="*/ 22 w 61"/>
                    <a:gd name="T21" fmla="*/ 0 h 8"/>
                    <a:gd name="T22" fmla="*/ 13 w 61"/>
                    <a:gd name="T23" fmla="*/ 0 h 8"/>
                    <a:gd name="T24" fmla="*/ 6 w 61"/>
                    <a:gd name="T25" fmla="*/ 0 h 8"/>
                    <a:gd name="T26" fmla="*/ 2 w 61"/>
                    <a:gd name="T27" fmla="*/ 0 h 8"/>
                    <a:gd name="T28" fmla="*/ 0 w 61"/>
                    <a:gd name="T29" fmla="*/ 1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61" h="8">
                      <a:moveTo>
                        <a:pt x="0" y="1"/>
                      </a:moveTo>
                      <a:lnTo>
                        <a:pt x="17" y="5"/>
                      </a:lnTo>
                      <a:lnTo>
                        <a:pt x="33" y="6"/>
                      </a:lnTo>
                      <a:lnTo>
                        <a:pt x="40" y="7"/>
                      </a:lnTo>
                      <a:lnTo>
                        <a:pt x="48" y="8"/>
                      </a:lnTo>
                      <a:lnTo>
                        <a:pt x="55" y="8"/>
                      </a:lnTo>
                      <a:lnTo>
                        <a:pt x="61" y="6"/>
                      </a:lnTo>
                      <a:lnTo>
                        <a:pt x="44" y="2"/>
                      </a:lnTo>
                      <a:lnTo>
                        <a:pt x="27" y="1"/>
                      </a:lnTo>
                      <a:lnTo>
                        <a:pt x="24" y="1"/>
                      </a:lnTo>
                      <a:lnTo>
                        <a:pt x="22" y="0"/>
                      </a:lnTo>
                      <a:lnTo>
                        <a:pt x="13" y="0"/>
                      </a:ln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9" name="Freeform 922">
                  <a:extLst>
                    <a:ext uri="{FF2B5EF4-FFF2-40B4-BE49-F238E27FC236}">
                      <a16:creationId xmlns:a16="http://schemas.microsoft.com/office/drawing/2014/main" id="{CE054815-15F4-4B4E-82E0-851103EDC2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63266" y="4697187"/>
                  <a:ext cx="8954" cy="2653"/>
                </a:xfrm>
                <a:custGeom>
                  <a:avLst/>
                  <a:gdLst>
                    <a:gd name="T0" fmla="*/ 0 w 8"/>
                    <a:gd name="T1" fmla="*/ 1 h 2"/>
                    <a:gd name="T2" fmla="*/ 5 w 8"/>
                    <a:gd name="T3" fmla="*/ 2 h 2"/>
                    <a:gd name="T4" fmla="*/ 8 w 8"/>
                    <a:gd name="T5" fmla="*/ 1 h 2"/>
                    <a:gd name="T6" fmla="*/ 5 w 8"/>
                    <a:gd name="T7" fmla="*/ 0 h 2"/>
                    <a:gd name="T8" fmla="*/ 0 w 8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2">
                      <a:moveTo>
                        <a:pt x="0" y="1"/>
                      </a:moveTo>
                      <a:lnTo>
                        <a:pt x="5" y="2"/>
                      </a:lnTo>
                      <a:lnTo>
                        <a:pt x="8" y="1"/>
                      </a:lnTo>
                      <a:lnTo>
                        <a:pt x="5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0" name="Freeform 923">
                  <a:extLst>
                    <a:ext uri="{FF2B5EF4-FFF2-40B4-BE49-F238E27FC236}">
                      <a16:creationId xmlns:a16="http://schemas.microsoft.com/office/drawing/2014/main" id="{3B2AAF2E-A6EF-4558-B06C-2B85830E49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67743" y="4673320"/>
                  <a:ext cx="49248" cy="7957"/>
                </a:xfrm>
                <a:custGeom>
                  <a:avLst/>
                  <a:gdLst>
                    <a:gd name="T0" fmla="*/ 3 w 44"/>
                    <a:gd name="T1" fmla="*/ 3 h 5"/>
                    <a:gd name="T2" fmla="*/ 12 w 44"/>
                    <a:gd name="T3" fmla="*/ 5 h 5"/>
                    <a:gd name="T4" fmla="*/ 20 w 44"/>
                    <a:gd name="T5" fmla="*/ 5 h 5"/>
                    <a:gd name="T6" fmla="*/ 31 w 44"/>
                    <a:gd name="T7" fmla="*/ 3 h 5"/>
                    <a:gd name="T8" fmla="*/ 44 w 44"/>
                    <a:gd name="T9" fmla="*/ 2 h 5"/>
                    <a:gd name="T10" fmla="*/ 29 w 44"/>
                    <a:gd name="T11" fmla="*/ 0 h 5"/>
                    <a:gd name="T12" fmla="*/ 14 w 44"/>
                    <a:gd name="T13" fmla="*/ 0 h 5"/>
                    <a:gd name="T14" fmla="*/ 20 w 44"/>
                    <a:gd name="T15" fmla="*/ 2 h 5"/>
                    <a:gd name="T16" fmla="*/ 11 w 44"/>
                    <a:gd name="T17" fmla="*/ 1 h 5"/>
                    <a:gd name="T18" fmla="*/ 4 w 44"/>
                    <a:gd name="T19" fmla="*/ 1 h 5"/>
                    <a:gd name="T20" fmla="*/ 0 w 44"/>
                    <a:gd name="T21" fmla="*/ 2 h 5"/>
                    <a:gd name="T22" fmla="*/ 3 w 44"/>
                    <a:gd name="T23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4" h="5">
                      <a:moveTo>
                        <a:pt x="3" y="3"/>
                      </a:moveTo>
                      <a:lnTo>
                        <a:pt x="12" y="5"/>
                      </a:lnTo>
                      <a:lnTo>
                        <a:pt x="20" y="5"/>
                      </a:lnTo>
                      <a:lnTo>
                        <a:pt x="31" y="3"/>
                      </a:lnTo>
                      <a:lnTo>
                        <a:pt x="44" y="2"/>
                      </a:lnTo>
                      <a:lnTo>
                        <a:pt x="29" y="0"/>
                      </a:lnTo>
                      <a:lnTo>
                        <a:pt x="14" y="0"/>
                      </a:lnTo>
                      <a:lnTo>
                        <a:pt x="20" y="2"/>
                      </a:lnTo>
                      <a:lnTo>
                        <a:pt x="11" y="1"/>
                      </a:lnTo>
                      <a:lnTo>
                        <a:pt x="4" y="1"/>
                      </a:lnTo>
                      <a:lnTo>
                        <a:pt x="0" y="2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1" name="Freeform 924">
                  <a:extLst>
                    <a:ext uri="{FF2B5EF4-FFF2-40B4-BE49-F238E27FC236}">
                      <a16:creationId xmlns:a16="http://schemas.microsoft.com/office/drawing/2014/main" id="{9C89DAF5-FF19-4A06-8544-52D67AE86C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2220" y="5071130"/>
                  <a:ext cx="47010" cy="26521"/>
                </a:xfrm>
                <a:custGeom>
                  <a:avLst/>
                  <a:gdLst>
                    <a:gd name="T0" fmla="*/ 36 w 43"/>
                    <a:gd name="T1" fmla="*/ 5 h 21"/>
                    <a:gd name="T2" fmla="*/ 22 w 43"/>
                    <a:gd name="T3" fmla="*/ 2 h 21"/>
                    <a:gd name="T4" fmla="*/ 16 w 43"/>
                    <a:gd name="T5" fmla="*/ 0 h 21"/>
                    <a:gd name="T6" fmla="*/ 10 w 43"/>
                    <a:gd name="T7" fmla="*/ 0 h 21"/>
                    <a:gd name="T8" fmla="*/ 5 w 43"/>
                    <a:gd name="T9" fmla="*/ 2 h 21"/>
                    <a:gd name="T10" fmla="*/ 1 w 43"/>
                    <a:gd name="T11" fmla="*/ 5 h 21"/>
                    <a:gd name="T12" fmla="*/ 0 w 43"/>
                    <a:gd name="T13" fmla="*/ 8 h 21"/>
                    <a:gd name="T14" fmla="*/ 0 w 43"/>
                    <a:gd name="T15" fmla="*/ 10 h 21"/>
                    <a:gd name="T16" fmla="*/ 1 w 43"/>
                    <a:gd name="T17" fmla="*/ 13 h 21"/>
                    <a:gd name="T18" fmla="*/ 1 w 43"/>
                    <a:gd name="T19" fmla="*/ 15 h 21"/>
                    <a:gd name="T20" fmla="*/ 3 w 43"/>
                    <a:gd name="T21" fmla="*/ 18 h 21"/>
                    <a:gd name="T22" fmla="*/ 4 w 43"/>
                    <a:gd name="T23" fmla="*/ 19 h 21"/>
                    <a:gd name="T24" fmla="*/ 10 w 43"/>
                    <a:gd name="T25" fmla="*/ 21 h 21"/>
                    <a:gd name="T26" fmla="*/ 16 w 43"/>
                    <a:gd name="T27" fmla="*/ 21 h 21"/>
                    <a:gd name="T28" fmla="*/ 21 w 43"/>
                    <a:gd name="T29" fmla="*/ 21 h 21"/>
                    <a:gd name="T30" fmla="*/ 27 w 43"/>
                    <a:gd name="T31" fmla="*/ 20 h 21"/>
                    <a:gd name="T32" fmla="*/ 33 w 43"/>
                    <a:gd name="T33" fmla="*/ 18 h 21"/>
                    <a:gd name="T34" fmla="*/ 36 w 43"/>
                    <a:gd name="T35" fmla="*/ 15 h 21"/>
                    <a:gd name="T36" fmla="*/ 38 w 43"/>
                    <a:gd name="T37" fmla="*/ 11 h 21"/>
                    <a:gd name="T38" fmla="*/ 42 w 43"/>
                    <a:gd name="T39" fmla="*/ 10 h 21"/>
                    <a:gd name="T40" fmla="*/ 42 w 43"/>
                    <a:gd name="T41" fmla="*/ 10 h 21"/>
                    <a:gd name="T42" fmla="*/ 43 w 43"/>
                    <a:gd name="T43" fmla="*/ 13 h 21"/>
                    <a:gd name="T44" fmla="*/ 43 w 43"/>
                    <a:gd name="T45" fmla="*/ 10 h 21"/>
                    <a:gd name="T46" fmla="*/ 42 w 43"/>
                    <a:gd name="T47" fmla="*/ 8 h 21"/>
                    <a:gd name="T48" fmla="*/ 38 w 43"/>
                    <a:gd name="T49" fmla="*/ 7 h 21"/>
                    <a:gd name="T50" fmla="*/ 36 w 43"/>
                    <a:gd name="T51" fmla="*/ 5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43" h="21">
                      <a:moveTo>
                        <a:pt x="36" y="5"/>
                      </a:moveTo>
                      <a:lnTo>
                        <a:pt x="22" y="2"/>
                      </a:lnTo>
                      <a:lnTo>
                        <a:pt x="16" y="0"/>
                      </a:lnTo>
                      <a:lnTo>
                        <a:pt x="10" y="0"/>
                      </a:lnTo>
                      <a:lnTo>
                        <a:pt x="5" y="2"/>
                      </a:lnTo>
                      <a:lnTo>
                        <a:pt x="1" y="5"/>
                      </a:lnTo>
                      <a:lnTo>
                        <a:pt x="0" y="8"/>
                      </a:lnTo>
                      <a:lnTo>
                        <a:pt x="0" y="10"/>
                      </a:lnTo>
                      <a:lnTo>
                        <a:pt x="1" y="13"/>
                      </a:lnTo>
                      <a:lnTo>
                        <a:pt x="1" y="15"/>
                      </a:lnTo>
                      <a:lnTo>
                        <a:pt x="3" y="18"/>
                      </a:lnTo>
                      <a:lnTo>
                        <a:pt x="4" y="19"/>
                      </a:lnTo>
                      <a:lnTo>
                        <a:pt x="10" y="21"/>
                      </a:lnTo>
                      <a:lnTo>
                        <a:pt x="16" y="21"/>
                      </a:lnTo>
                      <a:lnTo>
                        <a:pt x="21" y="21"/>
                      </a:lnTo>
                      <a:lnTo>
                        <a:pt x="27" y="20"/>
                      </a:lnTo>
                      <a:lnTo>
                        <a:pt x="33" y="18"/>
                      </a:lnTo>
                      <a:lnTo>
                        <a:pt x="36" y="15"/>
                      </a:lnTo>
                      <a:lnTo>
                        <a:pt x="38" y="11"/>
                      </a:lnTo>
                      <a:lnTo>
                        <a:pt x="42" y="10"/>
                      </a:lnTo>
                      <a:lnTo>
                        <a:pt x="42" y="10"/>
                      </a:lnTo>
                      <a:lnTo>
                        <a:pt x="43" y="13"/>
                      </a:lnTo>
                      <a:lnTo>
                        <a:pt x="43" y="10"/>
                      </a:lnTo>
                      <a:lnTo>
                        <a:pt x="42" y="8"/>
                      </a:lnTo>
                      <a:lnTo>
                        <a:pt x="38" y="7"/>
                      </a:lnTo>
                      <a:lnTo>
                        <a:pt x="36" y="5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2" name="Freeform 925">
                  <a:extLst>
                    <a:ext uri="{FF2B5EF4-FFF2-40B4-BE49-F238E27FC236}">
                      <a16:creationId xmlns:a16="http://schemas.microsoft.com/office/drawing/2014/main" id="{998F2180-76EC-471D-B7E7-ECBFAD5534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2220" y="4702491"/>
                  <a:ext cx="11193" cy="5304"/>
                </a:xfrm>
                <a:custGeom>
                  <a:avLst/>
                  <a:gdLst>
                    <a:gd name="T0" fmla="*/ 0 w 10"/>
                    <a:gd name="T1" fmla="*/ 1 h 2"/>
                    <a:gd name="T2" fmla="*/ 5 w 10"/>
                    <a:gd name="T3" fmla="*/ 2 h 2"/>
                    <a:gd name="T4" fmla="*/ 10 w 10"/>
                    <a:gd name="T5" fmla="*/ 0 h 2"/>
                    <a:gd name="T6" fmla="*/ 5 w 10"/>
                    <a:gd name="T7" fmla="*/ 1 h 2"/>
                    <a:gd name="T8" fmla="*/ 0 w 10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2">
                      <a:moveTo>
                        <a:pt x="0" y="1"/>
                      </a:moveTo>
                      <a:lnTo>
                        <a:pt x="5" y="2"/>
                      </a:lnTo>
                      <a:lnTo>
                        <a:pt x="10" y="0"/>
                      </a:lnTo>
                      <a:lnTo>
                        <a:pt x="5" y="1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3" name="Freeform 926">
                  <a:extLst>
                    <a:ext uri="{FF2B5EF4-FFF2-40B4-BE49-F238E27FC236}">
                      <a16:creationId xmlns:a16="http://schemas.microsoft.com/office/drawing/2014/main" id="{353459AA-B7F4-4225-8BAA-00C8E19E57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6698" y="4691883"/>
                  <a:ext cx="26862" cy="5304"/>
                </a:xfrm>
                <a:custGeom>
                  <a:avLst/>
                  <a:gdLst>
                    <a:gd name="T0" fmla="*/ 0 w 25"/>
                    <a:gd name="T1" fmla="*/ 0 h 4"/>
                    <a:gd name="T2" fmla="*/ 6 w 25"/>
                    <a:gd name="T3" fmla="*/ 3 h 4"/>
                    <a:gd name="T4" fmla="*/ 12 w 25"/>
                    <a:gd name="T5" fmla="*/ 4 h 4"/>
                    <a:gd name="T6" fmla="*/ 20 w 25"/>
                    <a:gd name="T7" fmla="*/ 3 h 4"/>
                    <a:gd name="T8" fmla="*/ 25 w 25"/>
                    <a:gd name="T9" fmla="*/ 0 h 4"/>
                    <a:gd name="T10" fmla="*/ 12 w 25"/>
                    <a:gd name="T11" fmla="*/ 0 h 4"/>
                    <a:gd name="T12" fmla="*/ 0 w 25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5" h="4">
                      <a:moveTo>
                        <a:pt x="0" y="0"/>
                      </a:moveTo>
                      <a:lnTo>
                        <a:pt x="6" y="3"/>
                      </a:lnTo>
                      <a:lnTo>
                        <a:pt x="12" y="4"/>
                      </a:lnTo>
                      <a:lnTo>
                        <a:pt x="20" y="3"/>
                      </a:lnTo>
                      <a:lnTo>
                        <a:pt x="25" y="0"/>
                      </a:lnTo>
                      <a:lnTo>
                        <a:pt x="1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4" name="Freeform 927">
                  <a:extLst>
                    <a:ext uri="{FF2B5EF4-FFF2-40B4-BE49-F238E27FC236}">
                      <a16:creationId xmlns:a16="http://schemas.microsoft.com/office/drawing/2014/main" id="{36284200-6A0C-4629-AFC4-6FF2C14EAA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83412" y="4681275"/>
                  <a:ext cx="44770" cy="7957"/>
                </a:xfrm>
                <a:custGeom>
                  <a:avLst/>
                  <a:gdLst>
                    <a:gd name="T0" fmla="*/ 0 w 40"/>
                    <a:gd name="T1" fmla="*/ 0 h 5"/>
                    <a:gd name="T2" fmla="*/ 10 w 40"/>
                    <a:gd name="T3" fmla="*/ 1 h 5"/>
                    <a:gd name="T4" fmla="*/ 20 w 40"/>
                    <a:gd name="T5" fmla="*/ 4 h 5"/>
                    <a:gd name="T6" fmla="*/ 30 w 40"/>
                    <a:gd name="T7" fmla="*/ 5 h 5"/>
                    <a:gd name="T8" fmla="*/ 40 w 40"/>
                    <a:gd name="T9" fmla="*/ 4 h 5"/>
                    <a:gd name="T10" fmla="*/ 20 w 40"/>
                    <a:gd name="T11" fmla="*/ 1 h 5"/>
                    <a:gd name="T12" fmla="*/ 0 w 40"/>
                    <a:gd name="T13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0" h="5">
                      <a:moveTo>
                        <a:pt x="0" y="0"/>
                      </a:moveTo>
                      <a:lnTo>
                        <a:pt x="10" y="1"/>
                      </a:lnTo>
                      <a:lnTo>
                        <a:pt x="20" y="4"/>
                      </a:lnTo>
                      <a:lnTo>
                        <a:pt x="30" y="5"/>
                      </a:lnTo>
                      <a:lnTo>
                        <a:pt x="40" y="4"/>
                      </a:lnTo>
                      <a:lnTo>
                        <a:pt x="20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5" name="Freeform 928">
                  <a:extLst>
                    <a:ext uri="{FF2B5EF4-FFF2-40B4-BE49-F238E27FC236}">
                      <a16:creationId xmlns:a16="http://schemas.microsoft.com/office/drawing/2014/main" id="{8552F1B7-49EA-4DEB-8812-80A7554E09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92366" y="4702491"/>
                  <a:ext cx="26862" cy="10609"/>
                </a:xfrm>
                <a:custGeom>
                  <a:avLst/>
                  <a:gdLst>
                    <a:gd name="T0" fmla="*/ 0 w 24"/>
                    <a:gd name="T1" fmla="*/ 6 h 8"/>
                    <a:gd name="T2" fmla="*/ 1 w 24"/>
                    <a:gd name="T3" fmla="*/ 7 h 8"/>
                    <a:gd name="T4" fmla="*/ 3 w 24"/>
                    <a:gd name="T5" fmla="*/ 7 h 8"/>
                    <a:gd name="T6" fmla="*/ 11 w 24"/>
                    <a:gd name="T7" fmla="*/ 8 h 8"/>
                    <a:gd name="T8" fmla="*/ 19 w 24"/>
                    <a:gd name="T9" fmla="*/ 7 h 8"/>
                    <a:gd name="T10" fmla="*/ 22 w 24"/>
                    <a:gd name="T11" fmla="*/ 7 h 8"/>
                    <a:gd name="T12" fmla="*/ 24 w 24"/>
                    <a:gd name="T13" fmla="*/ 6 h 8"/>
                    <a:gd name="T14" fmla="*/ 19 w 24"/>
                    <a:gd name="T15" fmla="*/ 2 h 8"/>
                    <a:gd name="T16" fmla="*/ 13 w 24"/>
                    <a:gd name="T17" fmla="*/ 1 h 8"/>
                    <a:gd name="T18" fmla="*/ 7 w 24"/>
                    <a:gd name="T19" fmla="*/ 0 h 8"/>
                    <a:gd name="T20" fmla="*/ 1 w 24"/>
                    <a:gd name="T21" fmla="*/ 2 h 8"/>
                    <a:gd name="T22" fmla="*/ 3 w 24"/>
                    <a:gd name="T23" fmla="*/ 5 h 8"/>
                    <a:gd name="T24" fmla="*/ 0 w 24"/>
                    <a:gd name="T25" fmla="*/ 6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4" h="8">
                      <a:moveTo>
                        <a:pt x="0" y="6"/>
                      </a:moveTo>
                      <a:lnTo>
                        <a:pt x="1" y="7"/>
                      </a:lnTo>
                      <a:lnTo>
                        <a:pt x="3" y="7"/>
                      </a:lnTo>
                      <a:lnTo>
                        <a:pt x="11" y="8"/>
                      </a:lnTo>
                      <a:lnTo>
                        <a:pt x="19" y="7"/>
                      </a:lnTo>
                      <a:lnTo>
                        <a:pt x="22" y="7"/>
                      </a:lnTo>
                      <a:lnTo>
                        <a:pt x="24" y="6"/>
                      </a:lnTo>
                      <a:lnTo>
                        <a:pt x="19" y="2"/>
                      </a:lnTo>
                      <a:lnTo>
                        <a:pt x="13" y="1"/>
                      </a:lnTo>
                      <a:lnTo>
                        <a:pt x="7" y="0"/>
                      </a:lnTo>
                      <a:lnTo>
                        <a:pt x="1" y="2"/>
                      </a:lnTo>
                      <a:lnTo>
                        <a:pt x="3" y="5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6" name="Freeform 929">
                  <a:extLst>
                    <a:ext uri="{FF2B5EF4-FFF2-40B4-BE49-F238E27FC236}">
                      <a16:creationId xmlns:a16="http://schemas.microsoft.com/office/drawing/2014/main" id="{7B70B528-01E5-4881-868E-5EE8CAB3A3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92366" y="4670666"/>
                  <a:ext cx="33578" cy="2653"/>
                </a:xfrm>
                <a:custGeom>
                  <a:avLst/>
                  <a:gdLst>
                    <a:gd name="T0" fmla="*/ 24 w 29"/>
                    <a:gd name="T1" fmla="*/ 4 h 4"/>
                    <a:gd name="T2" fmla="*/ 29 w 29"/>
                    <a:gd name="T3" fmla="*/ 2 h 4"/>
                    <a:gd name="T4" fmla="*/ 14 w 29"/>
                    <a:gd name="T5" fmla="*/ 0 h 4"/>
                    <a:gd name="T6" fmla="*/ 7 w 29"/>
                    <a:gd name="T7" fmla="*/ 1 h 4"/>
                    <a:gd name="T8" fmla="*/ 0 w 29"/>
                    <a:gd name="T9" fmla="*/ 2 h 4"/>
                    <a:gd name="T10" fmla="*/ 12 w 29"/>
                    <a:gd name="T11" fmla="*/ 4 h 4"/>
                    <a:gd name="T12" fmla="*/ 24 w 29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4">
                      <a:moveTo>
                        <a:pt x="24" y="4"/>
                      </a:moveTo>
                      <a:lnTo>
                        <a:pt x="29" y="2"/>
                      </a:lnTo>
                      <a:lnTo>
                        <a:pt x="14" y="0"/>
                      </a:lnTo>
                      <a:lnTo>
                        <a:pt x="7" y="1"/>
                      </a:lnTo>
                      <a:lnTo>
                        <a:pt x="0" y="2"/>
                      </a:lnTo>
                      <a:lnTo>
                        <a:pt x="12" y="4"/>
                      </a:lnTo>
                      <a:lnTo>
                        <a:pt x="24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7" name="Freeform 930">
                  <a:extLst>
                    <a:ext uri="{FF2B5EF4-FFF2-40B4-BE49-F238E27FC236}">
                      <a16:creationId xmlns:a16="http://schemas.microsoft.com/office/drawing/2014/main" id="{156157E6-DDB8-44C5-A508-4B09A8A915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0275" y="4660057"/>
                  <a:ext cx="26862" cy="5304"/>
                </a:xfrm>
                <a:custGeom>
                  <a:avLst/>
                  <a:gdLst>
                    <a:gd name="T0" fmla="*/ 2 w 24"/>
                    <a:gd name="T1" fmla="*/ 4 h 4"/>
                    <a:gd name="T2" fmla="*/ 8 w 24"/>
                    <a:gd name="T3" fmla="*/ 4 h 4"/>
                    <a:gd name="T4" fmla="*/ 14 w 24"/>
                    <a:gd name="T5" fmla="*/ 4 h 4"/>
                    <a:gd name="T6" fmla="*/ 21 w 24"/>
                    <a:gd name="T7" fmla="*/ 4 h 4"/>
                    <a:gd name="T8" fmla="*/ 24 w 24"/>
                    <a:gd name="T9" fmla="*/ 1 h 4"/>
                    <a:gd name="T10" fmla="*/ 12 w 24"/>
                    <a:gd name="T11" fmla="*/ 0 h 4"/>
                    <a:gd name="T12" fmla="*/ 0 w 24"/>
                    <a:gd name="T13" fmla="*/ 1 h 4"/>
                    <a:gd name="T14" fmla="*/ 2 w 24"/>
                    <a:gd name="T15" fmla="*/ 2 h 4"/>
                    <a:gd name="T16" fmla="*/ 2 w 24"/>
                    <a:gd name="T17" fmla="*/ 2 h 4"/>
                    <a:gd name="T18" fmla="*/ 2 w 24"/>
                    <a:gd name="T19" fmla="*/ 2 h 4"/>
                    <a:gd name="T20" fmla="*/ 0 w 24"/>
                    <a:gd name="T21" fmla="*/ 4 h 4"/>
                    <a:gd name="T22" fmla="*/ 2 w 24"/>
                    <a:gd name="T2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4" h="4">
                      <a:moveTo>
                        <a:pt x="2" y="4"/>
                      </a:moveTo>
                      <a:lnTo>
                        <a:pt x="8" y="4"/>
                      </a:lnTo>
                      <a:lnTo>
                        <a:pt x="14" y="4"/>
                      </a:lnTo>
                      <a:lnTo>
                        <a:pt x="21" y="4"/>
                      </a:lnTo>
                      <a:lnTo>
                        <a:pt x="24" y="1"/>
                      </a:lnTo>
                      <a:lnTo>
                        <a:pt x="12" y="0"/>
                      </a:lnTo>
                      <a:lnTo>
                        <a:pt x="0" y="1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0" y="4"/>
                      </a:lnTo>
                      <a:lnTo>
                        <a:pt x="2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8" name="Freeform 931">
                  <a:extLst>
                    <a:ext uri="{FF2B5EF4-FFF2-40B4-BE49-F238E27FC236}">
                      <a16:creationId xmlns:a16="http://schemas.microsoft.com/office/drawing/2014/main" id="{C1E3E85D-4D9C-4597-93DF-6CB7E31270D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0275" y="4699840"/>
                  <a:ext cx="47010" cy="10609"/>
                </a:xfrm>
                <a:custGeom>
                  <a:avLst/>
                  <a:gdLst>
                    <a:gd name="T0" fmla="*/ 17 w 43"/>
                    <a:gd name="T1" fmla="*/ 9 h 9"/>
                    <a:gd name="T2" fmla="*/ 21 w 43"/>
                    <a:gd name="T3" fmla="*/ 9 h 9"/>
                    <a:gd name="T4" fmla="*/ 25 w 43"/>
                    <a:gd name="T5" fmla="*/ 8 h 9"/>
                    <a:gd name="T6" fmla="*/ 27 w 43"/>
                    <a:gd name="T7" fmla="*/ 8 h 9"/>
                    <a:gd name="T8" fmla="*/ 28 w 43"/>
                    <a:gd name="T9" fmla="*/ 6 h 9"/>
                    <a:gd name="T10" fmla="*/ 27 w 43"/>
                    <a:gd name="T11" fmla="*/ 6 h 9"/>
                    <a:gd name="T12" fmla="*/ 25 w 43"/>
                    <a:gd name="T13" fmla="*/ 5 h 9"/>
                    <a:gd name="T14" fmla="*/ 29 w 43"/>
                    <a:gd name="T15" fmla="*/ 4 h 9"/>
                    <a:gd name="T16" fmla="*/ 34 w 43"/>
                    <a:gd name="T17" fmla="*/ 4 h 9"/>
                    <a:gd name="T18" fmla="*/ 43 w 43"/>
                    <a:gd name="T19" fmla="*/ 4 h 9"/>
                    <a:gd name="T20" fmla="*/ 33 w 43"/>
                    <a:gd name="T21" fmla="*/ 1 h 9"/>
                    <a:gd name="T22" fmla="*/ 22 w 43"/>
                    <a:gd name="T23" fmla="*/ 0 h 9"/>
                    <a:gd name="T24" fmla="*/ 0 w 43"/>
                    <a:gd name="T25" fmla="*/ 1 h 9"/>
                    <a:gd name="T26" fmla="*/ 5 w 43"/>
                    <a:gd name="T27" fmla="*/ 3 h 9"/>
                    <a:gd name="T28" fmla="*/ 8 w 43"/>
                    <a:gd name="T29" fmla="*/ 5 h 9"/>
                    <a:gd name="T30" fmla="*/ 13 w 43"/>
                    <a:gd name="T31" fmla="*/ 8 h 9"/>
                    <a:gd name="T32" fmla="*/ 17 w 43"/>
                    <a:gd name="T33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43" h="9">
                      <a:moveTo>
                        <a:pt x="17" y="9"/>
                      </a:moveTo>
                      <a:lnTo>
                        <a:pt x="21" y="9"/>
                      </a:lnTo>
                      <a:lnTo>
                        <a:pt x="25" y="8"/>
                      </a:lnTo>
                      <a:lnTo>
                        <a:pt x="27" y="8"/>
                      </a:lnTo>
                      <a:lnTo>
                        <a:pt x="28" y="6"/>
                      </a:lnTo>
                      <a:lnTo>
                        <a:pt x="27" y="6"/>
                      </a:lnTo>
                      <a:lnTo>
                        <a:pt x="25" y="5"/>
                      </a:lnTo>
                      <a:lnTo>
                        <a:pt x="29" y="4"/>
                      </a:lnTo>
                      <a:lnTo>
                        <a:pt x="34" y="4"/>
                      </a:lnTo>
                      <a:lnTo>
                        <a:pt x="43" y="4"/>
                      </a:lnTo>
                      <a:lnTo>
                        <a:pt x="33" y="1"/>
                      </a:lnTo>
                      <a:lnTo>
                        <a:pt x="22" y="0"/>
                      </a:lnTo>
                      <a:lnTo>
                        <a:pt x="0" y="1"/>
                      </a:lnTo>
                      <a:lnTo>
                        <a:pt x="5" y="3"/>
                      </a:lnTo>
                      <a:lnTo>
                        <a:pt x="8" y="5"/>
                      </a:lnTo>
                      <a:lnTo>
                        <a:pt x="13" y="8"/>
                      </a:lnTo>
                      <a:lnTo>
                        <a:pt x="17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9" name="Freeform 932">
                  <a:extLst>
                    <a:ext uri="{FF2B5EF4-FFF2-40B4-BE49-F238E27FC236}">
                      <a16:creationId xmlns:a16="http://schemas.microsoft.com/office/drawing/2014/main" id="{5F90A3B5-2AF4-4FB5-B425-1968FDEA80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4751" y="4694536"/>
                  <a:ext cx="13431" cy="5304"/>
                </a:xfrm>
                <a:custGeom>
                  <a:avLst/>
                  <a:gdLst>
                    <a:gd name="T0" fmla="*/ 0 w 13"/>
                    <a:gd name="T1" fmla="*/ 0 h 2"/>
                    <a:gd name="T2" fmla="*/ 4 w 13"/>
                    <a:gd name="T3" fmla="*/ 1 h 2"/>
                    <a:gd name="T4" fmla="*/ 6 w 13"/>
                    <a:gd name="T5" fmla="*/ 2 h 2"/>
                    <a:gd name="T6" fmla="*/ 10 w 13"/>
                    <a:gd name="T7" fmla="*/ 1 h 2"/>
                    <a:gd name="T8" fmla="*/ 13 w 13"/>
                    <a:gd name="T9" fmla="*/ 0 h 2"/>
                    <a:gd name="T10" fmla="*/ 6 w 13"/>
                    <a:gd name="T11" fmla="*/ 0 h 2"/>
                    <a:gd name="T12" fmla="*/ 0 w 13"/>
                    <a:gd name="T13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3" h="2">
                      <a:moveTo>
                        <a:pt x="0" y="0"/>
                      </a:moveTo>
                      <a:lnTo>
                        <a:pt x="4" y="1"/>
                      </a:lnTo>
                      <a:lnTo>
                        <a:pt x="6" y="2"/>
                      </a:lnTo>
                      <a:lnTo>
                        <a:pt x="10" y="1"/>
                      </a:lnTo>
                      <a:lnTo>
                        <a:pt x="13" y="0"/>
                      </a:lnTo>
                      <a:lnTo>
                        <a:pt x="6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0" name="Freeform 933">
                  <a:extLst>
                    <a:ext uri="{FF2B5EF4-FFF2-40B4-BE49-F238E27FC236}">
                      <a16:creationId xmlns:a16="http://schemas.microsoft.com/office/drawing/2014/main" id="{A7B62D5C-2E6D-4FF0-88B5-C9FB775E7B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4751" y="4930569"/>
                  <a:ext cx="156696" cy="100779"/>
                </a:xfrm>
                <a:custGeom>
                  <a:avLst/>
                  <a:gdLst>
                    <a:gd name="T0" fmla="*/ 29 w 141"/>
                    <a:gd name="T1" fmla="*/ 19 h 76"/>
                    <a:gd name="T2" fmla="*/ 20 w 141"/>
                    <a:gd name="T3" fmla="*/ 22 h 76"/>
                    <a:gd name="T4" fmla="*/ 20 w 141"/>
                    <a:gd name="T5" fmla="*/ 24 h 76"/>
                    <a:gd name="T6" fmla="*/ 21 w 141"/>
                    <a:gd name="T7" fmla="*/ 29 h 76"/>
                    <a:gd name="T8" fmla="*/ 18 w 141"/>
                    <a:gd name="T9" fmla="*/ 34 h 76"/>
                    <a:gd name="T10" fmla="*/ 10 w 141"/>
                    <a:gd name="T11" fmla="*/ 34 h 76"/>
                    <a:gd name="T12" fmla="*/ 0 w 141"/>
                    <a:gd name="T13" fmla="*/ 39 h 76"/>
                    <a:gd name="T14" fmla="*/ 6 w 141"/>
                    <a:gd name="T15" fmla="*/ 49 h 76"/>
                    <a:gd name="T16" fmla="*/ 16 w 141"/>
                    <a:gd name="T17" fmla="*/ 51 h 76"/>
                    <a:gd name="T18" fmla="*/ 21 w 141"/>
                    <a:gd name="T19" fmla="*/ 50 h 76"/>
                    <a:gd name="T20" fmla="*/ 29 w 141"/>
                    <a:gd name="T21" fmla="*/ 50 h 76"/>
                    <a:gd name="T22" fmla="*/ 38 w 141"/>
                    <a:gd name="T23" fmla="*/ 50 h 76"/>
                    <a:gd name="T24" fmla="*/ 45 w 141"/>
                    <a:gd name="T25" fmla="*/ 50 h 76"/>
                    <a:gd name="T26" fmla="*/ 48 w 141"/>
                    <a:gd name="T27" fmla="*/ 55 h 76"/>
                    <a:gd name="T28" fmla="*/ 52 w 141"/>
                    <a:gd name="T29" fmla="*/ 55 h 76"/>
                    <a:gd name="T30" fmla="*/ 64 w 141"/>
                    <a:gd name="T31" fmla="*/ 61 h 76"/>
                    <a:gd name="T32" fmla="*/ 58 w 141"/>
                    <a:gd name="T33" fmla="*/ 61 h 76"/>
                    <a:gd name="T34" fmla="*/ 57 w 141"/>
                    <a:gd name="T35" fmla="*/ 62 h 76"/>
                    <a:gd name="T36" fmla="*/ 58 w 141"/>
                    <a:gd name="T37" fmla="*/ 66 h 76"/>
                    <a:gd name="T38" fmla="*/ 53 w 141"/>
                    <a:gd name="T39" fmla="*/ 69 h 76"/>
                    <a:gd name="T40" fmla="*/ 70 w 141"/>
                    <a:gd name="T41" fmla="*/ 71 h 76"/>
                    <a:gd name="T42" fmla="*/ 81 w 141"/>
                    <a:gd name="T43" fmla="*/ 73 h 76"/>
                    <a:gd name="T44" fmla="*/ 86 w 141"/>
                    <a:gd name="T45" fmla="*/ 75 h 76"/>
                    <a:gd name="T46" fmla="*/ 95 w 141"/>
                    <a:gd name="T47" fmla="*/ 72 h 76"/>
                    <a:gd name="T48" fmla="*/ 104 w 141"/>
                    <a:gd name="T49" fmla="*/ 73 h 76"/>
                    <a:gd name="T50" fmla="*/ 107 w 141"/>
                    <a:gd name="T51" fmla="*/ 73 h 76"/>
                    <a:gd name="T52" fmla="*/ 115 w 141"/>
                    <a:gd name="T53" fmla="*/ 76 h 76"/>
                    <a:gd name="T54" fmla="*/ 118 w 141"/>
                    <a:gd name="T55" fmla="*/ 73 h 76"/>
                    <a:gd name="T56" fmla="*/ 120 w 141"/>
                    <a:gd name="T57" fmla="*/ 72 h 76"/>
                    <a:gd name="T58" fmla="*/ 138 w 141"/>
                    <a:gd name="T59" fmla="*/ 76 h 76"/>
                    <a:gd name="T60" fmla="*/ 131 w 141"/>
                    <a:gd name="T61" fmla="*/ 73 h 76"/>
                    <a:gd name="T62" fmla="*/ 139 w 141"/>
                    <a:gd name="T63" fmla="*/ 73 h 76"/>
                    <a:gd name="T64" fmla="*/ 138 w 141"/>
                    <a:gd name="T65" fmla="*/ 71 h 76"/>
                    <a:gd name="T66" fmla="*/ 139 w 141"/>
                    <a:gd name="T67" fmla="*/ 70 h 76"/>
                    <a:gd name="T68" fmla="*/ 122 w 141"/>
                    <a:gd name="T69" fmla="*/ 65 h 76"/>
                    <a:gd name="T70" fmla="*/ 101 w 141"/>
                    <a:gd name="T71" fmla="*/ 55 h 76"/>
                    <a:gd name="T72" fmla="*/ 80 w 141"/>
                    <a:gd name="T73" fmla="*/ 34 h 76"/>
                    <a:gd name="T74" fmla="*/ 77 w 141"/>
                    <a:gd name="T75" fmla="*/ 28 h 76"/>
                    <a:gd name="T76" fmla="*/ 75 w 141"/>
                    <a:gd name="T77" fmla="*/ 22 h 76"/>
                    <a:gd name="T78" fmla="*/ 78 w 141"/>
                    <a:gd name="T79" fmla="*/ 23 h 76"/>
                    <a:gd name="T80" fmla="*/ 78 w 141"/>
                    <a:gd name="T81" fmla="*/ 19 h 76"/>
                    <a:gd name="T82" fmla="*/ 79 w 141"/>
                    <a:gd name="T83" fmla="*/ 17 h 76"/>
                    <a:gd name="T84" fmla="*/ 81 w 141"/>
                    <a:gd name="T85" fmla="*/ 16 h 76"/>
                    <a:gd name="T86" fmla="*/ 86 w 141"/>
                    <a:gd name="T87" fmla="*/ 13 h 76"/>
                    <a:gd name="T88" fmla="*/ 78 w 141"/>
                    <a:gd name="T89" fmla="*/ 12 h 76"/>
                    <a:gd name="T90" fmla="*/ 86 w 141"/>
                    <a:gd name="T91" fmla="*/ 8 h 76"/>
                    <a:gd name="T92" fmla="*/ 86 w 141"/>
                    <a:gd name="T93" fmla="*/ 7 h 76"/>
                    <a:gd name="T94" fmla="*/ 80 w 141"/>
                    <a:gd name="T95" fmla="*/ 2 h 76"/>
                    <a:gd name="T96" fmla="*/ 58 w 141"/>
                    <a:gd name="T97" fmla="*/ 0 h 76"/>
                    <a:gd name="T98" fmla="*/ 40 w 141"/>
                    <a:gd name="T99" fmla="*/ 2 h 76"/>
                    <a:gd name="T100" fmla="*/ 24 w 141"/>
                    <a:gd name="T101" fmla="*/ 6 h 76"/>
                    <a:gd name="T102" fmla="*/ 26 w 141"/>
                    <a:gd name="T103" fmla="*/ 12 h 76"/>
                    <a:gd name="T104" fmla="*/ 19 w 141"/>
                    <a:gd name="T105" fmla="*/ 13 h 76"/>
                    <a:gd name="T106" fmla="*/ 16 w 141"/>
                    <a:gd name="T107" fmla="*/ 19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41" h="76">
                      <a:moveTo>
                        <a:pt x="16" y="19"/>
                      </a:moveTo>
                      <a:lnTo>
                        <a:pt x="22" y="19"/>
                      </a:lnTo>
                      <a:lnTo>
                        <a:pt x="29" y="19"/>
                      </a:lnTo>
                      <a:lnTo>
                        <a:pt x="24" y="19"/>
                      </a:lnTo>
                      <a:lnTo>
                        <a:pt x="21" y="21"/>
                      </a:lnTo>
                      <a:lnTo>
                        <a:pt x="20" y="22"/>
                      </a:lnTo>
                      <a:lnTo>
                        <a:pt x="25" y="22"/>
                      </a:lnTo>
                      <a:lnTo>
                        <a:pt x="22" y="23"/>
                      </a:lnTo>
                      <a:lnTo>
                        <a:pt x="20" y="24"/>
                      </a:lnTo>
                      <a:lnTo>
                        <a:pt x="21" y="27"/>
                      </a:lnTo>
                      <a:lnTo>
                        <a:pt x="24" y="28"/>
                      </a:lnTo>
                      <a:lnTo>
                        <a:pt x="21" y="29"/>
                      </a:lnTo>
                      <a:lnTo>
                        <a:pt x="18" y="30"/>
                      </a:lnTo>
                      <a:lnTo>
                        <a:pt x="18" y="33"/>
                      </a:lnTo>
                      <a:lnTo>
                        <a:pt x="18" y="34"/>
                      </a:lnTo>
                      <a:lnTo>
                        <a:pt x="18" y="34"/>
                      </a:lnTo>
                      <a:lnTo>
                        <a:pt x="14" y="34"/>
                      </a:lnTo>
                      <a:lnTo>
                        <a:pt x="10" y="34"/>
                      </a:lnTo>
                      <a:lnTo>
                        <a:pt x="6" y="33"/>
                      </a:lnTo>
                      <a:lnTo>
                        <a:pt x="3" y="35"/>
                      </a:lnTo>
                      <a:lnTo>
                        <a:pt x="0" y="39"/>
                      </a:lnTo>
                      <a:lnTo>
                        <a:pt x="2" y="43"/>
                      </a:lnTo>
                      <a:lnTo>
                        <a:pt x="4" y="46"/>
                      </a:lnTo>
                      <a:lnTo>
                        <a:pt x="6" y="49"/>
                      </a:lnTo>
                      <a:lnTo>
                        <a:pt x="10" y="50"/>
                      </a:lnTo>
                      <a:lnTo>
                        <a:pt x="14" y="51"/>
                      </a:lnTo>
                      <a:lnTo>
                        <a:pt x="16" y="51"/>
                      </a:lnTo>
                      <a:lnTo>
                        <a:pt x="20" y="51"/>
                      </a:lnTo>
                      <a:lnTo>
                        <a:pt x="21" y="51"/>
                      </a:lnTo>
                      <a:lnTo>
                        <a:pt x="21" y="50"/>
                      </a:lnTo>
                      <a:lnTo>
                        <a:pt x="19" y="49"/>
                      </a:lnTo>
                      <a:lnTo>
                        <a:pt x="24" y="50"/>
                      </a:lnTo>
                      <a:lnTo>
                        <a:pt x="29" y="50"/>
                      </a:lnTo>
                      <a:lnTo>
                        <a:pt x="32" y="51"/>
                      </a:lnTo>
                      <a:lnTo>
                        <a:pt x="36" y="53"/>
                      </a:lnTo>
                      <a:lnTo>
                        <a:pt x="38" y="50"/>
                      </a:lnTo>
                      <a:lnTo>
                        <a:pt x="41" y="53"/>
                      </a:lnTo>
                      <a:lnTo>
                        <a:pt x="42" y="50"/>
                      </a:lnTo>
                      <a:lnTo>
                        <a:pt x="45" y="50"/>
                      </a:lnTo>
                      <a:lnTo>
                        <a:pt x="43" y="53"/>
                      </a:lnTo>
                      <a:lnTo>
                        <a:pt x="45" y="55"/>
                      </a:lnTo>
                      <a:lnTo>
                        <a:pt x="48" y="55"/>
                      </a:lnTo>
                      <a:lnTo>
                        <a:pt x="52" y="54"/>
                      </a:lnTo>
                      <a:lnTo>
                        <a:pt x="56" y="53"/>
                      </a:lnTo>
                      <a:lnTo>
                        <a:pt x="52" y="55"/>
                      </a:lnTo>
                      <a:lnTo>
                        <a:pt x="50" y="57"/>
                      </a:lnTo>
                      <a:lnTo>
                        <a:pt x="57" y="60"/>
                      </a:lnTo>
                      <a:lnTo>
                        <a:pt x="64" y="61"/>
                      </a:lnTo>
                      <a:lnTo>
                        <a:pt x="63" y="61"/>
                      </a:lnTo>
                      <a:lnTo>
                        <a:pt x="59" y="60"/>
                      </a:lnTo>
                      <a:lnTo>
                        <a:pt x="58" y="61"/>
                      </a:lnTo>
                      <a:lnTo>
                        <a:pt x="59" y="61"/>
                      </a:lnTo>
                      <a:lnTo>
                        <a:pt x="62" y="62"/>
                      </a:lnTo>
                      <a:lnTo>
                        <a:pt x="57" y="62"/>
                      </a:lnTo>
                      <a:lnTo>
                        <a:pt x="53" y="62"/>
                      </a:lnTo>
                      <a:lnTo>
                        <a:pt x="58" y="65"/>
                      </a:lnTo>
                      <a:lnTo>
                        <a:pt x="58" y="66"/>
                      </a:lnTo>
                      <a:lnTo>
                        <a:pt x="58" y="69"/>
                      </a:lnTo>
                      <a:lnTo>
                        <a:pt x="56" y="67"/>
                      </a:lnTo>
                      <a:lnTo>
                        <a:pt x="53" y="69"/>
                      </a:lnTo>
                      <a:lnTo>
                        <a:pt x="59" y="69"/>
                      </a:lnTo>
                      <a:lnTo>
                        <a:pt x="67" y="71"/>
                      </a:lnTo>
                      <a:lnTo>
                        <a:pt x="70" y="71"/>
                      </a:lnTo>
                      <a:lnTo>
                        <a:pt x="74" y="71"/>
                      </a:lnTo>
                      <a:lnTo>
                        <a:pt x="78" y="72"/>
                      </a:lnTo>
                      <a:lnTo>
                        <a:pt x="81" y="73"/>
                      </a:lnTo>
                      <a:lnTo>
                        <a:pt x="79" y="70"/>
                      </a:lnTo>
                      <a:lnTo>
                        <a:pt x="81" y="72"/>
                      </a:lnTo>
                      <a:lnTo>
                        <a:pt x="86" y="75"/>
                      </a:lnTo>
                      <a:lnTo>
                        <a:pt x="90" y="75"/>
                      </a:lnTo>
                      <a:lnTo>
                        <a:pt x="94" y="73"/>
                      </a:lnTo>
                      <a:lnTo>
                        <a:pt x="95" y="72"/>
                      </a:lnTo>
                      <a:lnTo>
                        <a:pt x="97" y="71"/>
                      </a:lnTo>
                      <a:lnTo>
                        <a:pt x="101" y="72"/>
                      </a:lnTo>
                      <a:lnTo>
                        <a:pt x="104" y="73"/>
                      </a:lnTo>
                      <a:lnTo>
                        <a:pt x="107" y="75"/>
                      </a:lnTo>
                      <a:lnTo>
                        <a:pt x="109" y="75"/>
                      </a:lnTo>
                      <a:lnTo>
                        <a:pt x="107" y="73"/>
                      </a:lnTo>
                      <a:lnTo>
                        <a:pt x="105" y="72"/>
                      </a:lnTo>
                      <a:lnTo>
                        <a:pt x="110" y="75"/>
                      </a:lnTo>
                      <a:lnTo>
                        <a:pt x="115" y="76"/>
                      </a:lnTo>
                      <a:lnTo>
                        <a:pt x="120" y="76"/>
                      </a:lnTo>
                      <a:lnTo>
                        <a:pt x="123" y="75"/>
                      </a:lnTo>
                      <a:lnTo>
                        <a:pt x="118" y="73"/>
                      </a:lnTo>
                      <a:lnTo>
                        <a:pt x="116" y="73"/>
                      </a:lnTo>
                      <a:lnTo>
                        <a:pt x="113" y="71"/>
                      </a:lnTo>
                      <a:lnTo>
                        <a:pt x="120" y="72"/>
                      </a:lnTo>
                      <a:lnTo>
                        <a:pt x="126" y="73"/>
                      </a:lnTo>
                      <a:lnTo>
                        <a:pt x="132" y="76"/>
                      </a:lnTo>
                      <a:lnTo>
                        <a:pt x="138" y="76"/>
                      </a:lnTo>
                      <a:lnTo>
                        <a:pt x="132" y="75"/>
                      </a:lnTo>
                      <a:lnTo>
                        <a:pt x="126" y="72"/>
                      </a:lnTo>
                      <a:lnTo>
                        <a:pt x="131" y="73"/>
                      </a:lnTo>
                      <a:lnTo>
                        <a:pt x="134" y="75"/>
                      </a:lnTo>
                      <a:lnTo>
                        <a:pt x="137" y="73"/>
                      </a:lnTo>
                      <a:lnTo>
                        <a:pt x="139" y="73"/>
                      </a:lnTo>
                      <a:lnTo>
                        <a:pt x="141" y="72"/>
                      </a:lnTo>
                      <a:lnTo>
                        <a:pt x="139" y="71"/>
                      </a:lnTo>
                      <a:lnTo>
                        <a:pt x="138" y="71"/>
                      </a:lnTo>
                      <a:lnTo>
                        <a:pt x="139" y="71"/>
                      </a:lnTo>
                      <a:lnTo>
                        <a:pt x="141" y="71"/>
                      </a:lnTo>
                      <a:lnTo>
                        <a:pt x="139" y="70"/>
                      </a:lnTo>
                      <a:lnTo>
                        <a:pt x="137" y="69"/>
                      </a:lnTo>
                      <a:lnTo>
                        <a:pt x="134" y="69"/>
                      </a:lnTo>
                      <a:lnTo>
                        <a:pt x="122" y="65"/>
                      </a:lnTo>
                      <a:lnTo>
                        <a:pt x="111" y="61"/>
                      </a:lnTo>
                      <a:lnTo>
                        <a:pt x="106" y="59"/>
                      </a:lnTo>
                      <a:lnTo>
                        <a:pt x="101" y="55"/>
                      </a:lnTo>
                      <a:lnTo>
                        <a:pt x="91" y="46"/>
                      </a:lnTo>
                      <a:lnTo>
                        <a:pt x="81" y="38"/>
                      </a:lnTo>
                      <a:lnTo>
                        <a:pt x="80" y="34"/>
                      </a:lnTo>
                      <a:lnTo>
                        <a:pt x="80" y="32"/>
                      </a:lnTo>
                      <a:lnTo>
                        <a:pt x="80" y="30"/>
                      </a:lnTo>
                      <a:lnTo>
                        <a:pt x="77" y="28"/>
                      </a:lnTo>
                      <a:lnTo>
                        <a:pt x="72" y="24"/>
                      </a:lnTo>
                      <a:lnTo>
                        <a:pt x="78" y="24"/>
                      </a:lnTo>
                      <a:lnTo>
                        <a:pt x="75" y="22"/>
                      </a:lnTo>
                      <a:lnTo>
                        <a:pt x="72" y="22"/>
                      </a:lnTo>
                      <a:lnTo>
                        <a:pt x="75" y="22"/>
                      </a:lnTo>
                      <a:lnTo>
                        <a:pt x="78" y="23"/>
                      </a:lnTo>
                      <a:lnTo>
                        <a:pt x="79" y="22"/>
                      </a:lnTo>
                      <a:lnTo>
                        <a:pt x="79" y="21"/>
                      </a:lnTo>
                      <a:lnTo>
                        <a:pt x="78" y="19"/>
                      </a:lnTo>
                      <a:lnTo>
                        <a:pt x="77" y="18"/>
                      </a:lnTo>
                      <a:lnTo>
                        <a:pt x="83" y="18"/>
                      </a:lnTo>
                      <a:lnTo>
                        <a:pt x="79" y="17"/>
                      </a:lnTo>
                      <a:lnTo>
                        <a:pt x="74" y="16"/>
                      </a:lnTo>
                      <a:lnTo>
                        <a:pt x="77" y="16"/>
                      </a:lnTo>
                      <a:lnTo>
                        <a:pt x="81" y="16"/>
                      </a:lnTo>
                      <a:lnTo>
                        <a:pt x="86" y="16"/>
                      </a:lnTo>
                      <a:lnTo>
                        <a:pt x="86" y="14"/>
                      </a:lnTo>
                      <a:lnTo>
                        <a:pt x="86" y="13"/>
                      </a:lnTo>
                      <a:lnTo>
                        <a:pt x="85" y="12"/>
                      </a:lnTo>
                      <a:lnTo>
                        <a:pt x="81" y="12"/>
                      </a:lnTo>
                      <a:lnTo>
                        <a:pt x="78" y="12"/>
                      </a:lnTo>
                      <a:lnTo>
                        <a:pt x="75" y="11"/>
                      </a:lnTo>
                      <a:lnTo>
                        <a:pt x="81" y="11"/>
                      </a:lnTo>
                      <a:lnTo>
                        <a:pt x="86" y="8"/>
                      </a:lnTo>
                      <a:lnTo>
                        <a:pt x="78" y="8"/>
                      </a:lnTo>
                      <a:lnTo>
                        <a:pt x="84" y="8"/>
                      </a:lnTo>
                      <a:lnTo>
                        <a:pt x="86" y="7"/>
                      </a:lnTo>
                      <a:lnTo>
                        <a:pt x="90" y="6"/>
                      </a:lnTo>
                      <a:lnTo>
                        <a:pt x="85" y="3"/>
                      </a:lnTo>
                      <a:lnTo>
                        <a:pt x="80" y="2"/>
                      </a:lnTo>
                      <a:lnTo>
                        <a:pt x="72" y="2"/>
                      </a:lnTo>
                      <a:lnTo>
                        <a:pt x="64" y="1"/>
                      </a:lnTo>
                      <a:lnTo>
                        <a:pt x="58" y="0"/>
                      </a:lnTo>
                      <a:lnTo>
                        <a:pt x="52" y="0"/>
                      </a:lnTo>
                      <a:lnTo>
                        <a:pt x="45" y="2"/>
                      </a:lnTo>
                      <a:lnTo>
                        <a:pt x="40" y="2"/>
                      </a:lnTo>
                      <a:lnTo>
                        <a:pt x="34" y="2"/>
                      </a:lnTo>
                      <a:lnTo>
                        <a:pt x="29" y="3"/>
                      </a:lnTo>
                      <a:lnTo>
                        <a:pt x="24" y="6"/>
                      </a:lnTo>
                      <a:lnTo>
                        <a:pt x="24" y="7"/>
                      </a:lnTo>
                      <a:lnTo>
                        <a:pt x="25" y="10"/>
                      </a:lnTo>
                      <a:lnTo>
                        <a:pt x="26" y="12"/>
                      </a:lnTo>
                      <a:lnTo>
                        <a:pt x="29" y="13"/>
                      </a:lnTo>
                      <a:lnTo>
                        <a:pt x="24" y="13"/>
                      </a:lnTo>
                      <a:lnTo>
                        <a:pt x="19" y="13"/>
                      </a:lnTo>
                      <a:lnTo>
                        <a:pt x="14" y="14"/>
                      </a:lnTo>
                      <a:lnTo>
                        <a:pt x="11" y="18"/>
                      </a:lnTo>
                      <a:lnTo>
                        <a:pt x="16" y="19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1" name="Freeform 934">
                  <a:extLst>
                    <a:ext uri="{FF2B5EF4-FFF2-40B4-BE49-F238E27FC236}">
                      <a16:creationId xmlns:a16="http://schemas.microsoft.com/office/drawing/2014/main" id="{197EDAD3-F4F0-4952-A443-6629E7F1CE2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25945" y="4686578"/>
                  <a:ext cx="17908" cy="5304"/>
                </a:xfrm>
                <a:custGeom>
                  <a:avLst/>
                  <a:gdLst>
                    <a:gd name="T0" fmla="*/ 0 w 17"/>
                    <a:gd name="T1" fmla="*/ 1 h 3"/>
                    <a:gd name="T2" fmla="*/ 3 w 17"/>
                    <a:gd name="T3" fmla="*/ 3 h 3"/>
                    <a:gd name="T4" fmla="*/ 9 w 17"/>
                    <a:gd name="T5" fmla="*/ 3 h 3"/>
                    <a:gd name="T6" fmla="*/ 14 w 17"/>
                    <a:gd name="T7" fmla="*/ 2 h 3"/>
                    <a:gd name="T8" fmla="*/ 17 w 17"/>
                    <a:gd name="T9" fmla="*/ 1 h 3"/>
                    <a:gd name="T10" fmla="*/ 9 w 17"/>
                    <a:gd name="T11" fmla="*/ 0 h 3"/>
                    <a:gd name="T12" fmla="*/ 0 w 17"/>
                    <a:gd name="T13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7" h="3">
                      <a:moveTo>
                        <a:pt x="0" y="1"/>
                      </a:moveTo>
                      <a:lnTo>
                        <a:pt x="3" y="3"/>
                      </a:lnTo>
                      <a:lnTo>
                        <a:pt x="9" y="3"/>
                      </a:lnTo>
                      <a:lnTo>
                        <a:pt x="14" y="2"/>
                      </a:lnTo>
                      <a:lnTo>
                        <a:pt x="17" y="1"/>
                      </a:lnTo>
                      <a:lnTo>
                        <a:pt x="9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2" name="Freeform 935">
                  <a:extLst>
                    <a:ext uri="{FF2B5EF4-FFF2-40B4-BE49-F238E27FC236}">
                      <a16:creationId xmlns:a16="http://schemas.microsoft.com/office/drawing/2014/main" id="{57EBD224-7709-4EA9-AFD5-766AF8CF1D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25945" y="4673320"/>
                  <a:ext cx="17908" cy="5304"/>
                </a:xfrm>
                <a:custGeom>
                  <a:avLst/>
                  <a:gdLst>
                    <a:gd name="T0" fmla="*/ 0 w 16"/>
                    <a:gd name="T1" fmla="*/ 1 h 2"/>
                    <a:gd name="T2" fmla="*/ 9 w 16"/>
                    <a:gd name="T3" fmla="*/ 2 h 2"/>
                    <a:gd name="T4" fmla="*/ 13 w 16"/>
                    <a:gd name="T5" fmla="*/ 2 h 2"/>
                    <a:gd name="T6" fmla="*/ 16 w 16"/>
                    <a:gd name="T7" fmla="*/ 1 h 2"/>
                    <a:gd name="T8" fmla="*/ 9 w 16"/>
                    <a:gd name="T9" fmla="*/ 0 h 2"/>
                    <a:gd name="T10" fmla="*/ 0 w 16"/>
                    <a:gd name="T11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6" h="2">
                      <a:moveTo>
                        <a:pt x="0" y="1"/>
                      </a:moveTo>
                      <a:lnTo>
                        <a:pt x="9" y="2"/>
                      </a:lnTo>
                      <a:lnTo>
                        <a:pt x="13" y="2"/>
                      </a:lnTo>
                      <a:lnTo>
                        <a:pt x="16" y="1"/>
                      </a:lnTo>
                      <a:lnTo>
                        <a:pt x="9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3" name="Freeform 936">
                  <a:extLst>
                    <a:ext uri="{FF2B5EF4-FFF2-40B4-BE49-F238E27FC236}">
                      <a16:creationId xmlns:a16="http://schemas.microsoft.com/office/drawing/2014/main" id="{A640101D-D853-4E7B-83CE-4B65B9552F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32660" y="4681275"/>
                  <a:ext cx="2240" cy="0"/>
                </a:xfrm>
                <a:custGeom>
                  <a:avLst/>
                  <a:gdLst>
                    <a:gd name="T0" fmla="*/ 0 w 4"/>
                    <a:gd name="T1" fmla="*/ 4 w 4"/>
                    <a:gd name="T2" fmla="*/ 0 w 4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4">
                      <a:moveTo>
                        <a:pt x="0" y="0"/>
                      </a:moveTo>
                      <a:lnTo>
                        <a:pt x="4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4" name="Freeform 937">
                  <a:extLst>
                    <a:ext uri="{FF2B5EF4-FFF2-40B4-BE49-F238E27FC236}">
                      <a16:creationId xmlns:a16="http://schemas.microsoft.com/office/drawing/2014/main" id="{370A9C71-3636-4DE8-A2B8-B6E9969A22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39376" y="4678623"/>
                  <a:ext cx="17908" cy="2653"/>
                </a:xfrm>
                <a:custGeom>
                  <a:avLst/>
                  <a:gdLst>
                    <a:gd name="T0" fmla="*/ 0 w 14"/>
                    <a:gd name="T1" fmla="*/ 0 h 2"/>
                    <a:gd name="T2" fmla="*/ 7 w 14"/>
                    <a:gd name="T3" fmla="*/ 2 h 2"/>
                    <a:gd name="T4" fmla="*/ 14 w 14"/>
                    <a:gd name="T5" fmla="*/ 0 h 2"/>
                    <a:gd name="T6" fmla="*/ 7 w 14"/>
                    <a:gd name="T7" fmla="*/ 0 h 2"/>
                    <a:gd name="T8" fmla="*/ 0 w 14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" h="2">
                      <a:moveTo>
                        <a:pt x="0" y="0"/>
                      </a:moveTo>
                      <a:lnTo>
                        <a:pt x="7" y="2"/>
                      </a:lnTo>
                      <a:lnTo>
                        <a:pt x="14" y="0"/>
                      </a:lnTo>
                      <a:lnTo>
                        <a:pt x="7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5" name="Freeform 938">
                  <a:extLst>
                    <a:ext uri="{FF2B5EF4-FFF2-40B4-BE49-F238E27FC236}">
                      <a16:creationId xmlns:a16="http://schemas.microsoft.com/office/drawing/2014/main" id="{9695D092-57EF-482E-AC19-86B746D2AD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41613" y="4808574"/>
                  <a:ext cx="288769" cy="127299"/>
                </a:xfrm>
                <a:custGeom>
                  <a:avLst/>
                  <a:gdLst>
                    <a:gd name="T0" fmla="*/ 15 w 258"/>
                    <a:gd name="T1" fmla="*/ 89 h 97"/>
                    <a:gd name="T2" fmla="*/ 21 w 258"/>
                    <a:gd name="T3" fmla="*/ 93 h 97"/>
                    <a:gd name="T4" fmla="*/ 40 w 258"/>
                    <a:gd name="T5" fmla="*/ 93 h 97"/>
                    <a:gd name="T6" fmla="*/ 50 w 258"/>
                    <a:gd name="T7" fmla="*/ 93 h 97"/>
                    <a:gd name="T8" fmla="*/ 61 w 258"/>
                    <a:gd name="T9" fmla="*/ 95 h 97"/>
                    <a:gd name="T10" fmla="*/ 69 w 258"/>
                    <a:gd name="T11" fmla="*/ 94 h 97"/>
                    <a:gd name="T12" fmla="*/ 66 w 258"/>
                    <a:gd name="T13" fmla="*/ 87 h 97"/>
                    <a:gd name="T14" fmla="*/ 79 w 258"/>
                    <a:gd name="T15" fmla="*/ 86 h 97"/>
                    <a:gd name="T16" fmla="*/ 70 w 258"/>
                    <a:gd name="T17" fmla="*/ 82 h 97"/>
                    <a:gd name="T18" fmla="*/ 65 w 258"/>
                    <a:gd name="T19" fmla="*/ 79 h 97"/>
                    <a:gd name="T20" fmla="*/ 81 w 258"/>
                    <a:gd name="T21" fmla="*/ 83 h 97"/>
                    <a:gd name="T22" fmla="*/ 79 w 258"/>
                    <a:gd name="T23" fmla="*/ 77 h 97"/>
                    <a:gd name="T24" fmla="*/ 72 w 258"/>
                    <a:gd name="T25" fmla="*/ 73 h 97"/>
                    <a:gd name="T26" fmla="*/ 74 w 258"/>
                    <a:gd name="T27" fmla="*/ 72 h 97"/>
                    <a:gd name="T28" fmla="*/ 85 w 258"/>
                    <a:gd name="T29" fmla="*/ 72 h 97"/>
                    <a:gd name="T30" fmla="*/ 90 w 258"/>
                    <a:gd name="T31" fmla="*/ 72 h 97"/>
                    <a:gd name="T32" fmla="*/ 87 w 258"/>
                    <a:gd name="T33" fmla="*/ 65 h 97"/>
                    <a:gd name="T34" fmla="*/ 95 w 258"/>
                    <a:gd name="T35" fmla="*/ 63 h 97"/>
                    <a:gd name="T36" fmla="*/ 96 w 258"/>
                    <a:gd name="T37" fmla="*/ 59 h 97"/>
                    <a:gd name="T38" fmla="*/ 96 w 258"/>
                    <a:gd name="T39" fmla="*/ 57 h 97"/>
                    <a:gd name="T40" fmla="*/ 111 w 258"/>
                    <a:gd name="T41" fmla="*/ 59 h 97"/>
                    <a:gd name="T42" fmla="*/ 116 w 258"/>
                    <a:gd name="T43" fmla="*/ 57 h 97"/>
                    <a:gd name="T44" fmla="*/ 116 w 258"/>
                    <a:gd name="T45" fmla="*/ 54 h 97"/>
                    <a:gd name="T46" fmla="*/ 112 w 258"/>
                    <a:gd name="T47" fmla="*/ 51 h 97"/>
                    <a:gd name="T48" fmla="*/ 117 w 258"/>
                    <a:gd name="T49" fmla="*/ 47 h 97"/>
                    <a:gd name="T50" fmla="*/ 127 w 258"/>
                    <a:gd name="T51" fmla="*/ 45 h 97"/>
                    <a:gd name="T52" fmla="*/ 135 w 258"/>
                    <a:gd name="T53" fmla="*/ 44 h 97"/>
                    <a:gd name="T54" fmla="*/ 156 w 258"/>
                    <a:gd name="T55" fmla="*/ 36 h 97"/>
                    <a:gd name="T56" fmla="*/ 170 w 258"/>
                    <a:gd name="T57" fmla="*/ 33 h 97"/>
                    <a:gd name="T58" fmla="*/ 202 w 258"/>
                    <a:gd name="T59" fmla="*/ 28 h 97"/>
                    <a:gd name="T60" fmla="*/ 256 w 258"/>
                    <a:gd name="T61" fmla="*/ 9 h 97"/>
                    <a:gd name="T62" fmla="*/ 232 w 258"/>
                    <a:gd name="T63" fmla="*/ 0 h 97"/>
                    <a:gd name="T64" fmla="*/ 197 w 258"/>
                    <a:gd name="T65" fmla="*/ 8 h 97"/>
                    <a:gd name="T66" fmla="*/ 187 w 258"/>
                    <a:gd name="T67" fmla="*/ 12 h 97"/>
                    <a:gd name="T68" fmla="*/ 176 w 258"/>
                    <a:gd name="T69" fmla="*/ 15 h 97"/>
                    <a:gd name="T70" fmla="*/ 130 w 258"/>
                    <a:gd name="T71" fmla="*/ 18 h 97"/>
                    <a:gd name="T72" fmla="*/ 111 w 258"/>
                    <a:gd name="T73" fmla="*/ 22 h 97"/>
                    <a:gd name="T74" fmla="*/ 104 w 258"/>
                    <a:gd name="T75" fmla="*/ 24 h 97"/>
                    <a:gd name="T76" fmla="*/ 101 w 258"/>
                    <a:gd name="T77" fmla="*/ 25 h 97"/>
                    <a:gd name="T78" fmla="*/ 69 w 258"/>
                    <a:gd name="T79" fmla="*/ 31 h 97"/>
                    <a:gd name="T80" fmla="*/ 61 w 258"/>
                    <a:gd name="T81" fmla="*/ 35 h 97"/>
                    <a:gd name="T82" fmla="*/ 58 w 258"/>
                    <a:gd name="T83" fmla="*/ 39 h 97"/>
                    <a:gd name="T84" fmla="*/ 45 w 258"/>
                    <a:gd name="T85" fmla="*/ 40 h 97"/>
                    <a:gd name="T86" fmla="*/ 40 w 258"/>
                    <a:gd name="T87" fmla="*/ 47 h 97"/>
                    <a:gd name="T88" fmla="*/ 26 w 258"/>
                    <a:gd name="T89" fmla="*/ 46 h 97"/>
                    <a:gd name="T90" fmla="*/ 33 w 258"/>
                    <a:gd name="T91" fmla="*/ 50 h 97"/>
                    <a:gd name="T92" fmla="*/ 37 w 258"/>
                    <a:gd name="T93" fmla="*/ 51 h 97"/>
                    <a:gd name="T94" fmla="*/ 37 w 258"/>
                    <a:gd name="T95" fmla="*/ 56 h 97"/>
                    <a:gd name="T96" fmla="*/ 45 w 258"/>
                    <a:gd name="T97" fmla="*/ 59 h 97"/>
                    <a:gd name="T98" fmla="*/ 29 w 258"/>
                    <a:gd name="T99" fmla="*/ 59 h 97"/>
                    <a:gd name="T100" fmla="*/ 33 w 258"/>
                    <a:gd name="T101" fmla="*/ 62 h 97"/>
                    <a:gd name="T102" fmla="*/ 28 w 258"/>
                    <a:gd name="T103" fmla="*/ 65 h 97"/>
                    <a:gd name="T104" fmla="*/ 28 w 258"/>
                    <a:gd name="T105" fmla="*/ 68 h 97"/>
                    <a:gd name="T106" fmla="*/ 39 w 258"/>
                    <a:gd name="T107" fmla="*/ 73 h 97"/>
                    <a:gd name="T108" fmla="*/ 20 w 258"/>
                    <a:gd name="T109" fmla="*/ 74 h 97"/>
                    <a:gd name="T110" fmla="*/ 0 w 258"/>
                    <a:gd name="T111" fmla="*/ 83 h 97"/>
                    <a:gd name="T112" fmla="*/ 15 w 258"/>
                    <a:gd name="T113" fmla="*/ 86 h 97"/>
                    <a:gd name="T114" fmla="*/ 27 w 258"/>
                    <a:gd name="T115" fmla="*/ 84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58" h="97">
                      <a:moveTo>
                        <a:pt x="23" y="86"/>
                      </a:moveTo>
                      <a:lnTo>
                        <a:pt x="21" y="86"/>
                      </a:lnTo>
                      <a:lnTo>
                        <a:pt x="17" y="87"/>
                      </a:lnTo>
                      <a:lnTo>
                        <a:pt x="15" y="89"/>
                      </a:lnTo>
                      <a:lnTo>
                        <a:pt x="16" y="92"/>
                      </a:lnTo>
                      <a:lnTo>
                        <a:pt x="12" y="93"/>
                      </a:lnTo>
                      <a:lnTo>
                        <a:pt x="17" y="94"/>
                      </a:lnTo>
                      <a:lnTo>
                        <a:pt x="21" y="93"/>
                      </a:lnTo>
                      <a:lnTo>
                        <a:pt x="26" y="92"/>
                      </a:lnTo>
                      <a:lnTo>
                        <a:pt x="29" y="92"/>
                      </a:lnTo>
                      <a:lnTo>
                        <a:pt x="34" y="92"/>
                      </a:lnTo>
                      <a:lnTo>
                        <a:pt x="40" y="93"/>
                      </a:lnTo>
                      <a:lnTo>
                        <a:pt x="43" y="93"/>
                      </a:lnTo>
                      <a:lnTo>
                        <a:pt x="48" y="94"/>
                      </a:lnTo>
                      <a:lnTo>
                        <a:pt x="50" y="94"/>
                      </a:lnTo>
                      <a:lnTo>
                        <a:pt x="50" y="93"/>
                      </a:lnTo>
                      <a:lnTo>
                        <a:pt x="50" y="92"/>
                      </a:lnTo>
                      <a:lnTo>
                        <a:pt x="54" y="94"/>
                      </a:lnTo>
                      <a:lnTo>
                        <a:pt x="58" y="95"/>
                      </a:lnTo>
                      <a:lnTo>
                        <a:pt x="61" y="95"/>
                      </a:lnTo>
                      <a:lnTo>
                        <a:pt x="65" y="97"/>
                      </a:lnTo>
                      <a:lnTo>
                        <a:pt x="68" y="95"/>
                      </a:lnTo>
                      <a:lnTo>
                        <a:pt x="66" y="93"/>
                      </a:lnTo>
                      <a:lnTo>
                        <a:pt x="69" y="94"/>
                      </a:lnTo>
                      <a:lnTo>
                        <a:pt x="71" y="93"/>
                      </a:lnTo>
                      <a:lnTo>
                        <a:pt x="75" y="89"/>
                      </a:lnTo>
                      <a:lnTo>
                        <a:pt x="69" y="88"/>
                      </a:lnTo>
                      <a:lnTo>
                        <a:pt x="66" y="87"/>
                      </a:lnTo>
                      <a:lnTo>
                        <a:pt x="63" y="84"/>
                      </a:lnTo>
                      <a:lnTo>
                        <a:pt x="71" y="88"/>
                      </a:lnTo>
                      <a:lnTo>
                        <a:pt x="75" y="88"/>
                      </a:lnTo>
                      <a:lnTo>
                        <a:pt x="79" y="86"/>
                      </a:lnTo>
                      <a:lnTo>
                        <a:pt x="79" y="86"/>
                      </a:lnTo>
                      <a:lnTo>
                        <a:pt x="77" y="84"/>
                      </a:lnTo>
                      <a:lnTo>
                        <a:pt x="74" y="83"/>
                      </a:lnTo>
                      <a:lnTo>
                        <a:pt x="70" y="82"/>
                      </a:lnTo>
                      <a:lnTo>
                        <a:pt x="63" y="79"/>
                      </a:lnTo>
                      <a:lnTo>
                        <a:pt x="60" y="79"/>
                      </a:lnTo>
                      <a:lnTo>
                        <a:pt x="58" y="79"/>
                      </a:lnTo>
                      <a:lnTo>
                        <a:pt x="65" y="79"/>
                      </a:lnTo>
                      <a:lnTo>
                        <a:pt x="71" y="81"/>
                      </a:lnTo>
                      <a:lnTo>
                        <a:pt x="76" y="82"/>
                      </a:lnTo>
                      <a:lnTo>
                        <a:pt x="79" y="83"/>
                      </a:lnTo>
                      <a:lnTo>
                        <a:pt x="81" y="83"/>
                      </a:lnTo>
                      <a:lnTo>
                        <a:pt x="84" y="82"/>
                      </a:lnTo>
                      <a:lnTo>
                        <a:pt x="84" y="81"/>
                      </a:lnTo>
                      <a:lnTo>
                        <a:pt x="81" y="78"/>
                      </a:lnTo>
                      <a:lnTo>
                        <a:pt x="79" y="77"/>
                      </a:lnTo>
                      <a:lnTo>
                        <a:pt x="74" y="74"/>
                      </a:lnTo>
                      <a:lnTo>
                        <a:pt x="71" y="74"/>
                      </a:lnTo>
                      <a:lnTo>
                        <a:pt x="69" y="73"/>
                      </a:lnTo>
                      <a:lnTo>
                        <a:pt x="72" y="73"/>
                      </a:lnTo>
                      <a:lnTo>
                        <a:pt x="72" y="73"/>
                      </a:lnTo>
                      <a:lnTo>
                        <a:pt x="71" y="72"/>
                      </a:lnTo>
                      <a:lnTo>
                        <a:pt x="70" y="71"/>
                      </a:lnTo>
                      <a:lnTo>
                        <a:pt x="74" y="72"/>
                      </a:lnTo>
                      <a:lnTo>
                        <a:pt x="77" y="74"/>
                      </a:lnTo>
                      <a:lnTo>
                        <a:pt x="82" y="76"/>
                      </a:lnTo>
                      <a:lnTo>
                        <a:pt x="87" y="76"/>
                      </a:lnTo>
                      <a:lnTo>
                        <a:pt x="85" y="72"/>
                      </a:lnTo>
                      <a:lnTo>
                        <a:pt x="87" y="73"/>
                      </a:lnTo>
                      <a:lnTo>
                        <a:pt x="90" y="73"/>
                      </a:lnTo>
                      <a:lnTo>
                        <a:pt x="91" y="72"/>
                      </a:lnTo>
                      <a:lnTo>
                        <a:pt x="90" y="72"/>
                      </a:lnTo>
                      <a:lnTo>
                        <a:pt x="87" y="71"/>
                      </a:lnTo>
                      <a:lnTo>
                        <a:pt x="93" y="71"/>
                      </a:lnTo>
                      <a:lnTo>
                        <a:pt x="91" y="67"/>
                      </a:lnTo>
                      <a:lnTo>
                        <a:pt x="87" y="65"/>
                      </a:lnTo>
                      <a:lnTo>
                        <a:pt x="80" y="61"/>
                      </a:lnTo>
                      <a:lnTo>
                        <a:pt x="87" y="63"/>
                      </a:lnTo>
                      <a:lnTo>
                        <a:pt x="91" y="65"/>
                      </a:lnTo>
                      <a:lnTo>
                        <a:pt x="95" y="63"/>
                      </a:lnTo>
                      <a:lnTo>
                        <a:pt x="96" y="63"/>
                      </a:lnTo>
                      <a:lnTo>
                        <a:pt x="98" y="62"/>
                      </a:lnTo>
                      <a:lnTo>
                        <a:pt x="98" y="60"/>
                      </a:lnTo>
                      <a:lnTo>
                        <a:pt x="96" y="59"/>
                      </a:lnTo>
                      <a:lnTo>
                        <a:pt x="98" y="60"/>
                      </a:lnTo>
                      <a:lnTo>
                        <a:pt x="100" y="59"/>
                      </a:lnTo>
                      <a:lnTo>
                        <a:pt x="98" y="59"/>
                      </a:lnTo>
                      <a:lnTo>
                        <a:pt x="96" y="57"/>
                      </a:lnTo>
                      <a:lnTo>
                        <a:pt x="100" y="59"/>
                      </a:lnTo>
                      <a:lnTo>
                        <a:pt x="104" y="60"/>
                      </a:lnTo>
                      <a:lnTo>
                        <a:pt x="108" y="60"/>
                      </a:lnTo>
                      <a:lnTo>
                        <a:pt x="111" y="59"/>
                      </a:lnTo>
                      <a:lnTo>
                        <a:pt x="104" y="56"/>
                      </a:lnTo>
                      <a:lnTo>
                        <a:pt x="108" y="57"/>
                      </a:lnTo>
                      <a:lnTo>
                        <a:pt x="113" y="57"/>
                      </a:lnTo>
                      <a:lnTo>
                        <a:pt x="116" y="57"/>
                      </a:lnTo>
                      <a:lnTo>
                        <a:pt x="118" y="56"/>
                      </a:lnTo>
                      <a:lnTo>
                        <a:pt x="119" y="55"/>
                      </a:lnTo>
                      <a:lnTo>
                        <a:pt x="118" y="55"/>
                      </a:lnTo>
                      <a:lnTo>
                        <a:pt x="116" y="54"/>
                      </a:lnTo>
                      <a:lnTo>
                        <a:pt x="122" y="54"/>
                      </a:lnTo>
                      <a:lnTo>
                        <a:pt x="120" y="51"/>
                      </a:lnTo>
                      <a:lnTo>
                        <a:pt x="117" y="51"/>
                      </a:lnTo>
                      <a:lnTo>
                        <a:pt x="112" y="51"/>
                      </a:lnTo>
                      <a:lnTo>
                        <a:pt x="109" y="50"/>
                      </a:lnTo>
                      <a:lnTo>
                        <a:pt x="114" y="50"/>
                      </a:lnTo>
                      <a:lnTo>
                        <a:pt x="116" y="50"/>
                      </a:lnTo>
                      <a:lnTo>
                        <a:pt x="117" y="47"/>
                      </a:lnTo>
                      <a:lnTo>
                        <a:pt x="120" y="49"/>
                      </a:lnTo>
                      <a:lnTo>
                        <a:pt x="123" y="50"/>
                      </a:lnTo>
                      <a:lnTo>
                        <a:pt x="124" y="47"/>
                      </a:lnTo>
                      <a:lnTo>
                        <a:pt x="127" y="45"/>
                      </a:lnTo>
                      <a:lnTo>
                        <a:pt x="129" y="44"/>
                      </a:lnTo>
                      <a:lnTo>
                        <a:pt x="130" y="41"/>
                      </a:lnTo>
                      <a:lnTo>
                        <a:pt x="133" y="44"/>
                      </a:lnTo>
                      <a:lnTo>
                        <a:pt x="135" y="44"/>
                      </a:lnTo>
                      <a:lnTo>
                        <a:pt x="139" y="40"/>
                      </a:lnTo>
                      <a:lnTo>
                        <a:pt x="146" y="38"/>
                      </a:lnTo>
                      <a:lnTo>
                        <a:pt x="152" y="36"/>
                      </a:lnTo>
                      <a:lnTo>
                        <a:pt x="156" y="36"/>
                      </a:lnTo>
                      <a:lnTo>
                        <a:pt x="161" y="36"/>
                      </a:lnTo>
                      <a:lnTo>
                        <a:pt x="165" y="35"/>
                      </a:lnTo>
                      <a:lnTo>
                        <a:pt x="168" y="34"/>
                      </a:lnTo>
                      <a:lnTo>
                        <a:pt x="170" y="33"/>
                      </a:lnTo>
                      <a:lnTo>
                        <a:pt x="175" y="33"/>
                      </a:lnTo>
                      <a:lnTo>
                        <a:pt x="178" y="31"/>
                      </a:lnTo>
                      <a:lnTo>
                        <a:pt x="182" y="31"/>
                      </a:lnTo>
                      <a:lnTo>
                        <a:pt x="202" y="28"/>
                      </a:lnTo>
                      <a:lnTo>
                        <a:pt x="221" y="24"/>
                      </a:lnTo>
                      <a:lnTo>
                        <a:pt x="240" y="19"/>
                      </a:lnTo>
                      <a:lnTo>
                        <a:pt x="258" y="11"/>
                      </a:lnTo>
                      <a:lnTo>
                        <a:pt x="256" y="9"/>
                      </a:lnTo>
                      <a:lnTo>
                        <a:pt x="254" y="8"/>
                      </a:lnTo>
                      <a:lnTo>
                        <a:pt x="251" y="4"/>
                      </a:lnTo>
                      <a:lnTo>
                        <a:pt x="241" y="1"/>
                      </a:lnTo>
                      <a:lnTo>
                        <a:pt x="232" y="0"/>
                      </a:lnTo>
                      <a:lnTo>
                        <a:pt x="222" y="0"/>
                      </a:lnTo>
                      <a:lnTo>
                        <a:pt x="214" y="1"/>
                      </a:lnTo>
                      <a:lnTo>
                        <a:pt x="205" y="4"/>
                      </a:lnTo>
                      <a:lnTo>
                        <a:pt x="197" y="8"/>
                      </a:lnTo>
                      <a:lnTo>
                        <a:pt x="203" y="12"/>
                      </a:lnTo>
                      <a:lnTo>
                        <a:pt x="197" y="11"/>
                      </a:lnTo>
                      <a:lnTo>
                        <a:pt x="191" y="11"/>
                      </a:lnTo>
                      <a:lnTo>
                        <a:pt x="187" y="12"/>
                      </a:lnTo>
                      <a:lnTo>
                        <a:pt x="183" y="13"/>
                      </a:lnTo>
                      <a:lnTo>
                        <a:pt x="182" y="13"/>
                      </a:lnTo>
                      <a:lnTo>
                        <a:pt x="179" y="14"/>
                      </a:lnTo>
                      <a:lnTo>
                        <a:pt x="176" y="15"/>
                      </a:lnTo>
                      <a:lnTo>
                        <a:pt x="167" y="17"/>
                      </a:lnTo>
                      <a:lnTo>
                        <a:pt x="157" y="17"/>
                      </a:lnTo>
                      <a:lnTo>
                        <a:pt x="144" y="19"/>
                      </a:lnTo>
                      <a:lnTo>
                        <a:pt x="130" y="18"/>
                      </a:lnTo>
                      <a:lnTo>
                        <a:pt x="116" y="18"/>
                      </a:lnTo>
                      <a:lnTo>
                        <a:pt x="113" y="18"/>
                      </a:lnTo>
                      <a:lnTo>
                        <a:pt x="111" y="19"/>
                      </a:lnTo>
                      <a:lnTo>
                        <a:pt x="111" y="22"/>
                      </a:lnTo>
                      <a:lnTo>
                        <a:pt x="113" y="23"/>
                      </a:lnTo>
                      <a:lnTo>
                        <a:pt x="109" y="24"/>
                      </a:lnTo>
                      <a:lnTo>
                        <a:pt x="107" y="25"/>
                      </a:lnTo>
                      <a:lnTo>
                        <a:pt x="104" y="24"/>
                      </a:lnTo>
                      <a:lnTo>
                        <a:pt x="107" y="22"/>
                      </a:lnTo>
                      <a:lnTo>
                        <a:pt x="101" y="22"/>
                      </a:lnTo>
                      <a:lnTo>
                        <a:pt x="95" y="24"/>
                      </a:lnTo>
                      <a:lnTo>
                        <a:pt x="101" y="25"/>
                      </a:lnTo>
                      <a:lnTo>
                        <a:pt x="91" y="25"/>
                      </a:lnTo>
                      <a:lnTo>
                        <a:pt x="82" y="28"/>
                      </a:lnTo>
                      <a:lnTo>
                        <a:pt x="75" y="30"/>
                      </a:lnTo>
                      <a:lnTo>
                        <a:pt x="69" y="31"/>
                      </a:lnTo>
                      <a:lnTo>
                        <a:pt x="66" y="33"/>
                      </a:lnTo>
                      <a:lnTo>
                        <a:pt x="63" y="33"/>
                      </a:lnTo>
                      <a:lnTo>
                        <a:pt x="60" y="34"/>
                      </a:lnTo>
                      <a:lnTo>
                        <a:pt x="61" y="35"/>
                      </a:lnTo>
                      <a:lnTo>
                        <a:pt x="63" y="35"/>
                      </a:lnTo>
                      <a:lnTo>
                        <a:pt x="58" y="36"/>
                      </a:lnTo>
                      <a:lnTo>
                        <a:pt x="54" y="38"/>
                      </a:lnTo>
                      <a:lnTo>
                        <a:pt x="58" y="39"/>
                      </a:lnTo>
                      <a:lnTo>
                        <a:pt x="59" y="41"/>
                      </a:lnTo>
                      <a:lnTo>
                        <a:pt x="55" y="41"/>
                      </a:lnTo>
                      <a:lnTo>
                        <a:pt x="50" y="40"/>
                      </a:lnTo>
                      <a:lnTo>
                        <a:pt x="45" y="40"/>
                      </a:lnTo>
                      <a:lnTo>
                        <a:pt x="42" y="43"/>
                      </a:lnTo>
                      <a:lnTo>
                        <a:pt x="44" y="45"/>
                      </a:lnTo>
                      <a:lnTo>
                        <a:pt x="43" y="46"/>
                      </a:lnTo>
                      <a:lnTo>
                        <a:pt x="40" y="47"/>
                      </a:lnTo>
                      <a:lnTo>
                        <a:pt x="36" y="46"/>
                      </a:lnTo>
                      <a:lnTo>
                        <a:pt x="29" y="45"/>
                      </a:lnTo>
                      <a:lnTo>
                        <a:pt x="28" y="45"/>
                      </a:lnTo>
                      <a:lnTo>
                        <a:pt x="26" y="46"/>
                      </a:lnTo>
                      <a:lnTo>
                        <a:pt x="26" y="47"/>
                      </a:lnTo>
                      <a:lnTo>
                        <a:pt x="27" y="49"/>
                      </a:lnTo>
                      <a:lnTo>
                        <a:pt x="29" y="50"/>
                      </a:lnTo>
                      <a:lnTo>
                        <a:pt x="33" y="50"/>
                      </a:lnTo>
                      <a:lnTo>
                        <a:pt x="37" y="50"/>
                      </a:lnTo>
                      <a:lnTo>
                        <a:pt x="38" y="50"/>
                      </a:lnTo>
                      <a:lnTo>
                        <a:pt x="39" y="50"/>
                      </a:lnTo>
                      <a:lnTo>
                        <a:pt x="37" y="51"/>
                      </a:lnTo>
                      <a:lnTo>
                        <a:pt x="43" y="52"/>
                      </a:lnTo>
                      <a:lnTo>
                        <a:pt x="37" y="52"/>
                      </a:lnTo>
                      <a:lnTo>
                        <a:pt x="31" y="56"/>
                      </a:lnTo>
                      <a:lnTo>
                        <a:pt x="37" y="56"/>
                      </a:lnTo>
                      <a:lnTo>
                        <a:pt x="42" y="56"/>
                      </a:lnTo>
                      <a:lnTo>
                        <a:pt x="47" y="59"/>
                      </a:lnTo>
                      <a:lnTo>
                        <a:pt x="52" y="59"/>
                      </a:lnTo>
                      <a:lnTo>
                        <a:pt x="45" y="59"/>
                      </a:lnTo>
                      <a:lnTo>
                        <a:pt x="38" y="57"/>
                      </a:lnTo>
                      <a:lnTo>
                        <a:pt x="37" y="57"/>
                      </a:lnTo>
                      <a:lnTo>
                        <a:pt x="33" y="57"/>
                      </a:lnTo>
                      <a:lnTo>
                        <a:pt x="29" y="59"/>
                      </a:lnTo>
                      <a:lnTo>
                        <a:pt x="28" y="60"/>
                      </a:lnTo>
                      <a:lnTo>
                        <a:pt x="28" y="61"/>
                      </a:lnTo>
                      <a:lnTo>
                        <a:pt x="29" y="61"/>
                      </a:lnTo>
                      <a:lnTo>
                        <a:pt x="33" y="62"/>
                      </a:lnTo>
                      <a:lnTo>
                        <a:pt x="39" y="63"/>
                      </a:lnTo>
                      <a:lnTo>
                        <a:pt x="42" y="63"/>
                      </a:lnTo>
                      <a:lnTo>
                        <a:pt x="33" y="63"/>
                      </a:lnTo>
                      <a:lnTo>
                        <a:pt x="28" y="65"/>
                      </a:lnTo>
                      <a:lnTo>
                        <a:pt x="25" y="67"/>
                      </a:lnTo>
                      <a:lnTo>
                        <a:pt x="29" y="67"/>
                      </a:lnTo>
                      <a:lnTo>
                        <a:pt x="34" y="70"/>
                      </a:lnTo>
                      <a:lnTo>
                        <a:pt x="28" y="68"/>
                      </a:lnTo>
                      <a:lnTo>
                        <a:pt x="25" y="68"/>
                      </a:lnTo>
                      <a:lnTo>
                        <a:pt x="22" y="70"/>
                      </a:lnTo>
                      <a:lnTo>
                        <a:pt x="31" y="71"/>
                      </a:lnTo>
                      <a:lnTo>
                        <a:pt x="39" y="73"/>
                      </a:lnTo>
                      <a:lnTo>
                        <a:pt x="33" y="72"/>
                      </a:lnTo>
                      <a:lnTo>
                        <a:pt x="26" y="72"/>
                      </a:lnTo>
                      <a:lnTo>
                        <a:pt x="22" y="72"/>
                      </a:lnTo>
                      <a:lnTo>
                        <a:pt x="20" y="74"/>
                      </a:lnTo>
                      <a:lnTo>
                        <a:pt x="17" y="76"/>
                      </a:lnTo>
                      <a:lnTo>
                        <a:pt x="18" y="77"/>
                      </a:lnTo>
                      <a:lnTo>
                        <a:pt x="20" y="77"/>
                      </a:lnTo>
                      <a:lnTo>
                        <a:pt x="0" y="83"/>
                      </a:lnTo>
                      <a:lnTo>
                        <a:pt x="4" y="84"/>
                      </a:lnTo>
                      <a:lnTo>
                        <a:pt x="7" y="86"/>
                      </a:lnTo>
                      <a:lnTo>
                        <a:pt x="11" y="87"/>
                      </a:lnTo>
                      <a:lnTo>
                        <a:pt x="15" y="86"/>
                      </a:lnTo>
                      <a:lnTo>
                        <a:pt x="20" y="84"/>
                      </a:lnTo>
                      <a:lnTo>
                        <a:pt x="23" y="83"/>
                      </a:lnTo>
                      <a:lnTo>
                        <a:pt x="32" y="83"/>
                      </a:lnTo>
                      <a:lnTo>
                        <a:pt x="27" y="84"/>
                      </a:lnTo>
                      <a:lnTo>
                        <a:pt x="23" y="86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6" name="Freeform 939">
                  <a:extLst>
                    <a:ext uri="{FF2B5EF4-FFF2-40B4-BE49-F238E27FC236}">
                      <a16:creationId xmlns:a16="http://schemas.microsoft.com/office/drawing/2014/main" id="{2E084FB8-85FF-451B-85D8-0A450DA77D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41613" y="4999523"/>
                  <a:ext cx="20148" cy="15912"/>
                </a:xfrm>
                <a:custGeom>
                  <a:avLst/>
                  <a:gdLst>
                    <a:gd name="T0" fmla="*/ 18 w 18"/>
                    <a:gd name="T1" fmla="*/ 12 h 12"/>
                    <a:gd name="T2" fmla="*/ 18 w 18"/>
                    <a:gd name="T3" fmla="*/ 7 h 12"/>
                    <a:gd name="T4" fmla="*/ 16 w 18"/>
                    <a:gd name="T5" fmla="*/ 4 h 12"/>
                    <a:gd name="T6" fmla="*/ 12 w 18"/>
                    <a:gd name="T7" fmla="*/ 3 h 12"/>
                    <a:gd name="T8" fmla="*/ 9 w 18"/>
                    <a:gd name="T9" fmla="*/ 1 h 12"/>
                    <a:gd name="T10" fmla="*/ 15 w 18"/>
                    <a:gd name="T11" fmla="*/ 3 h 12"/>
                    <a:gd name="T12" fmla="*/ 11 w 18"/>
                    <a:gd name="T13" fmla="*/ 1 h 12"/>
                    <a:gd name="T14" fmla="*/ 7 w 18"/>
                    <a:gd name="T15" fmla="*/ 0 h 12"/>
                    <a:gd name="T16" fmla="*/ 2 w 18"/>
                    <a:gd name="T17" fmla="*/ 1 h 12"/>
                    <a:gd name="T18" fmla="*/ 0 w 18"/>
                    <a:gd name="T19" fmla="*/ 4 h 12"/>
                    <a:gd name="T20" fmla="*/ 10 w 18"/>
                    <a:gd name="T21" fmla="*/ 7 h 12"/>
                    <a:gd name="T22" fmla="*/ 15 w 18"/>
                    <a:gd name="T23" fmla="*/ 8 h 12"/>
                    <a:gd name="T24" fmla="*/ 18 w 18"/>
                    <a:gd name="T25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8" h="12">
                      <a:moveTo>
                        <a:pt x="18" y="12"/>
                      </a:moveTo>
                      <a:lnTo>
                        <a:pt x="18" y="7"/>
                      </a:lnTo>
                      <a:lnTo>
                        <a:pt x="16" y="4"/>
                      </a:lnTo>
                      <a:lnTo>
                        <a:pt x="12" y="3"/>
                      </a:lnTo>
                      <a:lnTo>
                        <a:pt x="9" y="1"/>
                      </a:lnTo>
                      <a:lnTo>
                        <a:pt x="15" y="3"/>
                      </a:lnTo>
                      <a:lnTo>
                        <a:pt x="11" y="1"/>
                      </a:lnTo>
                      <a:lnTo>
                        <a:pt x="7" y="0"/>
                      </a:lnTo>
                      <a:lnTo>
                        <a:pt x="2" y="1"/>
                      </a:lnTo>
                      <a:lnTo>
                        <a:pt x="0" y="4"/>
                      </a:lnTo>
                      <a:lnTo>
                        <a:pt x="10" y="7"/>
                      </a:lnTo>
                      <a:lnTo>
                        <a:pt x="15" y="8"/>
                      </a:lnTo>
                      <a:lnTo>
                        <a:pt x="18" y="1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7" name="Freeform 940">
                  <a:extLst>
                    <a:ext uri="{FF2B5EF4-FFF2-40B4-BE49-F238E27FC236}">
                      <a16:creationId xmlns:a16="http://schemas.microsoft.com/office/drawing/2014/main" id="{B18B7C72-2757-469F-8B96-5E5D81134E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46091" y="4715752"/>
                  <a:ext cx="13431" cy="0"/>
                </a:xfrm>
                <a:custGeom>
                  <a:avLst/>
                  <a:gdLst>
                    <a:gd name="T0" fmla="*/ 1 w 12"/>
                    <a:gd name="T1" fmla="*/ 0 h 2"/>
                    <a:gd name="T2" fmla="*/ 0 w 12"/>
                    <a:gd name="T3" fmla="*/ 0 h 2"/>
                    <a:gd name="T4" fmla="*/ 6 w 12"/>
                    <a:gd name="T5" fmla="*/ 2 h 2"/>
                    <a:gd name="T6" fmla="*/ 9 w 12"/>
                    <a:gd name="T7" fmla="*/ 2 h 2"/>
                    <a:gd name="T8" fmla="*/ 12 w 12"/>
                    <a:gd name="T9" fmla="*/ 2 h 2"/>
                    <a:gd name="T10" fmla="*/ 7 w 12"/>
                    <a:gd name="T11" fmla="*/ 0 h 2"/>
                    <a:gd name="T12" fmla="*/ 1 w 12"/>
                    <a:gd name="T13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">
                      <a:moveTo>
                        <a:pt x="1" y="0"/>
                      </a:moveTo>
                      <a:lnTo>
                        <a:pt x="0" y="0"/>
                      </a:lnTo>
                      <a:lnTo>
                        <a:pt x="6" y="2"/>
                      </a:lnTo>
                      <a:lnTo>
                        <a:pt x="9" y="2"/>
                      </a:lnTo>
                      <a:lnTo>
                        <a:pt x="12" y="2"/>
                      </a:lnTo>
                      <a:lnTo>
                        <a:pt x="7" y="0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8" name="Freeform 941">
                  <a:extLst>
                    <a:ext uri="{FF2B5EF4-FFF2-40B4-BE49-F238E27FC236}">
                      <a16:creationId xmlns:a16="http://schemas.microsoft.com/office/drawing/2014/main" id="{DEC86428-80D6-4247-9804-DBE68D8CD1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52806" y="4675971"/>
                  <a:ext cx="15670" cy="2653"/>
                </a:xfrm>
                <a:custGeom>
                  <a:avLst/>
                  <a:gdLst>
                    <a:gd name="T0" fmla="*/ 2 w 15"/>
                    <a:gd name="T1" fmla="*/ 1 h 2"/>
                    <a:gd name="T2" fmla="*/ 0 w 15"/>
                    <a:gd name="T3" fmla="*/ 1 h 2"/>
                    <a:gd name="T4" fmla="*/ 7 w 15"/>
                    <a:gd name="T5" fmla="*/ 2 h 2"/>
                    <a:gd name="T6" fmla="*/ 11 w 15"/>
                    <a:gd name="T7" fmla="*/ 2 h 2"/>
                    <a:gd name="T8" fmla="*/ 15 w 15"/>
                    <a:gd name="T9" fmla="*/ 1 h 2"/>
                    <a:gd name="T10" fmla="*/ 8 w 15"/>
                    <a:gd name="T11" fmla="*/ 0 h 2"/>
                    <a:gd name="T12" fmla="*/ 2 w 15"/>
                    <a:gd name="T13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" h="2">
                      <a:moveTo>
                        <a:pt x="2" y="1"/>
                      </a:moveTo>
                      <a:lnTo>
                        <a:pt x="0" y="1"/>
                      </a:lnTo>
                      <a:lnTo>
                        <a:pt x="7" y="2"/>
                      </a:lnTo>
                      <a:lnTo>
                        <a:pt x="11" y="2"/>
                      </a:lnTo>
                      <a:lnTo>
                        <a:pt x="15" y="1"/>
                      </a:lnTo>
                      <a:lnTo>
                        <a:pt x="8" y="0"/>
                      </a:lnTo>
                      <a:lnTo>
                        <a:pt x="2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9" name="Freeform 942">
                  <a:extLst>
                    <a:ext uri="{FF2B5EF4-FFF2-40B4-BE49-F238E27FC236}">
                      <a16:creationId xmlns:a16="http://schemas.microsoft.com/office/drawing/2014/main" id="{D7AA578D-2EA6-4829-B244-06B88EB72D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52806" y="4686578"/>
                  <a:ext cx="58201" cy="15912"/>
                </a:xfrm>
                <a:custGeom>
                  <a:avLst/>
                  <a:gdLst>
                    <a:gd name="T0" fmla="*/ 2 w 52"/>
                    <a:gd name="T1" fmla="*/ 8 h 11"/>
                    <a:gd name="T2" fmla="*/ 9 w 52"/>
                    <a:gd name="T3" fmla="*/ 9 h 11"/>
                    <a:gd name="T4" fmla="*/ 17 w 52"/>
                    <a:gd name="T5" fmla="*/ 11 h 11"/>
                    <a:gd name="T6" fmla="*/ 32 w 52"/>
                    <a:gd name="T7" fmla="*/ 9 h 11"/>
                    <a:gd name="T8" fmla="*/ 37 w 52"/>
                    <a:gd name="T9" fmla="*/ 9 h 11"/>
                    <a:gd name="T10" fmla="*/ 43 w 52"/>
                    <a:gd name="T11" fmla="*/ 9 h 11"/>
                    <a:gd name="T12" fmla="*/ 48 w 52"/>
                    <a:gd name="T13" fmla="*/ 7 h 11"/>
                    <a:gd name="T14" fmla="*/ 52 w 52"/>
                    <a:gd name="T15" fmla="*/ 2 h 11"/>
                    <a:gd name="T16" fmla="*/ 47 w 52"/>
                    <a:gd name="T17" fmla="*/ 1 h 11"/>
                    <a:gd name="T18" fmla="*/ 42 w 52"/>
                    <a:gd name="T19" fmla="*/ 0 h 11"/>
                    <a:gd name="T20" fmla="*/ 32 w 52"/>
                    <a:gd name="T21" fmla="*/ 0 h 11"/>
                    <a:gd name="T22" fmla="*/ 21 w 52"/>
                    <a:gd name="T23" fmla="*/ 1 h 11"/>
                    <a:gd name="T24" fmla="*/ 11 w 52"/>
                    <a:gd name="T25" fmla="*/ 2 h 11"/>
                    <a:gd name="T26" fmla="*/ 14 w 52"/>
                    <a:gd name="T27" fmla="*/ 1 h 11"/>
                    <a:gd name="T28" fmla="*/ 15 w 52"/>
                    <a:gd name="T29" fmla="*/ 1 h 11"/>
                    <a:gd name="T30" fmla="*/ 14 w 52"/>
                    <a:gd name="T31" fmla="*/ 1 h 11"/>
                    <a:gd name="T32" fmla="*/ 11 w 52"/>
                    <a:gd name="T33" fmla="*/ 1 h 11"/>
                    <a:gd name="T34" fmla="*/ 9 w 52"/>
                    <a:gd name="T35" fmla="*/ 1 h 11"/>
                    <a:gd name="T36" fmla="*/ 4 w 52"/>
                    <a:gd name="T37" fmla="*/ 2 h 11"/>
                    <a:gd name="T38" fmla="*/ 0 w 52"/>
                    <a:gd name="T39" fmla="*/ 6 h 11"/>
                    <a:gd name="T40" fmla="*/ 2 w 52"/>
                    <a:gd name="T41" fmla="*/ 8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52" h="11">
                      <a:moveTo>
                        <a:pt x="2" y="8"/>
                      </a:moveTo>
                      <a:lnTo>
                        <a:pt x="9" y="9"/>
                      </a:lnTo>
                      <a:lnTo>
                        <a:pt x="17" y="11"/>
                      </a:lnTo>
                      <a:lnTo>
                        <a:pt x="32" y="9"/>
                      </a:lnTo>
                      <a:lnTo>
                        <a:pt x="37" y="9"/>
                      </a:lnTo>
                      <a:lnTo>
                        <a:pt x="43" y="9"/>
                      </a:lnTo>
                      <a:lnTo>
                        <a:pt x="48" y="7"/>
                      </a:lnTo>
                      <a:lnTo>
                        <a:pt x="52" y="2"/>
                      </a:lnTo>
                      <a:lnTo>
                        <a:pt x="47" y="1"/>
                      </a:lnTo>
                      <a:lnTo>
                        <a:pt x="42" y="0"/>
                      </a:lnTo>
                      <a:lnTo>
                        <a:pt x="32" y="0"/>
                      </a:lnTo>
                      <a:lnTo>
                        <a:pt x="21" y="1"/>
                      </a:lnTo>
                      <a:lnTo>
                        <a:pt x="11" y="2"/>
                      </a:lnTo>
                      <a:lnTo>
                        <a:pt x="14" y="1"/>
                      </a:lnTo>
                      <a:lnTo>
                        <a:pt x="15" y="1"/>
                      </a:lnTo>
                      <a:lnTo>
                        <a:pt x="14" y="1"/>
                      </a:lnTo>
                      <a:lnTo>
                        <a:pt x="11" y="1"/>
                      </a:lnTo>
                      <a:lnTo>
                        <a:pt x="9" y="1"/>
                      </a:lnTo>
                      <a:lnTo>
                        <a:pt x="4" y="2"/>
                      </a:lnTo>
                      <a:lnTo>
                        <a:pt x="0" y="6"/>
                      </a:lnTo>
                      <a:lnTo>
                        <a:pt x="2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0" name="Freeform 943">
                  <a:extLst>
                    <a:ext uri="{FF2B5EF4-FFF2-40B4-BE49-F238E27FC236}">
                      <a16:creationId xmlns:a16="http://schemas.microsoft.com/office/drawing/2014/main" id="{E33D21B2-5C9A-45A7-9F0B-169B1F5B88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55045" y="4710448"/>
                  <a:ext cx="22385" cy="5304"/>
                </a:xfrm>
                <a:custGeom>
                  <a:avLst/>
                  <a:gdLst>
                    <a:gd name="T0" fmla="*/ 0 w 20"/>
                    <a:gd name="T1" fmla="*/ 2 h 3"/>
                    <a:gd name="T2" fmla="*/ 10 w 20"/>
                    <a:gd name="T3" fmla="*/ 3 h 3"/>
                    <a:gd name="T4" fmla="*/ 15 w 20"/>
                    <a:gd name="T5" fmla="*/ 3 h 3"/>
                    <a:gd name="T6" fmla="*/ 20 w 20"/>
                    <a:gd name="T7" fmla="*/ 2 h 3"/>
                    <a:gd name="T8" fmla="*/ 15 w 20"/>
                    <a:gd name="T9" fmla="*/ 1 h 3"/>
                    <a:gd name="T10" fmla="*/ 10 w 20"/>
                    <a:gd name="T11" fmla="*/ 0 h 3"/>
                    <a:gd name="T12" fmla="*/ 5 w 20"/>
                    <a:gd name="T13" fmla="*/ 0 h 3"/>
                    <a:gd name="T14" fmla="*/ 0 w 20"/>
                    <a:gd name="T15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0" h="3">
                      <a:moveTo>
                        <a:pt x="0" y="2"/>
                      </a:moveTo>
                      <a:lnTo>
                        <a:pt x="10" y="3"/>
                      </a:lnTo>
                      <a:lnTo>
                        <a:pt x="15" y="3"/>
                      </a:lnTo>
                      <a:lnTo>
                        <a:pt x="20" y="2"/>
                      </a:lnTo>
                      <a:lnTo>
                        <a:pt x="15" y="1"/>
                      </a:lnTo>
                      <a:lnTo>
                        <a:pt x="10" y="0"/>
                      </a:lnTo>
                      <a:lnTo>
                        <a:pt x="5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1" name="Freeform 944">
                  <a:extLst>
                    <a:ext uri="{FF2B5EF4-FFF2-40B4-BE49-F238E27FC236}">
                      <a16:creationId xmlns:a16="http://schemas.microsoft.com/office/drawing/2014/main" id="{A86EFBB7-2880-4BBA-9843-A2986A78D4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63998" y="4681275"/>
                  <a:ext cx="31340" cy="7957"/>
                </a:xfrm>
                <a:custGeom>
                  <a:avLst/>
                  <a:gdLst>
                    <a:gd name="T0" fmla="*/ 0 w 27"/>
                    <a:gd name="T1" fmla="*/ 2 h 5"/>
                    <a:gd name="T2" fmla="*/ 6 w 27"/>
                    <a:gd name="T3" fmla="*/ 4 h 5"/>
                    <a:gd name="T4" fmla="*/ 13 w 27"/>
                    <a:gd name="T5" fmla="*/ 5 h 5"/>
                    <a:gd name="T6" fmla="*/ 21 w 27"/>
                    <a:gd name="T7" fmla="*/ 4 h 5"/>
                    <a:gd name="T8" fmla="*/ 27 w 27"/>
                    <a:gd name="T9" fmla="*/ 0 h 5"/>
                    <a:gd name="T10" fmla="*/ 13 w 27"/>
                    <a:gd name="T11" fmla="*/ 0 h 5"/>
                    <a:gd name="T12" fmla="*/ 0 w 27"/>
                    <a:gd name="T13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7" h="5">
                      <a:moveTo>
                        <a:pt x="0" y="2"/>
                      </a:moveTo>
                      <a:lnTo>
                        <a:pt x="6" y="4"/>
                      </a:lnTo>
                      <a:lnTo>
                        <a:pt x="13" y="5"/>
                      </a:lnTo>
                      <a:lnTo>
                        <a:pt x="21" y="4"/>
                      </a:lnTo>
                      <a:lnTo>
                        <a:pt x="27" y="0"/>
                      </a:lnTo>
                      <a:lnTo>
                        <a:pt x="1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2" name="Freeform 945">
                  <a:extLst>
                    <a:ext uri="{FF2B5EF4-FFF2-40B4-BE49-F238E27FC236}">
                      <a16:creationId xmlns:a16="http://schemas.microsoft.com/office/drawing/2014/main" id="{23816B0C-FC98-423B-8FE6-43EDC79252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17723" y="4678623"/>
                  <a:ext cx="53725" cy="15912"/>
                </a:xfrm>
                <a:custGeom>
                  <a:avLst/>
                  <a:gdLst>
                    <a:gd name="T0" fmla="*/ 0 w 49"/>
                    <a:gd name="T1" fmla="*/ 8 h 11"/>
                    <a:gd name="T2" fmla="*/ 4 w 49"/>
                    <a:gd name="T3" fmla="*/ 10 h 11"/>
                    <a:gd name="T4" fmla="*/ 9 w 49"/>
                    <a:gd name="T5" fmla="*/ 11 h 11"/>
                    <a:gd name="T6" fmla="*/ 22 w 49"/>
                    <a:gd name="T7" fmla="*/ 11 h 11"/>
                    <a:gd name="T8" fmla="*/ 35 w 49"/>
                    <a:gd name="T9" fmla="*/ 10 h 11"/>
                    <a:gd name="T10" fmla="*/ 49 w 49"/>
                    <a:gd name="T11" fmla="*/ 7 h 11"/>
                    <a:gd name="T12" fmla="*/ 45 w 49"/>
                    <a:gd name="T13" fmla="*/ 3 h 11"/>
                    <a:gd name="T14" fmla="*/ 38 w 49"/>
                    <a:gd name="T15" fmla="*/ 0 h 11"/>
                    <a:gd name="T16" fmla="*/ 30 w 49"/>
                    <a:gd name="T17" fmla="*/ 0 h 11"/>
                    <a:gd name="T18" fmla="*/ 25 w 49"/>
                    <a:gd name="T19" fmla="*/ 2 h 11"/>
                    <a:gd name="T20" fmla="*/ 23 w 49"/>
                    <a:gd name="T21" fmla="*/ 3 h 11"/>
                    <a:gd name="T22" fmla="*/ 23 w 49"/>
                    <a:gd name="T23" fmla="*/ 4 h 11"/>
                    <a:gd name="T24" fmla="*/ 23 w 49"/>
                    <a:gd name="T25" fmla="*/ 5 h 11"/>
                    <a:gd name="T26" fmla="*/ 20 w 49"/>
                    <a:gd name="T27" fmla="*/ 5 h 11"/>
                    <a:gd name="T28" fmla="*/ 9 w 49"/>
                    <a:gd name="T29" fmla="*/ 5 h 11"/>
                    <a:gd name="T30" fmla="*/ 0 w 49"/>
                    <a:gd name="T31" fmla="*/ 8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9" h="11">
                      <a:moveTo>
                        <a:pt x="0" y="8"/>
                      </a:moveTo>
                      <a:lnTo>
                        <a:pt x="4" y="10"/>
                      </a:lnTo>
                      <a:lnTo>
                        <a:pt x="9" y="11"/>
                      </a:lnTo>
                      <a:lnTo>
                        <a:pt x="22" y="11"/>
                      </a:lnTo>
                      <a:lnTo>
                        <a:pt x="35" y="10"/>
                      </a:lnTo>
                      <a:lnTo>
                        <a:pt x="49" y="7"/>
                      </a:lnTo>
                      <a:lnTo>
                        <a:pt x="45" y="3"/>
                      </a:lnTo>
                      <a:lnTo>
                        <a:pt x="38" y="0"/>
                      </a:lnTo>
                      <a:lnTo>
                        <a:pt x="30" y="0"/>
                      </a:lnTo>
                      <a:lnTo>
                        <a:pt x="25" y="2"/>
                      </a:lnTo>
                      <a:lnTo>
                        <a:pt x="23" y="3"/>
                      </a:lnTo>
                      <a:lnTo>
                        <a:pt x="23" y="4"/>
                      </a:lnTo>
                      <a:lnTo>
                        <a:pt x="23" y="5"/>
                      </a:lnTo>
                      <a:lnTo>
                        <a:pt x="20" y="5"/>
                      </a:lnTo>
                      <a:lnTo>
                        <a:pt x="9" y="5"/>
                      </a:lnTo>
                      <a:lnTo>
                        <a:pt x="0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3" name="Freeform 946">
                  <a:extLst>
                    <a:ext uri="{FF2B5EF4-FFF2-40B4-BE49-F238E27FC236}">
                      <a16:creationId xmlns:a16="http://schemas.microsoft.com/office/drawing/2014/main" id="{4B02456A-0C90-45C5-838E-F7D3DFE0B1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89355" y="5097651"/>
                  <a:ext cx="13431" cy="0"/>
                </a:xfrm>
                <a:custGeom>
                  <a:avLst/>
                  <a:gdLst>
                    <a:gd name="T0" fmla="*/ 0 w 11"/>
                    <a:gd name="T1" fmla="*/ 1 h 1"/>
                    <a:gd name="T2" fmla="*/ 2 w 11"/>
                    <a:gd name="T3" fmla="*/ 1 h 1"/>
                    <a:gd name="T4" fmla="*/ 6 w 11"/>
                    <a:gd name="T5" fmla="*/ 1 h 1"/>
                    <a:gd name="T6" fmla="*/ 10 w 11"/>
                    <a:gd name="T7" fmla="*/ 1 h 1"/>
                    <a:gd name="T8" fmla="*/ 11 w 11"/>
                    <a:gd name="T9" fmla="*/ 0 h 1"/>
                    <a:gd name="T10" fmla="*/ 6 w 11"/>
                    <a:gd name="T11" fmla="*/ 0 h 1"/>
                    <a:gd name="T12" fmla="*/ 0 w 11"/>
                    <a:gd name="T13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1">
                      <a:moveTo>
                        <a:pt x="0" y="1"/>
                      </a:moveTo>
                      <a:lnTo>
                        <a:pt x="2" y="1"/>
                      </a:lnTo>
                      <a:lnTo>
                        <a:pt x="6" y="1"/>
                      </a:lnTo>
                      <a:lnTo>
                        <a:pt x="10" y="1"/>
                      </a:lnTo>
                      <a:lnTo>
                        <a:pt x="11" y="0"/>
                      </a:lnTo>
                      <a:lnTo>
                        <a:pt x="6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4" name="Freeform 995">
                  <a:extLst>
                    <a:ext uri="{FF2B5EF4-FFF2-40B4-BE49-F238E27FC236}">
                      <a16:creationId xmlns:a16="http://schemas.microsoft.com/office/drawing/2014/main" id="{15CF7EF1-2C4C-407A-910A-186603D7EB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35748" y="6052397"/>
                  <a:ext cx="111926" cy="114040"/>
                </a:xfrm>
                <a:custGeom>
                  <a:avLst/>
                  <a:gdLst>
                    <a:gd name="T0" fmla="*/ 0 w 101"/>
                    <a:gd name="T1" fmla="*/ 2 h 87"/>
                    <a:gd name="T2" fmla="*/ 4 w 101"/>
                    <a:gd name="T3" fmla="*/ 1 h 87"/>
                    <a:gd name="T4" fmla="*/ 10 w 101"/>
                    <a:gd name="T5" fmla="*/ 4 h 87"/>
                    <a:gd name="T6" fmla="*/ 15 w 101"/>
                    <a:gd name="T7" fmla="*/ 6 h 87"/>
                    <a:gd name="T8" fmla="*/ 19 w 101"/>
                    <a:gd name="T9" fmla="*/ 2 h 87"/>
                    <a:gd name="T10" fmla="*/ 22 w 101"/>
                    <a:gd name="T11" fmla="*/ 0 h 87"/>
                    <a:gd name="T12" fmla="*/ 27 w 101"/>
                    <a:gd name="T13" fmla="*/ 1 h 87"/>
                    <a:gd name="T14" fmla="*/ 31 w 101"/>
                    <a:gd name="T15" fmla="*/ 0 h 87"/>
                    <a:gd name="T16" fmla="*/ 42 w 101"/>
                    <a:gd name="T17" fmla="*/ 2 h 87"/>
                    <a:gd name="T18" fmla="*/ 51 w 101"/>
                    <a:gd name="T19" fmla="*/ 4 h 87"/>
                    <a:gd name="T20" fmla="*/ 56 w 101"/>
                    <a:gd name="T21" fmla="*/ 4 h 87"/>
                    <a:gd name="T22" fmla="*/ 59 w 101"/>
                    <a:gd name="T23" fmla="*/ 3 h 87"/>
                    <a:gd name="T24" fmla="*/ 63 w 101"/>
                    <a:gd name="T25" fmla="*/ 4 h 87"/>
                    <a:gd name="T26" fmla="*/ 77 w 101"/>
                    <a:gd name="T27" fmla="*/ 6 h 87"/>
                    <a:gd name="T28" fmla="*/ 79 w 101"/>
                    <a:gd name="T29" fmla="*/ 9 h 87"/>
                    <a:gd name="T30" fmla="*/ 83 w 101"/>
                    <a:gd name="T31" fmla="*/ 12 h 87"/>
                    <a:gd name="T32" fmla="*/ 88 w 101"/>
                    <a:gd name="T33" fmla="*/ 11 h 87"/>
                    <a:gd name="T34" fmla="*/ 91 w 101"/>
                    <a:gd name="T35" fmla="*/ 9 h 87"/>
                    <a:gd name="T36" fmla="*/ 94 w 101"/>
                    <a:gd name="T37" fmla="*/ 14 h 87"/>
                    <a:gd name="T38" fmla="*/ 91 w 101"/>
                    <a:gd name="T39" fmla="*/ 20 h 87"/>
                    <a:gd name="T40" fmla="*/ 90 w 101"/>
                    <a:gd name="T41" fmla="*/ 29 h 87"/>
                    <a:gd name="T42" fmla="*/ 97 w 101"/>
                    <a:gd name="T43" fmla="*/ 35 h 87"/>
                    <a:gd name="T44" fmla="*/ 101 w 101"/>
                    <a:gd name="T45" fmla="*/ 39 h 87"/>
                    <a:gd name="T46" fmla="*/ 99 w 101"/>
                    <a:gd name="T47" fmla="*/ 40 h 87"/>
                    <a:gd name="T48" fmla="*/ 93 w 101"/>
                    <a:gd name="T49" fmla="*/ 40 h 87"/>
                    <a:gd name="T50" fmla="*/ 96 w 101"/>
                    <a:gd name="T51" fmla="*/ 45 h 87"/>
                    <a:gd name="T52" fmla="*/ 100 w 101"/>
                    <a:gd name="T53" fmla="*/ 51 h 87"/>
                    <a:gd name="T54" fmla="*/ 97 w 101"/>
                    <a:gd name="T55" fmla="*/ 54 h 87"/>
                    <a:gd name="T56" fmla="*/ 88 w 101"/>
                    <a:gd name="T57" fmla="*/ 55 h 87"/>
                    <a:gd name="T58" fmla="*/ 85 w 101"/>
                    <a:gd name="T59" fmla="*/ 57 h 87"/>
                    <a:gd name="T60" fmla="*/ 86 w 101"/>
                    <a:gd name="T61" fmla="*/ 61 h 87"/>
                    <a:gd name="T62" fmla="*/ 85 w 101"/>
                    <a:gd name="T63" fmla="*/ 62 h 87"/>
                    <a:gd name="T64" fmla="*/ 80 w 101"/>
                    <a:gd name="T65" fmla="*/ 62 h 87"/>
                    <a:gd name="T66" fmla="*/ 77 w 101"/>
                    <a:gd name="T67" fmla="*/ 70 h 87"/>
                    <a:gd name="T68" fmla="*/ 74 w 101"/>
                    <a:gd name="T69" fmla="*/ 71 h 87"/>
                    <a:gd name="T70" fmla="*/ 73 w 101"/>
                    <a:gd name="T71" fmla="*/ 76 h 87"/>
                    <a:gd name="T72" fmla="*/ 75 w 101"/>
                    <a:gd name="T73" fmla="*/ 83 h 87"/>
                    <a:gd name="T74" fmla="*/ 74 w 101"/>
                    <a:gd name="T75" fmla="*/ 87 h 87"/>
                    <a:gd name="T76" fmla="*/ 67 w 101"/>
                    <a:gd name="T77" fmla="*/ 83 h 87"/>
                    <a:gd name="T78" fmla="*/ 59 w 101"/>
                    <a:gd name="T79" fmla="*/ 78 h 87"/>
                    <a:gd name="T80" fmla="*/ 54 w 101"/>
                    <a:gd name="T81" fmla="*/ 76 h 87"/>
                    <a:gd name="T82" fmla="*/ 51 w 101"/>
                    <a:gd name="T83" fmla="*/ 76 h 87"/>
                    <a:gd name="T84" fmla="*/ 52 w 101"/>
                    <a:gd name="T85" fmla="*/ 73 h 87"/>
                    <a:gd name="T86" fmla="*/ 49 w 101"/>
                    <a:gd name="T87" fmla="*/ 68 h 87"/>
                    <a:gd name="T88" fmla="*/ 42 w 101"/>
                    <a:gd name="T89" fmla="*/ 61 h 87"/>
                    <a:gd name="T90" fmla="*/ 33 w 101"/>
                    <a:gd name="T91" fmla="*/ 51 h 87"/>
                    <a:gd name="T92" fmla="*/ 25 w 101"/>
                    <a:gd name="T93" fmla="*/ 44 h 87"/>
                    <a:gd name="T94" fmla="*/ 15 w 101"/>
                    <a:gd name="T95" fmla="*/ 35 h 87"/>
                    <a:gd name="T96" fmla="*/ 13 w 101"/>
                    <a:gd name="T97" fmla="*/ 29 h 87"/>
                    <a:gd name="T98" fmla="*/ 10 w 101"/>
                    <a:gd name="T99" fmla="*/ 22 h 87"/>
                    <a:gd name="T100" fmla="*/ 0 w 101"/>
                    <a:gd name="T101" fmla="*/ 15 h 87"/>
                    <a:gd name="T102" fmla="*/ 0 w 101"/>
                    <a:gd name="T103" fmla="*/ 11 h 87"/>
                    <a:gd name="T104" fmla="*/ 0 w 101"/>
                    <a:gd name="T105" fmla="*/ 4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01" h="87">
                      <a:moveTo>
                        <a:pt x="0" y="4"/>
                      </a:move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4" y="1"/>
                      </a:lnTo>
                      <a:lnTo>
                        <a:pt x="8" y="2"/>
                      </a:lnTo>
                      <a:lnTo>
                        <a:pt x="10" y="4"/>
                      </a:lnTo>
                      <a:lnTo>
                        <a:pt x="13" y="6"/>
                      </a:lnTo>
                      <a:lnTo>
                        <a:pt x="15" y="6"/>
                      </a:lnTo>
                      <a:lnTo>
                        <a:pt x="17" y="4"/>
                      </a:lnTo>
                      <a:lnTo>
                        <a:pt x="19" y="2"/>
                      </a:lnTo>
                      <a:lnTo>
                        <a:pt x="20" y="0"/>
                      </a:lnTo>
                      <a:lnTo>
                        <a:pt x="22" y="0"/>
                      </a:lnTo>
                      <a:lnTo>
                        <a:pt x="25" y="1"/>
                      </a:lnTo>
                      <a:lnTo>
                        <a:pt x="27" y="1"/>
                      </a:lnTo>
                      <a:lnTo>
                        <a:pt x="29" y="0"/>
                      </a:lnTo>
                      <a:lnTo>
                        <a:pt x="31" y="0"/>
                      </a:lnTo>
                      <a:lnTo>
                        <a:pt x="36" y="1"/>
                      </a:lnTo>
                      <a:lnTo>
                        <a:pt x="42" y="2"/>
                      </a:lnTo>
                      <a:lnTo>
                        <a:pt x="47" y="3"/>
                      </a:lnTo>
                      <a:lnTo>
                        <a:pt x="51" y="4"/>
                      </a:lnTo>
                      <a:lnTo>
                        <a:pt x="53" y="4"/>
                      </a:lnTo>
                      <a:lnTo>
                        <a:pt x="56" y="4"/>
                      </a:lnTo>
                      <a:lnTo>
                        <a:pt x="58" y="3"/>
                      </a:lnTo>
                      <a:lnTo>
                        <a:pt x="59" y="3"/>
                      </a:lnTo>
                      <a:lnTo>
                        <a:pt x="61" y="4"/>
                      </a:lnTo>
                      <a:lnTo>
                        <a:pt x="63" y="4"/>
                      </a:lnTo>
                      <a:lnTo>
                        <a:pt x="69" y="4"/>
                      </a:lnTo>
                      <a:lnTo>
                        <a:pt x="77" y="6"/>
                      </a:lnTo>
                      <a:lnTo>
                        <a:pt x="78" y="8"/>
                      </a:lnTo>
                      <a:lnTo>
                        <a:pt x="79" y="9"/>
                      </a:lnTo>
                      <a:lnTo>
                        <a:pt x="80" y="11"/>
                      </a:lnTo>
                      <a:lnTo>
                        <a:pt x="83" y="12"/>
                      </a:lnTo>
                      <a:lnTo>
                        <a:pt x="85" y="11"/>
                      </a:lnTo>
                      <a:lnTo>
                        <a:pt x="88" y="11"/>
                      </a:lnTo>
                      <a:lnTo>
                        <a:pt x="90" y="9"/>
                      </a:lnTo>
                      <a:lnTo>
                        <a:pt x="91" y="9"/>
                      </a:lnTo>
                      <a:lnTo>
                        <a:pt x="94" y="12"/>
                      </a:lnTo>
                      <a:lnTo>
                        <a:pt x="94" y="14"/>
                      </a:lnTo>
                      <a:lnTo>
                        <a:pt x="93" y="18"/>
                      </a:lnTo>
                      <a:lnTo>
                        <a:pt x="91" y="20"/>
                      </a:lnTo>
                      <a:lnTo>
                        <a:pt x="89" y="25"/>
                      </a:lnTo>
                      <a:lnTo>
                        <a:pt x="90" y="29"/>
                      </a:lnTo>
                      <a:lnTo>
                        <a:pt x="93" y="31"/>
                      </a:lnTo>
                      <a:lnTo>
                        <a:pt x="97" y="35"/>
                      </a:lnTo>
                      <a:lnTo>
                        <a:pt x="100" y="38"/>
                      </a:lnTo>
                      <a:lnTo>
                        <a:pt x="101" y="39"/>
                      </a:lnTo>
                      <a:lnTo>
                        <a:pt x="100" y="39"/>
                      </a:lnTo>
                      <a:lnTo>
                        <a:pt x="99" y="40"/>
                      </a:lnTo>
                      <a:lnTo>
                        <a:pt x="95" y="40"/>
                      </a:lnTo>
                      <a:lnTo>
                        <a:pt x="93" y="40"/>
                      </a:lnTo>
                      <a:lnTo>
                        <a:pt x="94" y="43"/>
                      </a:lnTo>
                      <a:lnTo>
                        <a:pt x="96" y="45"/>
                      </a:lnTo>
                      <a:lnTo>
                        <a:pt x="99" y="49"/>
                      </a:lnTo>
                      <a:lnTo>
                        <a:pt x="100" y="51"/>
                      </a:lnTo>
                      <a:lnTo>
                        <a:pt x="99" y="52"/>
                      </a:lnTo>
                      <a:lnTo>
                        <a:pt x="97" y="54"/>
                      </a:lnTo>
                      <a:lnTo>
                        <a:pt x="93" y="55"/>
                      </a:lnTo>
                      <a:lnTo>
                        <a:pt x="88" y="55"/>
                      </a:lnTo>
                      <a:lnTo>
                        <a:pt x="84" y="55"/>
                      </a:lnTo>
                      <a:lnTo>
                        <a:pt x="85" y="57"/>
                      </a:lnTo>
                      <a:lnTo>
                        <a:pt x="86" y="60"/>
                      </a:lnTo>
                      <a:lnTo>
                        <a:pt x="86" y="61"/>
                      </a:lnTo>
                      <a:lnTo>
                        <a:pt x="86" y="63"/>
                      </a:lnTo>
                      <a:lnTo>
                        <a:pt x="85" y="62"/>
                      </a:lnTo>
                      <a:lnTo>
                        <a:pt x="84" y="61"/>
                      </a:lnTo>
                      <a:lnTo>
                        <a:pt x="80" y="62"/>
                      </a:lnTo>
                      <a:lnTo>
                        <a:pt x="78" y="67"/>
                      </a:lnTo>
                      <a:lnTo>
                        <a:pt x="77" y="70"/>
                      </a:lnTo>
                      <a:lnTo>
                        <a:pt x="78" y="71"/>
                      </a:lnTo>
                      <a:lnTo>
                        <a:pt x="74" y="71"/>
                      </a:lnTo>
                      <a:lnTo>
                        <a:pt x="73" y="73"/>
                      </a:lnTo>
                      <a:lnTo>
                        <a:pt x="73" y="76"/>
                      </a:lnTo>
                      <a:lnTo>
                        <a:pt x="74" y="78"/>
                      </a:lnTo>
                      <a:lnTo>
                        <a:pt x="75" y="83"/>
                      </a:lnTo>
                      <a:lnTo>
                        <a:pt x="75" y="86"/>
                      </a:lnTo>
                      <a:lnTo>
                        <a:pt x="74" y="87"/>
                      </a:lnTo>
                      <a:lnTo>
                        <a:pt x="70" y="86"/>
                      </a:lnTo>
                      <a:lnTo>
                        <a:pt x="67" y="83"/>
                      </a:lnTo>
                      <a:lnTo>
                        <a:pt x="62" y="81"/>
                      </a:lnTo>
                      <a:lnTo>
                        <a:pt x="59" y="78"/>
                      </a:lnTo>
                      <a:lnTo>
                        <a:pt x="57" y="77"/>
                      </a:lnTo>
                      <a:lnTo>
                        <a:pt x="54" y="76"/>
                      </a:lnTo>
                      <a:lnTo>
                        <a:pt x="52" y="76"/>
                      </a:lnTo>
                      <a:lnTo>
                        <a:pt x="51" y="76"/>
                      </a:lnTo>
                      <a:lnTo>
                        <a:pt x="49" y="73"/>
                      </a:lnTo>
                      <a:lnTo>
                        <a:pt x="52" y="73"/>
                      </a:lnTo>
                      <a:lnTo>
                        <a:pt x="52" y="72"/>
                      </a:lnTo>
                      <a:lnTo>
                        <a:pt x="49" y="68"/>
                      </a:lnTo>
                      <a:lnTo>
                        <a:pt x="45" y="63"/>
                      </a:lnTo>
                      <a:lnTo>
                        <a:pt x="42" y="61"/>
                      </a:lnTo>
                      <a:lnTo>
                        <a:pt x="37" y="56"/>
                      </a:lnTo>
                      <a:lnTo>
                        <a:pt x="33" y="51"/>
                      </a:lnTo>
                      <a:lnTo>
                        <a:pt x="29" y="47"/>
                      </a:lnTo>
                      <a:lnTo>
                        <a:pt x="25" y="44"/>
                      </a:lnTo>
                      <a:lnTo>
                        <a:pt x="20" y="39"/>
                      </a:lnTo>
                      <a:lnTo>
                        <a:pt x="15" y="35"/>
                      </a:lnTo>
                      <a:lnTo>
                        <a:pt x="13" y="31"/>
                      </a:lnTo>
                      <a:lnTo>
                        <a:pt x="13" y="29"/>
                      </a:lnTo>
                      <a:lnTo>
                        <a:pt x="11" y="24"/>
                      </a:lnTo>
                      <a:lnTo>
                        <a:pt x="10" y="22"/>
                      </a:lnTo>
                      <a:lnTo>
                        <a:pt x="5" y="18"/>
                      </a:lnTo>
                      <a:lnTo>
                        <a:pt x="0" y="15"/>
                      </a:lnTo>
                      <a:lnTo>
                        <a:pt x="0" y="13"/>
                      </a:lnTo>
                      <a:lnTo>
                        <a:pt x="0" y="11"/>
                      </a:lnTo>
                      <a:lnTo>
                        <a:pt x="0" y="7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5" name="Freeform 1329">
                  <a:extLst>
                    <a:ext uri="{FF2B5EF4-FFF2-40B4-BE49-F238E27FC236}">
                      <a16:creationId xmlns:a16="http://schemas.microsoft.com/office/drawing/2014/main" id="{AA089253-E794-47CB-BF7E-2B01C21614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57440" y="5787190"/>
                  <a:ext cx="107449" cy="82216"/>
                </a:xfrm>
                <a:custGeom>
                  <a:avLst/>
                  <a:gdLst>
                    <a:gd name="T0" fmla="*/ 11 w 96"/>
                    <a:gd name="T1" fmla="*/ 7 h 63"/>
                    <a:gd name="T2" fmla="*/ 21 w 96"/>
                    <a:gd name="T3" fmla="*/ 6 h 63"/>
                    <a:gd name="T4" fmla="*/ 27 w 96"/>
                    <a:gd name="T5" fmla="*/ 7 h 63"/>
                    <a:gd name="T6" fmla="*/ 33 w 96"/>
                    <a:gd name="T7" fmla="*/ 9 h 63"/>
                    <a:gd name="T8" fmla="*/ 38 w 96"/>
                    <a:gd name="T9" fmla="*/ 7 h 63"/>
                    <a:gd name="T10" fmla="*/ 43 w 96"/>
                    <a:gd name="T11" fmla="*/ 5 h 63"/>
                    <a:gd name="T12" fmla="*/ 43 w 96"/>
                    <a:gd name="T13" fmla="*/ 4 h 63"/>
                    <a:gd name="T14" fmla="*/ 48 w 96"/>
                    <a:gd name="T15" fmla="*/ 3 h 63"/>
                    <a:gd name="T16" fmla="*/ 52 w 96"/>
                    <a:gd name="T17" fmla="*/ 1 h 63"/>
                    <a:gd name="T18" fmla="*/ 55 w 96"/>
                    <a:gd name="T19" fmla="*/ 0 h 63"/>
                    <a:gd name="T20" fmla="*/ 59 w 96"/>
                    <a:gd name="T21" fmla="*/ 3 h 63"/>
                    <a:gd name="T22" fmla="*/ 67 w 96"/>
                    <a:gd name="T23" fmla="*/ 5 h 63"/>
                    <a:gd name="T24" fmla="*/ 78 w 96"/>
                    <a:gd name="T25" fmla="*/ 9 h 63"/>
                    <a:gd name="T26" fmla="*/ 81 w 96"/>
                    <a:gd name="T27" fmla="*/ 14 h 63"/>
                    <a:gd name="T28" fmla="*/ 79 w 96"/>
                    <a:gd name="T29" fmla="*/ 20 h 63"/>
                    <a:gd name="T30" fmla="*/ 85 w 96"/>
                    <a:gd name="T31" fmla="*/ 23 h 63"/>
                    <a:gd name="T32" fmla="*/ 89 w 96"/>
                    <a:gd name="T33" fmla="*/ 25 h 63"/>
                    <a:gd name="T34" fmla="*/ 92 w 96"/>
                    <a:gd name="T35" fmla="*/ 28 h 63"/>
                    <a:gd name="T36" fmla="*/ 94 w 96"/>
                    <a:gd name="T37" fmla="*/ 31 h 63"/>
                    <a:gd name="T38" fmla="*/ 96 w 96"/>
                    <a:gd name="T39" fmla="*/ 37 h 63"/>
                    <a:gd name="T40" fmla="*/ 92 w 96"/>
                    <a:gd name="T41" fmla="*/ 39 h 63"/>
                    <a:gd name="T42" fmla="*/ 89 w 96"/>
                    <a:gd name="T43" fmla="*/ 43 h 63"/>
                    <a:gd name="T44" fmla="*/ 85 w 96"/>
                    <a:gd name="T45" fmla="*/ 43 h 63"/>
                    <a:gd name="T46" fmla="*/ 81 w 96"/>
                    <a:gd name="T47" fmla="*/ 49 h 63"/>
                    <a:gd name="T48" fmla="*/ 81 w 96"/>
                    <a:gd name="T49" fmla="*/ 55 h 63"/>
                    <a:gd name="T50" fmla="*/ 82 w 96"/>
                    <a:gd name="T51" fmla="*/ 60 h 63"/>
                    <a:gd name="T52" fmla="*/ 78 w 96"/>
                    <a:gd name="T53" fmla="*/ 63 h 63"/>
                    <a:gd name="T54" fmla="*/ 70 w 96"/>
                    <a:gd name="T55" fmla="*/ 60 h 63"/>
                    <a:gd name="T56" fmla="*/ 62 w 96"/>
                    <a:gd name="T57" fmla="*/ 55 h 63"/>
                    <a:gd name="T58" fmla="*/ 57 w 96"/>
                    <a:gd name="T59" fmla="*/ 53 h 63"/>
                    <a:gd name="T60" fmla="*/ 57 w 96"/>
                    <a:gd name="T61" fmla="*/ 48 h 63"/>
                    <a:gd name="T62" fmla="*/ 57 w 96"/>
                    <a:gd name="T63" fmla="*/ 42 h 63"/>
                    <a:gd name="T64" fmla="*/ 52 w 96"/>
                    <a:gd name="T65" fmla="*/ 47 h 63"/>
                    <a:gd name="T66" fmla="*/ 46 w 96"/>
                    <a:gd name="T67" fmla="*/ 49 h 63"/>
                    <a:gd name="T68" fmla="*/ 41 w 96"/>
                    <a:gd name="T69" fmla="*/ 42 h 63"/>
                    <a:gd name="T70" fmla="*/ 38 w 96"/>
                    <a:gd name="T71" fmla="*/ 37 h 63"/>
                    <a:gd name="T72" fmla="*/ 28 w 96"/>
                    <a:gd name="T73" fmla="*/ 37 h 63"/>
                    <a:gd name="T74" fmla="*/ 26 w 96"/>
                    <a:gd name="T75" fmla="*/ 33 h 63"/>
                    <a:gd name="T76" fmla="*/ 19 w 96"/>
                    <a:gd name="T77" fmla="*/ 30 h 63"/>
                    <a:gd name="T78" fmla="*/ 17 w 96"/>
                    <a:gd name="T79" fmla="*/ 28 h 63"/>
                    <a:gd name="T80" fmla="*/ 14 w 96"/>
                    <a:gd name="T81" fmla="*/ 25 h 63"/>
                    <a:gd name="T82" fmla="*/ 6 w 96"/>
                    <a:gd name="T83" fmla="*/ 23 h 63"/>
                    <a:gd name="T84" fmla="*/ 3 w 96"/>
                    <a:gd name="T85" fmla="*/ 21 h 63"/>
                    <a:gd name="T86" fmla="*/ 1 w 96"/>
                    <a:gd name="T87" fmla="*/ 15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96" h="63">
                      <a:moveTo>
                        <a:pt x="0" y="12"/>
                      </a:moveTo>
                      <a:lnTo>
                        <a:pt x="11" y="7"/>
                      </a:lnTo>
                      <a:lnTo>
                        <a:pt x="22" y="4"/>
                      </a:lnTo>
                      <a:lnTo>
                        <a:pt x="21" y="6"/>
                      </a:lnTo>
                      <a:lnTo>
                        <a:pt x="23" y="6"/>
                      </a:lnTo>
                      <a:lnTo>
                        <a:pt x="27" y="7"/>
                      </a:lnTo>
                      <a:lnTo>
                        <a:pt x="30" y="7"/>
                      </a:lnTo>
                      <a:lnTo>
                        <a:pt x="33" y="9"/>
                      </a:lnTo>
                      <a:lnTo>
                        <a:pt x="36" y="9"/>
                      </a:lnTo>
                      <a:lnTo>
                        <a:pt x="38" y="7"/>
                      </a:lnTo>
                      <a:lnTo>
                        <a:pt x="41" y="5"/>
                      </a:lnTo>
                      <a:lnTo>
                        <a:pt x="43" y="5"/>
                      </a:lnTo>
                      <a:lnTo>
                        <a:pt x="44" y="7"/>
                      </a:lnTo>
                      <a:lnTo>
                        <a:pt x="43" y="4"/>
                      </a:lnTo>
                      <a:lnTo>
                        <a:pt x="47" y="4"/>
                      </a:lnTo>
                      <a:lnTo>
                        <a:pt x="48" y="3"/>
                      </a:lnTo>
                      <a:lnTo>
                        <a:pt x="48" y="0"/>
                      </a:lnTo>
                      <a:lnTo>
                        <a:pt x="52" y="1"/>
                      </a:lnTo>
                      <a:lnTo>
                        <a:pt x="54" y="1"/>
                      </a:lnTo>
                      <a:lnTo>
                        <a:pt x="55" y="0"/>
                      </a:lnTo>
                      <a:lnTo>
                        <a:pt x="57" y="1"/>
                      </a:lnTo>
                      <a:lnTo>
                        <a:pt x="59" y="3"/>
                      </a:lnTo>
                      <a:lnTo>
                        <a:pt x="63" y="0"/>
                      </a:lnTo>
                      <a:lnTo>
                        <a:pt x="67" y="5"/>
                      </a:lnTo>
                      <a:lnTo>
                        <a:pt x="71" y="7"/>
                      </a:lnTo>
                      <a:lnTo>
                        <a:pt x="78" y="9"/>
                      </a:lnTo>
                      <a:lnTo>
                        <a:pt x="84" y="10"/>
                      </a:lnTo>
                      <a:lnTo>
                        <a:pt x="81" y="14"/>
                      </a:lnTo>
                      <a:lnTo>
                        <a:pt x="79" y="17"/>
                      </a:lnTo>
                      <a:lnTo>
                        <a:pt x="79" y="20"/>
                      </a:lnTo>
                      <a:lnTo>
                        <a:pt x="82" y="23"/>
                      </a:lnTo>
                      <a:lnTo>
                        <a:pt x="85" y="23"/>
                      </a:lnTo>
                      <a:lnTo>
                        <a:pt x="87" y="23"/>
                      </a:lnTo>
                      <a:lnTo>
                        <a:pt x="89" y="25"/>
                      </a:lnTo>
                      <a:lnTo>
                        <a:pt x="91" y="27"/>
                      </a:lnTo>
                      <a:lnTo>
                        <a:pt x="92" y="28"/>
                      </a:lnTo>
                      <a:lnTo>
                        <a:pt x="91" y="31"/>
                      </a:lnTo>
                      <a:lnTo>
                        <a:pt x="94" y="31"/>
                      </a:lnTo>
                      <a:lnTo>
                        <a:pt x="95" y="33"/>
                      </a:lnTo>
                      <a:lnTo>
                        <a:pt x="96" y="37"/>
                      </a:lnTo>
                      <a:lnTo>
                        <a:pt x="94" y="38"/>
                      </a:lnTo>
                      <a:lnTo>
                        <a:pt x="92" y="39"/>
                      </a:lnTo>
                      <a:lnTo>
                        <a:pt x="90" y="42"/>
                      </a:lnTo>
                      <a:lnTo>
                        <a:pt x="89" y="43"/>
                      </a:lnTo>
                      <a:lnTo>
                        <a:pt x="87" y="42"/>
                      </a:lnTo>
                      <a:lnTo>
                        <a:pt x="85" y="43"/>
                      </a:lnTo>
                      <a:lnTo>
                        <a:pt x="84" y="44"/>
                      </a:lnTo>
                      <a:lnTo>
                        <a:pt x="81" y="49"/>
                      </a:lnTo>
                      <a:lnTo>
                        <a:pt x="80" y="53"/>
                      </a:lnTo>
                      <a:lnTo>
                        <a:pt x="81" y="55"/>
                      </a:lnTo>
                      <a:lnTo>
                        <a:pt x="82" y="58"/>
                      </a:lnTo>
                      <a:lnTo>
                        <a:pt x="82" y="60"/>
                      </a:lnTo>
                      <a:lnTo>
                        <a:pt x="80" y="63"/>
                      </a:lnTo>
                      <a:lnTo>
                        <a:pt x="78" y="63"/>
                      </a:lnTo>
                      <a:lnTo>
                        <a:pt x="73" y="63"/>
                      </a:lnTo>
                      <a:lnTo>
                        <a:pt x="70" y="60"/>
                      </a:lnTo>
                      <a:lnTo>
                        <a:pt x="68" y="57"/>
                      </a:lnTo>
                      <a:lnTo>
                        <a:pt x="62" y="55"/>
                      </a:lnTo>
                      <a:lnTo>
                        <a:pt x="59" y="54"/>
                      </a:lnTo>
                      <a:lnTo>
                        <a:pt x="57" y="53"/>
                      </a:lnTo>
                      <a:lnTo>
                        <a:pt x="57" y="51"/>
                      </a:lnTo>
                      <a:lnTo>
                        <a:pt x="57" y="48"/>
                      </a:lnTo>
                      <a:lnTo>
                        <a:pt x="57" y="44"/>
                      </a:lnTo>
                      <a:lnTo>
                        <a:pt x="57" y="42"/>
                      </a:lnTo>
                      <a:lnTo>
                        <a:pt x="54" y="44"/>
                      </a:lnTo>
                      <a:lnTo>
                        <a:pt x="52" y="47"/>
                      </a:lnTo>
                      <a:lnTo>
                        <a:pt x="49" y="48"/>
                      </a:lnTo>
                      <a:lnTo>
                        <a:pt x="46" y="49"/>
                      </a:lnTo>
                      <a:lnTo>
                        <a:pt x="39" y="48"/>
                      </a:lnTo>
                      <a:lnTo>
                        <a:pt x="41" y="42"/>
                      </a:lnTo>
                      <a:lnTo>
                        <a:pt x="41" y="39"/>
                      </a:lnTo>
                      <a:lnTo>
                        <a:pt x="38" y="37"/>
                      </a:lnTo>
                      <a:lnTo>
                        <a:pt x="33" y="36"/>
                      </a:lnTo>
                      <a:lnTo>
                        <a:pt x="28" y="37"/>
                      </a:lnTo>
                      <a:lnTo>
                        <a:pt x="27" y="35"/>
                      </a:lnTo>
                      <a:lnTo>
                        <a:pt x="26" y="33"/>
                      </a:lnTo>
                      <a:lnTo>
                        <a:pt x="21" y="31"/>
                      </a:lnTo>
                      <a:lnTo>
                        <a:pt x="19" y="30"/>
                      </a:lnTo>
                      <a:lnTo>
                        <a:pt x="17" y="30"/>
                      </a:lnTo>
                      <a:lnTo>
                        <a:pt x="17" y="28"/>
                      </a:lnTo>
                      <a:lnTo>
                        <a:pt x="15" y="26"/>
                      </a:lnTo>
                      <a:lnTo>
                        <a:pt x="14" y="25"/>
                      </a:lnTo>
                      <a:lnTo>
                        <a:pt x="10" y="25"/>
                      </a:lnTo>
                      <a:lnTo>
                        <a:pt x="6" y="23"/>
                      </a:lnTo>
                      <a:lnTo>
                        <a:pt x="4" y="23"/>
                      </a:lnTo>
                      <a:lnTo>
                        <a:pt x="3" y="21"/>
                      </a:lnTo>
                      <a:lnTo>
                        <a:pt x="1" y="17"/>
                      </a:lnTo>
                      <a:lnTo>
                        <a:pt x="1" y="15"/>
                      </a:lnTo>
                      <a:lnTo>
                        <a:pt x="0" y="12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6" name="Freeform 1333">
                  <a:extLst>
                    <a:ext uri="{FF2B5EF4-FFF2-40B4-BE49-F238E27FC236}">
                      <a16:creationId xmlns:a16="http://schemas.microsoft.com/office/drawing/2014/main" id="{0D694FF1-FFDE-4514-AD34-DDE4FFE4D92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30500" y="6094831"/>
                  <a:ext cx="183559" cy="127299"/>
                </a:xfrm>
                <a:custGeom>
                  <a:avLst/>
                  <a:gdLst>
                    <a:gd name="T0" fmla="*/ 2 w 163"/>
                    <a:gd name="T1" fmla="*/ 6 h 96"/>
                    <a:gd name="T2" fmla="*/ 11 w 163"/>
                    <a:gd name="T3" fmla="*/ 1 h 96"/>
                    <a:gd name="T4" fmla="*/ 16 w 163"/>
                    <a:gd name="T5" fmla="*/ 6 h 96"/>
                    <a:gd name="T6" fmla="*/ 13 w 163"/>
                    <a:gd name="T7" fmla="*/ 11 h 96"/>
                    <a:gd name="T8" fmla="*/ 28 w 163"/>
                    <a:gd name="T9" fmla="*/ 12 h 96"/>
                    <a:gd name="T10" fmla="*/ 42 w 163"/>
                    <a:gd name="T11" fmla="*/ 16 h 96"/>
                    <a:gd name="T12" fmla="*/ 56 w 163"/>
                    <a:gd name="T13" fmla="*/ 14 h 96"/>
                    <a:gd name="T14" fmla="*/ 75 w 163"/>
                    <a:gd name="T15" fmla="*/ 17 h 96"/>
                    <a:gd name="T16" fmla="*/ 90 w 163"/>
                    <a:gd name="T17" fmla="*/ 14 h 96"/>
                    <a:gd name="T18" fmla="*/ 107 w 163"/>
                    <a:gd name="T19" fmla="*/ 5 h 96"/>
                    <a:gd name="T20" fmla="*/ 128 w 163"/>
                    <a:gd name="T21" fmla="*/ 3 h 96"/>
                    <a:gd name="T22" fmla="*/ 146 w 163"/>
                    <a:gd name="T23" fmla="*/ 7 h 96"/>
                    <a:gd name="T24" fmla="*/ 154 w 163"/>
                    <a:gd name="T25" fmla="*/ 14 h 96"/>
                    <a:gd name="T26" fmla="*/ 162 w 163"/>
                    <a:gd name="T27" fmla="*/ 16 h 96"/>
                    <a:gd name="T28" fmla="*/ 163 w 163"/>
                    <a:gd name="T29" fmla="*/ 23 h 96"/>
                    <a:gd name="T30" fmla="*/ 155 w 163"/>
                    <a:gd name="T31" fmla="*/ 27 h 96"/>
                    <a:gd name="T32" fmla="*/ 146 w 163"/>
                    <a:gd name="T33" fmla="*/ 38 h 96"/>
                    <a:gd name="T34" fmla="*/ 145 w 163"/>
                    <a:gd name="T35" fmla="*/ 49 h 96"/>
                    <a:gd name="T36" fmla="*/ 140 w 163"/>
                    <a:gd name="T37" fmla="*/ 55 h 96"/>
                    <a:gd name="T38" fmla="*/ 141 w 163"/>
                    <a:gd name="T39" fmla="*/ 59 h 96"/>
                    <a:gd name="T40" fmla="*/ 150 w 163"/>
                    <a:gd name="T41" fmla="*/ 69 h 96"/>
                    <a:gd name="T42" fmla="*/ 149 w 163"/>
                    <a:gd name="T43" fmla="*/ 73 h 96"/>
                    <a:gd name="T44" fmla="*/ 136 w 163"/>
                    <a:gd name="T45" fmla="*/ 72 h 96"/>
                    <a:gd name="T46" fmla="*/ 129 w 163"/>
                    <a:gd name="T47" fmla="*/ 70 h 96"/>
                    <a:gd name="T48" fmla="*/ 115 w 163"/>
                    <a:gd name="T49" fmla="*/ 75 h 96"/>
                    <a:gd name="T50" fmla="*/ 115 w 163"/>
                    <a:gd name="T51" fmla="*/ 76 h 96"/>
                    <a:gd name="T52" fmla="*/ 111 w 163"/>
                    <a:gd name="T53" fmla="*/ 82 h 96"/>
                    <a:gd name="T54" fmla="*/ 103 w 163"/>
                    <a:gd name="T55" fmla="*/ 82 h 96"/>
                    <a:gd name="T56" fmla="*/ 106 w 163"/>
                    <a:gd name="T57" fmla="*/ 89 h 96"/>
                    <a:gd name="T58" fmla="*/ 100 w 163"/>
                    <a:gd name="T59" fmla="*/ 94 h 96"/>
                    <a:gd name="T60" fmla="*/ 88 w 163"/>
                    <a:gd name="T61" fmla="*/ 94 h 96"/>
                    <a:gd name="T62" fmla="*/ 79 w 163"/>
                    <a:gd name="T63" fmla="*/ 94 h 96"/>
                    <a:gd name="T64" fmla="*/ 70 w 163"/>
                    <a:gd name="T65" fmla="*/ 92 h 96"/>
                    <a:gd name="T66" fmla="*/ 64 w 163"/>
                    <a:gd name="T67" fmla="*/ 88 h 96"/>
                    <a:gd name="T68" fmla="*/ 54 w 163"/>
                    <a:gd name="T69" fmla="*/ 86 h 96"/>
                    <a:gd name="T70" fmla="*/ 43 w 163"/>
                    <a:gd name="T71" fmla="*/ 92 h 96"/>
                    <a:gd name="T72" fmla="*/ 31 w 163"/>
                    <a:gd name="T73" fmla="*/ 93 h 96"/>
                    <a:gd name="T74" fmla="*/ 18 w 163"/>
                    <a:gd name="T75" fmla="*/ 93 h 96"/>
                    <a:gd name="T76" fmla="*/ 18 w 163"/>
                    <a:gd name="T77" fmla="*/ 81 h 96"/>
                    <a:gd name="T78" fmla="*/ 10 w 163"/>
                    <a:gd name="T79" fmla="*/ 70 h 96"/>
                    <a:gd name="T80" fmla="*/ 5 w 163"/>
                    <a:gd name="T81" fmla="*/ 59 h 96"/>
                    <a:gd name="T82" fmla="*/ 6 w 163"/>
                    <a:gd name="T83" fmla="*/ 54 h 96"/>
                    <a:gd name="T84" fmla="*/ 5 w 163"/>
                    <a:gd name="T85" fmla="*/ 45 h 96"/>
                    <a:gd name="T86" fmla="*/ 9 w 163"/>
                    <a:gd name="T87" fmla="*/ 43 h 96"/>
                    <a:gd name="T88" fmla="*/ 15 w 163"/>
                    <a:gd name="T89" fmla="*/ 38 h 96"/>
                    <a:gd name="T90" fmla="*/ 6 w 163"/>
                    <a:gd name="T91" fmla="*/ 26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63" h="96">
                      <a:moveTo>
                        <a:pt x="0" y="13"/>
                      </a:moveTo>
                      <a:lnTo>
                        <a:pt x="1" y="10"/>
                      </a:lnTo>
                      <a:lnTo>
                        <a:pt x="2" y="6"/>
                      </a:lnTo>
                      <a:lnTo>
                        <a:pt x="6" y="0"/>
                      </a:lnTo>
                      <a:lnTo>
                        <a:pt x="9" y="0"/>
                      </a:lnTo>
                      <a:lnTo>
                        <a:pt x="11" y="1"/>
                      </a:lnTo>
                      <a:lnTo>
                        <a:pt x="13" y="2"/>
                      </a:lnTo>
                      <a:lnTo>
                        <a:pt x="16" y="3"/>
                      </a:lnTo>
                      <a:lnTo>
                        <a:pt x="16" y="6"/>
                      </a:lnTo>
                      <a:lnTo>
                        <a:pt x="15" y="7"/>
                      </a:lnTo>
                      <a:lnTo>
                        <a:pt x="13" y="10"/>
                      </a:lnTo>
                      <a:lnTo>
                        <a:pt x="13" y="11"/>
                      </a:lnTo>
                      <a:lnTo>
                        <a:pt x="16" y="13"/>
                      </a:lnTo>
                      <a:lnTo>
                        <a:pt x="22" y="13"/>
                      </a:lnTo>
                      <a:lnTo>
                        <a:pt x="28" y="12"/>
                      </a:lnTo>
                      <a:lnTo>
                        <a:pt x="32" y="12"/>
                      </a:lnTo>
                      <a:lnTo>
                        <a:pt x="37" y="14"/>
                      </a:lnTo>
                      <a:lnTo>
                        <a:pt x="42" y="16"/>
                      </a:lnTo>
                      <a:lnTo>
                        <a:pt x="47" y="17"/>
                      </a:lnTo>
                      <a:lnTo>
                        <a:pt x="52" y="16"/>
                      </a:lnTo>
                      <a:lnTo>
                        <a:pt x="56" y="14"/>
                      </a:lnTo>
                      <a:lnTo>
                        <a:pt x="60" y="16"/>
                      </a:lnTo>
                      <a:lnTo>
                        <a:pt x="70" y="16"/>
                      </a:lnTo>
                      <a:lnTo>
                        <a:pt x="75" y="17"/>
                      </a:lnTo>
                      <a:lnTo>
                        <a:pt x="80" y="18"/>
                      </a:lnTo>
                      <a:lnTo>
                        <a:pt x="85" y="17"/>
                      </a:lnTo>
                      <a:lnTo>
                        <a:pt x="90" y="14"/>
                      </a:lnTo>
                      <a:lnTo>
                        <a:pt x="98" y="8"/>
                      </a:lnTo>
                      <a:lnTo>
                        <a:pt x="102" y="7"/>
                      </a:lnTo>
                      <a:lnTo>
                        <a:pt x="107" y="5"/>
                      </a:lnTo>
                      <a:lnTo>
                        <a:pt x="118" y="2"/>
                      </a:lnTo>
                      <a:lnTo>
                        <a:pt x="123" y="2"/>
                      </a:lnTo>
                      <a:lnTo>
                        <a:pt x="128" y="3"/>
                      </a:lnTo>
                      <a:lnTo>
                        <a:pt x="135" y="6"/>
                      </a:lnTo>
                      <a:lnTo>
                        <a:pt x="144" y="7"/>
                      </a:lnTo>
                      <a:lnTo>
                        <a:pt x="146" y="7"/>
                      </a:lnTo>
                      <a:lnTo>
                        <a:pt x="149" y="10"/>
                      </a:lnTo>
                      <a:lnTo>
                        <a:pt x="151" y="12"/>
                      </a:lnTo>
                      <a:lnTo>
                        <a:pt x="154" y="14"/>
                      </a:lnTo>
                      <a:lnTo>
                        <a:pt x="157" y="14"/>
                      </a:lnTo>
                      <a:lnTo>
                        <a:pt x="160" y="14"/>
                      </a:lnTo>
                      <a:lnTo>
                        <a:pt x="162" y="16"/>
                      </a:lnTo>
                      <a:lnTo>
                        <a:pt x="163" y="17"/>
                      </a:lnTo>
                      <a:lnTo>
                        <a:pt x="163" y="21"/>
                      </a:lnTo>
                      <a:lnTo>
                        <a:pt x="163" y="23"/>
                      </a:lnTo>
                      <a:lnTo>
                        <a:pt x="162" y="26"/>
                      </a:lnTo>
                      <a:lnTo>
                        <a:pt x="159" y="26"/>
                      </a:lnTo>
                      <a:lnTo>
                        <a:pt x="155" y="27"/>
                      </a:lnTo>
                      <a:lnTo>
                        <a:pt x="151" y="28"/>
                      </a:lnTo>
                      <a:lnTo>
                        <a:pt x="147" y="34"/>
                      </a:lnTo>
                      <a:lnTo>
                        <a:pt x="146" y="38"/>
                      </a:lnTo>
                      <a:lnTo>
                        <a:pt x="146" y="42"/>
                      </a:lnTo>
                      <a:lnTo>
                        <a:pt x="146" y="45"/>
                      </a:lnTo>
                      <a:lnTo>
                        <a:pt x="145" y="49"/>
                      </a:lnTo>
                      <a:lnTo>
                        <a:pt x="143" y="53"/>
                      </a:lnTo>
                      <a:lnTo>
                        <a:pt x="141" y="54"/>
                      </a:lnTo>
                      <a:lnTo>
                        <a:pt x="140" y="55"/>
                      </a:lnTo>
                      <a:lnTo>
                        <a:pt x="138" y="55"/>
                      </a:lnTo>
                      <a:lnTo>
                        <a:pt x="136" y="56"/>
                      </a:lnTo>
                      <a:lnTo>
                        <a:pt x="141" y="59"/>
                      </a:lnTo>
                      <a:lnTo>
                        <a:pt x="145" y="61"/>
                      </a:lnTo>
                      <a:lnTo>
                        <a:pt x="147" y="65"/>
                      </a:lnTo>
                      <a:lnTo>
                        <a:pt x="150" y="69"/>
                      </a:lnTo>
                      <a:lnTo>
                        <a:pt x="152" y="71"/>
                      </a:lnTo>
                      <a:lnTo>
                        <a:pt x="151" y="72"/>
                      </a:lnTo>
                      <a:lnTo>
                        <a:pt x="149" y="73"/>
                      </a:lnTo>
                      <a:lnTo>
                        <a:pt x="144" y="73"/>
                      </a:lnTo>
                      <a:lnTo>
                        <a:pt x="139" y="73"/>
                      </a:lnTo>
                      <a:lnTo>
                        <a:pt x="136" y="72"/>
                      </a:lnTo>
                      <a:lnTo>
                        <a:pt x="135" y="70"/>
                      </a:lnTo>
                      <a:lnTo>
                        <a:pt x="133" y="69"/>
                      </a:lnTo>
                      <a:lnTo>
                        <a:pt x="129" y="70"/>
                      </a:lnTo>
                      <a:lnTo>
                        <a:pt x="124" y="71"/>
                      </a:lnTo>
                      <a:lnTo>
                        <a:pt x="118" y="72"/>
                      </a:lnTo>
                      <a:lnTo>
                        <a:pt x="115" y="75"/>
                      </a:lnTo>
                      <a:lnTo>
                        <a:pt x="115" y="75"/>
                      </a:lnTo>
                      <a:lnTo>
                        <a:pt x="115" y="76"/>
                      </a:lnTo>
                      <a:lnTo>
                        <a:pt x="115" y="76"/>
                      </a:lnTo>
                      <a:lnTo>
                        <a:pt x="111" y="78"/>
                      </a:lnTo>
                      <a:lnTo>
                        <a:pt x="109" y="80"/>
                      </a:lnTo>
                      <a:lnTo>
                        <a:pt x="111" y="82"/>
                      </a:lnTo>
                      <a:lnTo>
                        <a:pt x="106" y="81"/>
                      </a:lnTo>
                      <a:lnTo>
                        <a:pt x="103" y="81"/>
                      </a:lnTo>
                      <a:lnTo>
                        <a:pt x="103" y="82"/>
                      </a:lnTo>
                      <a:lnTo>
                        <a:pt x="103" y="85"/>
                      </a:lnTo>
                      <a:lnTo>
                        <a:pt x="104" y="87"/>
                      </a:lnTo>
                      <a:lnTo>
                        <a:pt x="106" y="89"/>
                      </a:lnTo>
                      <a:lnTo>
                        <a:pt x="104" y="92"/>
                      </a:lnTo>
                      <a:lnTo>
                        <a:pt x="102" y="93"/>
                      </a:lnTo>
                      <a:lnTo>
                        <a:pt x="100" y="94"/>
                      </a:lnTo>
                      <a:lnTo>
                        <a:pt x="97" y="94"/>
                      </a:lnTo>
                      <a:lnTo>
                        <a:pt x="92" y="94"/>
                      </a:lnTo>
                      <a:lnTo>
                        <a:pt x="88" y="94"/>
                      </a:lnTo>
                      <a:lnTo>
                        <a:pt x="84" y="96"/>
                      </a:lnTo>
                      <a:lnTo>
                        <a:pt x="81" y="96"/>
                      </a:lnTo>
                      <a:lnTo>
                        <a:pt x="79" y="94"/>
                      </a:lnTo>
                      <a:lnTo>
                        <a:pt x="76" y="93"/>
                      </a:lnTo>
                      <a:lnTo>
                        <a:pt x="72" y="92"/>
                      </a:lnTo>
                      <a:lnTo>
                        <a:pt x="70" y="92"/>
                      </a:lnTo>
                      <a:lnTo>
                        <a:pt x="68" y="93"/>
                      </a:lnTo>
                      <a:lnTo>
                        <a:pt x="66" y="92"/>
                      </a:lnTo>
                      <a:lnTo>
                        <a:pt x="64" y="88"/>
                      </a:lnTo>
                      <a:lnTo>
                        <a:pt x="61" y="86"/>
                      </a:lnTo>
                      <a:lnTo>
                        <a:pt x="59" y="86"/>
                      </a:lnTo>
                      <a:lnTo>
                        <a:pt x="54" y="86"/>
                      </a:lnTo>
                      <a:lnTo>
                        <a:pt x="50" y="88"/>
                      </a:lnTo>
                      <a:lnTo>
                        <a:pt x="47" y="89"/>
                      </a:lnTo>
                      <a:lnTo>
                        <a:pt x="43" y="92"/>
                      </a:lnTo>
                      <a:lnTo>
                        <a:pt x="39" y="93"/>
                      </a:lnTo>
                      <a:lnTo>
                        <a:pt x="34" y="93"/>
                      </a:lnTo>
                      <a:lnTo>
                        <a:pt x="31" y="93"/>
                      </a:lnTo>
                      <a:lnTo>
                        <a:pt x="27" y="94"/>
                      </a:lnTo>
                      <a:lnTo>
                        <a:pt x="23" y="96"/>
                      </a:lnTo>
                      <a:lnTo>
                        <a:pt x="18" y="93"/>
                      </a:lnTo>
                      <a:lnTo>
                        <a:pt x="20" y="91"/>
                      </a:lnTo>
                      <a:lnTo>
                        <a:pt x="20" y="88"/>
                      </a:lnTo>
                      <a:lnTo>
                        <a:pt x="18" y="81"/>
                      </a:lnTo>
                      <a:lnTo>
                        <a:pt x="17" y="78"/>
                      </a:lnTo>
                      <a:lnTo>
                        <a:pt x="16" y="75"/>
                      </a:lnTo>
                      <a:lnTo>
                        <a:pt x="10" y="70"/>
                      </a:lnTo>
                      <a:lnTo>
                        <a:pt x="6" y="65"/>
                      </a:lnTo>
                      <a:lnTo>
                        <a:pt x="1" y="60"/>
                      </a:lnTo>
                      <a:lnTo>
                        <a:pt x="5" y="59"/>
                      </a:lnTo>
                      <a:lnTo>
                        <a:pt x="6" y="57"/>
                      </a:lnTo>
                      <a:lnTo>
                        <a:pt x="7" y="56"/>
                      </a:lnTo>
                      <a:lnTo>
                        <a:pt x="6" y="54"/>
                      </a:lnTo>
                      <a:lnTo>
                        <a:pt x="5" y="50"/>
                      </a:lnTo>
                      <a:lnTo>
                        <a:pt x="4" y="48"/>
                      </a:lnTo>
                      <a:lnTo>
                        <a:pt x="5" y="45"/>
                      </a:lnTo>
                      <a:lnTo>
                        <a:pt x="6" y="43"/>
                      </a:lnTo>
                      <a:lnTo>
                        <a:pt x="7" y="43"/>
                      </a:lnTo>
                      <a:lnTo>
                        <a:pt x="9" y="43"/>
                      </a:lnTo>
                      <a:lnTo>
                        <a:pt x="11" y="43"/>
                      </a:lnTo>
                      <a:lnTo>
                        <a:pt x="12" y="40"/>
                      </a:lnTo>
                      <a:lnTo>
                        <a:pt x="15" y="38"/>
                      </a:lnTo>
                      <a:lnTo>
                        <a:pt x="17" y="33"/>
                      </a:lnTo>
                      <a:lnTo>
                        <a:pt x="12" y="30"/>
                      </a:lnTo>
                      <a:lnTo>
                        <a:pt x="6" y="26"/>
                      </a:lnTo>
                      <a:lnTo>
                        <a:pt x="2" y="19"/>
                      </a:lnTo>
                      <a:lnTo>
                        <a:pt x="0" y="13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7" name="Freeform 1336">
                  <a:extLst>
                    <a:ext uri="{FF2B5EF4-FFF2-40B4-BE49-F238E27FC236}">
                      <a16:creationId xmlns:a16="http://schemas.microsoft.com/office/drawing/2014/main" id="{EEDF8E51-37C4-4691-822C-874F1707A2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11009" y="6192956"/>
                  <a:ext cx="167889" cy="153820"/>
                </a:xfrm>
                <a:custGeom>
                  <a:avLst/>
                  <a:gdLst>
                    <a:gd name="T0" fmla="*/ 9 w 148"/>
                    <a:gd name="T1" fmla="*/ 18 h 116"/>
                    <a:gd name="T2" fmla="*/ 23 w 148"/>
                    <a:gd name="T3" fmla="*/ 24 h 116"/>
                    <a:gd name="T4" fmla="*/ 33 w 148"/>
                    <a:gd name="T5" fmla="*/ 25 h 116"/>
                    <a:gd name="T6" fmla="*/ 41 w 148"/>
                    <a:gd name="T7" fmla="*/ 28 h 116"/>
                    <a:gd name="T8" fmla="*/ 44 w 148"/>
                    <a:gd name="T9" fmla="*/ 21 h 116"/>
                    <a:gd name="T10" fmla="*/ 35 w 148"/>
                    <a:gd name="T11" fmla="*/ 15 h 116"/>
                    <a:gd name="T12" fmla="*/ 29 w 148"/>
                    <a:gd name="T13" fmla="*/ 8 h 116"/>
                    <a:gd name="T14" fmla="*/ 33 w 148"/>
                    <a:gd name="T15" fmla="*/ 3 h 116"/>
                    <a:gd name="T16" fmla="*/ 40 w 148"/>
                    <a:gd name="T17" fmla="*/ 3 h 116"/>
                    <a:gd name="T18" fmla="*/ 54 w 148"/>
                    <a:gd name="T19" fmla="*/ 13 h 116"/>
                    <a:gd name="T20" fmla="*/ 60 w 148"/>
                    <a:gd name="T21" fmla="*/ 20 h 116"/>
                    <a:gd name="T22" fmla="*/ 73 w 148"/>
                    <a:gd name="T23" fmla="*/ 25 h 116"/>
                    <a:gd name="T24" fmla="*/ 80 w 148"/>
                    <a:gd name="T25" fmla="*/ 18 h 116"/>
                    <a:gd name="T26" fmla="*/ 89 w 148"/>
                    <a:gd name="T27" fmla="*/ 7 h 116"/>
                    <a:gd name="T28" fmla="*/ 94 w 148"/>
                    <a:gd name="T29" fmla="*/ 5 h 116"/>
                    <a:gd name="T30" fmla="*/ 105 w 148"/>
                    <a:gd name="T31" fmla="*/ 18 h 116"/>
                    <a:gd name="T32" fmla="*/ 123 w 148"/>
                    <a:gd name="T33" fmla="*/ 37 h 116"/>
                    <a:gd name="T34" fmla="*/ 132 w 148"/>
                    <a:gd name="T35" fmla="*/ 46 h 116"/>
                    <a:gd name="T36" fmla="*/ 146 w 148"/>
                    <a:gd name="T37" fmla="*/ 52 h 116"/>
                    <a:gd name="T38" fmla="*/ 141 w 148"/>
                    <a:gd name="T39" fmla="*/ 52 h 116"/>
                    <a:gd name="T40" fmla="*/ 129 w 148"/>
                    <a:gd name="T41" fmla="*/ 57 h 116"/>
                    <a:gd name="T42" fmla="*/ 124 w 148"/>
                    <a:gd name="T43" fmla="*/ 68 h 116"/>
                    <a:gd name="T44" fmla="*/ 125 w 148"/>
                    <a:gd name="T45" fmla="*/ 85 h 116"/>
                    <a:gd name="T46" fmla="*/ 123 w 148"/>
                    <a:gd name="T47" fmla="*/ 95 h 116"/>
                    <a:gd name="T48" fmla="*/ 120 w 148"/>
                    <a:gd name="T49" fmla="*/ 95 h 116"/>
                    <a:gd name="T50" fmla="*/ 116 w 148"/>
                    <a:gd name="T51" fmla="*/ 93 h 116"/>
                    <a:gd name="T52" fmla="*/ 116 w 148"/>
                    <a:gd name="T53" fmla="*/ 105 h 116"/>
                    <a:gd name="T54" fmla="*/ 113 w 148"/>
                    <a:gd name="T55" fmla="*/ 116 h 116"/>
                    <a:gd name="T56" fmla="*/ 98 w 148"/>
                    <a:gd name="T57" fmla="*/ 107 h 116"/>
                    <a:gd name="T58" fmla="*/ 93 w 148"/>
                    <a:gd name="T59" fmla="*/ 99 h 116"/>
                    <a:gd name="T60" fmla="*/ 98 w 148"/>
                    <a:gd name="T61" fmla="*/ 96 h 116"/>
                    <a:gd name="T62" fmla="*/ 96 w 148"/>
                    <a:gd name="T63" fmla="*/ 87 h 116"/>
                    <a:gd name="T64" fmla="*/ 93 w 148"/>
                    <a:gd name="T65" fmla="*/ 79 h 116"/>
                    <a:gd name="T66" fmla="*/ 81 w 148"/>
                    <a:gd name="T67" fmla="*/ 75 h 116"/>
                    <a:gd name="T68" fmla="*/ 68 w 148"/>
                    <a:gd name="T69" fmla="*/ 85 h 116"/>
                    <a:gd name="T70" fmla="*/ 61 w 148"/>
                    <a:gd name="T71" fmla="*/ 93 h 116"/>
                    <a:gd name="T72" fmla="*/ 50 w 148"/>
                    <a:gd name="T73" fmla="*/ 98 h 116"/>
                    <a:gd name="T74" fmla="*/ 53 w 148"/>
                    <a:gd name="T75" fmla="*/ 89 h 116"/>
                    <a:gd name="T76" fmla="*/ 46 w 148"/>
                    <a:gd name="T77" fmla="*/ 84 h 116"/>
                    <a:gd name="T78" fmla="*/ 48 w 148"/>
                    <a:gd name="T79" fmla="*/ 80 h 116"/>
                    <a:gd name="T80" fmla="*/ 41 w 148"/>
                    <a:gd name="T81" fmla="*/ 77 h 116"/>
                    <a:gd name="T82" fmla="*/ 27 w 148"/>
                    <a:gd name="T83" fmla="*/ 68 h 116"/>
                    <a:gd name="T84" fmla="*/ 29 w 148"/>
                    <a:gd name="T85" fmla="*/ 62 h 116"/>
                    <a:gd name="T86" fmla="*/ 29 w 148"/>
                    <a:gd name="T87" fmla="*/ 56 h 116"/>
                    <a:gd name="T88" fmla="*/ 16 w 148"/>
                    <a:gd name="T89" fmla="*/ 46 h 116"/>
                    <a:gd name="T90" fmla="*/ 14 w 148"/>
                    <a:gd name="T91" fmla="*/ 40 h 116"/>
                    <a:gd name="T92" fmla="*/ 11 w 148"/>
                    <a:gd name="T93" fmla="*/ 31 h 116"/>
                    <a:gd name="T94" fmla="*/ 5 w 148"/>
                    <a:gd name="T95" fmla="*/ 28 h 116"/>
                    <a:gd name="T96" fmla="*/ 1 w 148"/>
                    <a:gd name="T97" fmla="*/ 24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48" h="116">
                      <a:moveTo>
                        <a:pt x="0" y="21"/>
                      </a:moveTo>
                      <a:lnTo>
                        <a:pt x="5" y="18"/>
                      </a:lnTo>
                      <a:lnTo>
                        <a:pt x="9" y="18"/>
                      </a:lnTo>
                      <a:lnTo>
                        <a:pt x="14" y="19"/>
                      </a:lnTo>
                      <a:lnTo>
                        <a:pt x="19" y="23"/>
                      </a:lnTo>
                      <a:lnTo>
                        <a:pt x="23" y="24"/>
                      </a:lnTo>
                      <a:lnTo>
                        <a:pt x="25" y="25"/>
                      </a:lnTo>
                      <a:lnTo>
                        <a:pt x="29" y="25"/>
                      </a:lnTo>
                      <a:lnTo>
                        <a:pt x="33" y="25"/>
                      </a:lnTo>
                      <a:lnTo>
                        <a:pt x="38" y="28"/>
                      </a:lnTo>
                      <a:lnTo>
                        <a:pt x="40" y="28"/>
                      </a:lnTo>
                      <a:lnTo>
                        <a:pt x="41" y="28"/>
                      </a:lnTo>
                      <a:lnTo>
                        <a:pt x="44" y="26"/>
                      </a:lnTo>
                      <a:lnTo>
                        <a:pt x="44" y="24"/>
                      </a:lnTo>
                      <a:lnTo>
                        <a:pt x="44" y="21"/>
                      </a:lnTo>
                      <a:lnTo>
                        <a:pt x="41" y="20"/>
                      </a:lnTo>
                      <a:lnTo>
                        <a:pt x="37" y="16"/>
                      </a:lnTo>
                      <a:lnTo>
                        <a:pt x="35" y="15"/>
                      </a:lnTo>
                      <a:lnTo>
                        <a:pt x="34" y="15"/>
                      </a:lnTo>
                      <a:lnTo>
                        <a:pt x="30" y="12"/>
                      </a:lnTo>
                      <a:lnTo>
                        <a:pt x="29" y="8"/>
                      </a:lnTo>
                      <a:lnTo>
                        <a:pt x="30" y="7"/>
                      </a:lnTo>
                      <a:lnTo>
                        <a:pt x="32" y="5"/>
                      </a:lnTo>
                      <a:lnTo>
                        <a:pt x="33" y="3"/>
                      </a:lnTo>
                      <a:lnTo>
                        <a:pt x="33" y="0"/>
                      </a:lnTo>
                      <a:lnTo>
                        <a:pt x="35" y="2"/>
                      </a:lnTo>
                      <a:lnTo>
                        <a:pt x="40" y="3"/>
                      </a:lnTo>
                      <a:lnTo>
                        <a:pt x="45" y="7"/>
                      </a:lnTo>
                      <a:lnTo>
                        <a:pt x="49" y="9"/>
                      </a:lnTo>
                      <a:lnTo>
                        <a:pt x="54" y="13"/>
                      </a:lnTo>
                      <a:lnTo>
                        <a:pt x="56" y="14"/>
                      </a:lnTo>
                      <a:lnTo>
                        <a:pt x="57" y="15"/>
                      </a:lnTo>
                      <a:lnTo>
                        <a:pt x="60" y="20"/>
                      </a:lnTo>
                      <a:lnTo>
                        <a:pt x="64" y="23"/>
                      </a:lnTo>
                      <a:lnTo>
                        <a:pt x="68" y="24"/>
                      </a:lnTo>
                      <a:lnTo>
                        <a:pt x="73" y="25"/>
                      </a:lnTo>
                      <a:lnTo>
                        <a:pt x="76" y="24"/>
                      </a:lnTo>
                      <a:lnTo>
                        <a:pt x="77" y="23"/>
                      </a:lnTo>
                      <a:lnTo>
                        <a:pt x="80" y="18"/>
                      </a:lnTo>
                      <a:lnTo>
                        <a:pt x="82" y="15"/>
                      </a:lnTo>
                      <a:lnTo>
                        <a:pt x="86" y="12"/>
                      </a:lnTo>
                      <a:lnTo>
                        <a:pt x="89" y="7"/>
                      </a:lnTo>
                      <a:lnTo>
                        <a:pt x="91" y="5"/>
                      </a:lnTo>
                      <a:lnTo>
                        <a:pt x="89" y="3"/>
                      </a:lnTo>
                      <a:lnTo>
                        <a:pt x="94" y="5"/>
                      </a:lnTo>
                      <a:lnTo>
                        <a:pt x="99" y="9"/>
                      </a:lnTo>
                      <a:lnTo>
                        <a:pt x="103" y="13"/>
                      </a:lnTo>
                      <a:lnTo>
                        <a:pt x="105" y="18"/>
                      </a:lnTo>
                      <a:lnTo>
                        <a:pt x="112" y="28"/>
                      </a:lnTo>
                      <a:lnTo>
                        <a:pt x="119" y="36"/>
                      </a:lnTo>
                      <a:lnTo>
                        <a:pt x="123" y="37"/>
                      </a:lnTo>
                      <a:lnTo>
                        <a:pt x="123" y="41"/>
                      </a:lnTo>
                      <a:lnTo>
                        <a:pt x="126" y="45"/>
                      </a:lnTo>
                      <a:lnTo>
                        <a:pt x="132" y="46"/>
                      </a:lnTo>
                      <a:lnTo>
                        <a:pt x="137" y="46"/>
                      </a:lnTo>
                      <a:lnTo>
                        <a:pt x="142" y="48"/>
                      </a:lnTo>
                      <a:lnTo>
                        <a:pt x="146" y="52"/>
                      </a:lnTo>
                      <a:lnTo>
                        <a:pt x="148" y="57"/>
                      </a:lnTo>
                      <a:lnTo>
                        <a:pt x="146" y="55"/>
                      </a:lnTo>
                      <a:lnTo>
                        <a:pt x="141" y="52"/>
                      </a:lnTo>
                      <a:lnTo>
                        <a:pt x="136" y="52"/>
                      </a:lnTo>
                      <a:lnTo>
                        <a:pt x="132" y="53"/>
                      </a:lnTo>
                      <a:lnTo>
                        <a:pt x="129" y="57"/>
                      </a:lnTo>
                      <a:lnTo>
                        <a:pt x="126" y="59"/>
                      </a:lnTo>
                      <a:lnTo>
                        <a:pt x="125" y="63"/>
                      </a:lnTo>
                      <a:lnTo>
                        <a:pt x="124" y="68"/>
                      </a:lnTo>
                      <a:lnTo>
                        <a:pt x="124" y="77"/>
                      </a:lnTo>
                      <a:lnTo>
                        <a:pt x="125" y="84"/>
                      </a:lnTo>
                      <a:lnTo>
                        <a:pt x="125" y="85"/>
                      </a:lnTo>
                      <a:lnTo>
                        <a:pt x="124" y="88"/>
                      </a:lnTo>
                      <a:lnTo>
                        <a:pt x="123" y="91"/>
                      </a:lnTo>
                      <a:lnTo>
                        <a:pt x="123" y="95"/>
                      </a:lnTo>
                      <a:lnTo>
                        <a:pt x="121" y="96"/>
                      </a:lnTo>
                      <a:lnTo>
                        <a:pt x="119" y="96"/>
                      </a:lnTo>
                      <a:lnTo>
                        <a:pt x="120" y="95"/>
                      </a:lnTo>
                      <a:lnTo>
                        <a:pt x="121" y="94"/>
                      </a:lnTo>
                      <a:lnTo>
                        <a:pt x="119" y="93"/>
                      </a:lnTo>
                      <a:lnTo>
                        <a:pt x="116" y="93"/>
                      </a:lnTo>
                      <a:lnTo>
                        <a:pt x="115" y="95"/>
                      </a:lnTo>
                      <a:lnTo>
                        <a:pt x="116" y="100"/>
                      </a:lnTo>
                      <a:lnTo>
                        <a:pt x="116" y="105"/>
                      </a:lnTo>
                      <a:lnTo>
                        <a:pt x="115" y="110"/>
                      </a:lnTo>
                      <a:lnTo>
                        <a:pt x="116" y="116"/>
                      </a:lnTo>
                      <a:lnTo>
                        <a:pt x="113" y="116"/>
                      </a:lnTo>
                      <a:lnTo>
                        <a:pt x="109" y="115"/>
                      </a:lnTo>
                      <a:lnTo>
                        <a:pt x="104" y="111"/>
                      </a:lnTo>
                      <a:lnTo>
                        <a:pt x="98" y="107"/>
                      </a:lnTo>
                      <a:lnTo>
                        <a:pt x="93" y="104"/>
                      </a:lnTo>
                      <a:lnTo>
                        <a:pt x="92" y="100"/>
                      </a:lnTo>
                      <a:lnTo>
                        <a:pt x="93" y="99"/>
                      </a:lnTo>
                      <a:lnTo>
                        <a:pt x="96" y="99"/>
                      </a:lnTo>
                      <a:lnTo>
                        <a:pt x="97" y="98"/>
                      </a:lnTo>
                      <a:lnTo>
                        <a:pt x="98" y="96"/>
                      </a:lnTo>
                      <a:lnTo>
                        <a:pt x="97" y="94"/>
                      </a:lnTo>
                      <a:lnTo>
                        <a:pt x="96" y="90"/>
                      </a:lnTo>
                      <a:lnTo>
                        <a:pt x="96" y="87"/>
                      </a:lnTo>
                      <a:lnTo>
                        <a:pt x="97" y="85"/>
                      </a:lnTo>
                      <a:lnTo>
                        <a:pt x="99" y="84"/>
                      </a:lnTo>
                      <a:lnTo>
                        <a:pt x="93" y="79"/>
                      </a:lnTo>
                      <a:lnTo>
                        <a:pt x="88" y="75"/>
                      </a:lnTo>
                      <a:lnTo>
                        <a:pt x="83" y="74"/>
                      </a:lnTo>
                      <a:lnTo>
                        <a:pt x="81" y="75"/>
                      </a:lnTo>
                      <a:lnTo>
                        <a:pt x="77" y="78"/>
                      </a:lnTo>
                      <a:lnTo>
                        <a:pt x="72" y="83"/>
                      </a:lnTo>
                      <a:lnTo>
                        <a:pt x="68" y="85"/>
                      </a:lnTo>
                      <a:lnTo>
                        <a:pt x="66" y="87"/>
                      </a:lnTo>
                      <a:lnTo>
                        <a:pt x="65" y="88"/>
                      </a:lnTo>
                      <a:lnTo>
                        <a:pt x="61" y="93"/>
                      </a:lnTo>
                      <a:lnTo>
                        <a:pt x="57" y="96"/>
                      </a:lnTo>
                      <a:lnTo>
                        <a:pt x="51" y="100"/>
                      </a:lnTo>
                      <a:lnTo>
                        <a:pt x="50" y="98"/>
                      </a:lnTo>
                      <a:lnTo>
                        <a:pt x="50" y="94"/>
                      </a:lnTo>
                      <a:lnTo>
                        <a:pt x="50" y="90"/>
                      </a:lnTo>
                      <a:lnTo>
                        <a:pt x="53" y="89"/>
                      </a:lnTo>
                      <a:lnTo>
                        <a:pt x="50" y="88"/>
                      </a:lnTo>
                      <a:lnTo>
                        <a:pt x="49" y="87"/>
                      </a:lnTo>
                      <a:lnTo>
                        <a:pt x="46" y="84"/>
                      </a:lnTo>
                      <a:lnTo>
                        <a:pt x="46" y="82"/>
                      </a:lnTo>
                      <a:lnTo>
                        <a:pt x="48" y="80"/>
                      </a:lnTo>
                      <a:lnTo>
                        <a:pt x="48" y="80"/>
                      </a:lnTo>
                      <a:lnTo>
                        <a:pt x="48" y="79"/>
                      </a:lnTo>
                      <a:lnTo>
                        <a:pt x="44" y="78"/>
                      </a:lnTo>
                      <a:lnTo>
                        <a:pt x="41" y="77"/>
                      </a:lnTo>
                      <a:lnTo>
                        <a:pt x="37" y="77"/>
                      </a:lnTo>
                      <a:lnTo>
                        <a:pt x="32" y="73"/>
                      </a:lnTo>
                      <a:lnTo>
                        <a:pt x="27" y="68"/>
                      </a:lnTo>
                      <a:lnTo>
                        <a:pt x="22" y="64"/>
                      </a:lnTo>
                      <a:lnTo>
                        <a:pt x="27" y="63"/>
                      </a:lnTo>
                      <a:lnTo>
                        <a:pt x="29" y="62"/>
                      </a:lnTo>
                      <a:lnTo>
                        <a:pt x="30" y="59"/>
                      </a:lnTo>
                      <a:lnTo>
                        <a:pt x="30" y="57"/>
                      </a:lnTo>
                      <a:lnTo>
                        <a:pt x="29" y="56"/>
                      </a:lnTo>
                      <a:lnTo>
                        <a:pt x="24" y="53"/>
                      </a:lnTo>
                      <a:lnTo>
                        <a:pt x="19" y="51"/>
                      </a:lnTo>
                      <a:lnTo>
                        <a:pt x="16" y="46"/>
                      </a:lnTo>
                      <a:lnTo>
                        <a:pt x="14" y="43"/>
                      </a:lnTo>
                      <a:lnTo>
                        <a:pt x="13" y="41"/>
                      </a:lnTo>
                      <a:lnTo>
                        <a:pt x="14" y="40"/>
                      </a:lnTo>
                      <a:lnTo>
                        <a:pt x="17" y="39"/>
                      </a:lnTo>
                      <a:lnTo>
                        <a:pt x="14" y="34"/>
                      </a:lnTo>
                      <a:lnTo>
                        <a:pt x="11" y="31"/>
                      </a:lnTo>
                      <a:lnTo>
                        <a:pt x="6" y="30"/>
                      </a:lnTo>
                      <a:lnTo>
                        <a:pt x="2" y="28"/>
                      </a:lnTo>
                      <a:lnTo>
                        <a:pt x="5" y="28"/>
                      </a:lnTo>
                      <a:lnTo>
                        <a:pt x="5" y="28"/>
                      </a:lnTo>
                      <a:lnTo>
                        <a:pt x="3" y="25"/>
                      </a:lnTo>
                      <a:lnTo>
                        <a:pt x="1" y="24"/>
                      </a:lnTo>
                      <a:lnTo>
                        <a:pt x="0" y="2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8" name="Freeform 1337">
                  <a:extLst>
                    <a:ext uri="{FF2B5EF4-FFF2-40B4-BE49-F238E27FC236}">
                      <a16:creationId xmlns:a16="http://schemas.microsoft.com/office/drawing/2014/main" id="{25B09FFC-DA32-4872-84D1-30851474FB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13246" y="6288431"/>
                  <a:ext cx="44770" cy="39782"/>
                </a:xfrm>
                <a:custGeom>
                  <a:avLst/>
                  <a:gdLst>
                    <a:gd name="T0" fmla="*/ 0 w 40"/>
                    <a:gd name="T1" fmla="*/ 1 h 28"/>
                    <a:gd name="T2" fmla="*/ 4 w 40"/>
                    <a:gd name="T3" fmla="*/ 0 h 28"/>
                    <a:gd name="T4" fmla="*/ 7 w 40"/>
                    <a:gd name="T5" fmla="*/ 0 h 28"/>
                    <a:gd name="T6" fmla="*/ 10 w 40"/>
                    <a:gd name="T7" fmla="*/ 1 h 28"/>
                    <a:gd name="T8" fmla="*/ 11 w 40"/>
                    <a:gd name="T9" fmla="*/ 5 h 28"/>
                    <a:gd name="T10" fmla="*/ 13 w 40"/>
                    <a:gd name="T11" fmla="*/ 5 h 28"/>
                    <a:gd name="T12" fmla="*/ 16 w 40"/>
                    <a:gd name="T13" fmla="*/ 5 h 28"/>
                    <a:gd name="T14" fmla="*/ 17 w 40"/>
                    <a:gd name="T15" fmla="*/ 6 h 28"/>
                    <a:gd name="T16" fmla="*/ 20 w 40"/>
                    <a:gd name="T17" fmla="*/ 6 h 28"/>
                    <a:gd name="T18" fmla="*/ 22 w 40"/>
                    <a:gd name="T19" fmla="*/ 6 h 28"/>
                    <a:gd name="T20" fmla="*/ 24 w 40"/>
                    <a:gd name="T21" fmla="*/ 5 h 28"/>
                    <a:gd name="T22" fmla="*/ 27 w 40"/>
                    <a:gd name="T23" fmla="*/ 6 h 28"/>
                    <a:gd name="T24" fmla="*/ 28 w 40"/>
                    <a:gd name="T25" fmla="*/ 6 h 28"/>
                    <a:gd name="T26" fmla="*/ 29 w 40"/>
                    <a:gd name="T27" fmla="*/ 10 h 28"/>
                    <a:gd name="T28" fmla="*/ 29 w 40"/>
                    <a:gd name="T29" fmla="*/ 11 h 28"/>
                    <a:gd name="T30" fmla="*/ 31 w 40"/>
                    <a:gd name="T31" fmla="*/ 12 h 28"/>
                    <a:gd name="T32" fmla="*/ 33 w 40"/>
                    <a:gd name="T33" fmla="*/ 15 h 28"/>
                    <a:gd name="T34" fmla="*/ 36 w 40"/>
                    <a:gd name="T35" fmla="*/ 17 h 28"/>
                    <a:gd name="T36" fmla="*/ 37 w 40"/>
                    <a:gd name="T37" fmla="*/ 21 h 28"/>
                    <a:gd name="T38" fmla="*/ 39 w 40"/>
                    <a:gd name="T39" fmla="*/ 25 h 28"/>
                    <a:gd name="T40" fmla="*/ 40 w 40"/>
                    <a:gd name="T41" fmla="*/ 28 h 28"/>
                    <a:gd name="T42" fmla="*/ 36 w 40"/>
                    <a:gd name="T43" fmla="*/ 28 h 28"/>
                    <a:gd name="T44" fmla="*/ 32 w 40"/>
                    <a:gd name="T45" fmla="*/ 27 h 28"/>
                    <a:gd name="T46" fmla="*/ 26 w 40"/>
                    <a:gd name="T47" fmla="*/ 26 h 28"/>
                    <a:gd name="T48" fmla="*/ 22 w 40"/>
                    <a:gd name="T49" fmla="*/ 23 h 28"/>
                    <a:gd name="T50" fmla="*/ 17 w 40"/>
                    <a:gd name="T51" fmla="*/ 20 h 28"/>
                    <a:gd name="T52" fmla="*/ 7 w 40"/>
                    <a:gd name="T53" fmla="*/ 11 h 28"/>
                    <a:gd name="T54" fmla="*/ 2 w 40"/>
                    <a:gd name="T55" fmla="*/ 6 h 28"/>
                    <a:gd name="T56" fmla="*/ 0 w 40"/>
                    <a:gd name="T57" fmla="*/ 1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40" h="28">
                      <a:moveTo>
                        <a:pt x="0" y="1"/>
                      </a:moveTo>
                      <a:lnTo>
                        <a:pt x="4" y="0"/>
                      </a:lnTo>
                      <a:lnTo>
                        <a:pt x="7" y="0"/>
                      </a:lnTo>
                      <a:lnTo>
                        <a:pt x="10" y="1"/>
                      </a:lnTo>
                      <a:lnTo>
                        <a:pt x="11" y="5"/>
                      </a:lnTo>
                      <a:lnTo>
                        <a:pt x="13" y="5"/>
                      </a:lnTo>
                      <a:lnTo>
                        <a:pt x="16" y="5"/>
                      </a:lnTo>
                      <a:lnTo>
                        <a:pt x="17" y="6"/>
                      </a:lnTo>
                      <a:lnTo>
                        <a:pt x="20" y="6"/>
                      </a:lnTo>
                      <a:lnTo>
                        <a:pt x="22" y="6"/>
                      </a:lnTo>
                      <a:lnTo>
                        <a:pt x="24" y="5"/>
                      </a:lnTo>
                      <a:lnTo>
                        <a:pt x="27" y="6"/>
                      </a:lnTo>
                      <a:lnTo>
                        <a:pt x="28" y="6"/>
                      </a:lnTo>
                      <a:lnTo>
                        <a:pt x="29" y="10"/>
                      </a:lnTo>
                      <a:lnTo>
                        <a:pt x="29" y="11"/>
                      </a:lnTo>
                      <a:lnTo>
                        <a:pt x="31" y="12"/>
                      </a:lnTo>
                      <a:lnTo>
                        <a:pt x="33" y="15"/>
                      </a:lnTo>
                      <a:lnTo>
                        <a:pt x="36" y="17"/>
                      </a:lnTo>
                      <a:lnTo>
                        <a:pt x="37" y="21"/>
                      </a:lnTo>
                      <a:lnTo>
                        <a:pt x="39" y="25"/>
                      </a:lnTo>
                      <a:lnTo>
                        <a:pt x="40" y="28"/>
                      </a:lnTo>
                      <a:lnTo>
                        <a:pt x="36" y="28"/>
                      </a:lnTo>
                      <a:lnTo>
                        <a:pt x="32" y="27"/>
                      </a:lnTo>
                      <a:lnTo>
                        <a:pt x="26" y="26"/>
                      </a:lnTo>
                      <a:lnTo>
                        <a:pt x="22" y="23"/>
                      </a:lnTo>
                      <a:lnTo>
                        <a:pt x="17" y="20"/>
                      </a:lnTo>
                      <a:lnTo>
                        <a:pt x="7" y="11"/>
                      </a:lnTo>
                      <a:lnTo>
                        <a:pt x="2" y="6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9" name="Freeform 1341">
                  <a:extLst>
                    <a:ext uri="{FF2B5EF4-FFF2-40B4-BE49-F238E27FC236}">
                      <a16:creationId xmlns:a16="http://schemas.microsoft.com/office/drawing/2014/main" id="{C8CA6CCE-7B53-4AC0-95EA-F9389C6679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93100" y="6288431"/>
                  <a:ext cx="655886" cy="639150"/>
                </a:xfrm>
                <a:custGeom>
                  <a:avLst/>
                  <a:gdLst>
                    <a:gd name="T0" fmla="*/ 13 w 587"/>
                    <a:gd name="T1" fmla="*/ 0 h 483"/>
                    <a:gd name="T2" fmla="*/ 52 w 587"/>
                    <a:gd name="T3" fmla="*/ 28 h 483"/>
                    <a:gd name="T4" fmla="*/ 90 w 587"/>
                    <a:gd name="T5" fmla="*/ 11 h 483"/>
                    <a:gd name="T6" fmla="*/ 114 w 587"/>
                    <a:gd name="T7" fmla="*/ 16 h 483"/>
                    <a:gd name="T8" fmla="*/ 111 w 587"/>
                    <a:gd name="T9" fmla="*/ 32 h 483"/>
                    <a:gd name="T10" fmla="*/ 137 w 587"/>
                    <a:gd name="T11" fmla="*/ 51 h 483"/>
                    <a:gd name="T12" fmla="*/ 176 w 587"/>
                    <a:gd name="T13" fmla="*/ 80 h 483"/>
                    <a:gd name="T14" fmla="*/ 237 w 587"/>
                    <a:gd name="T15" fmla="*/ 102 h 483"/>
                    <a:gd name="T16" fmla="*/ 277 w 587"/>
                    <a:gd name="T17" fmla="*/ 97 h 483"/>
                    <a:gd name="T18" fmla="*/ 294 w 587"/>
                    <a:gd name="T19" fmla="*/ 77 h 483"/>
                    <a:gd name="T20" fmla="*/ 321 w 587"/>
                    <a:gd name="T21" fmla="*/ 54 h 483"/>
                    <a:gd name="T22" fmla="*/ 358 w 587"/>
                    <a:gd name="T23" fmla="*/ 50 h 483"/>
                    <a:gd name="T24" fmla="*/ 387 w 587"/>
                    <a:gd name="T25" fmla="*/ 64 h 483"/>
                    <a:gd name="T26" fmla="*/ 425 w 587"/>
                    <a:gd name="T27" fmla="*/ 75 h 483"/>
                    <a:gd name="T28" fmla="*/ 462 w 587"/>
                    <a:gd name="T29" fmla="*/ 102 h 483"/>
                    <a:gd name="T30" fmla="*/ 484 w 587"/>
                    <a:gd name="T31" fmla="*/ 123 h 483"/>
                    <a:gd name="T32" fmla="*/ 489 w 587"/>
                    <a:gd name="T33" fmla="*/ 141 h 483"/>
                    <a:gd name="T34" fmla="*/ 482 w 587"/>
                    <a:gd name="T35" fmla="*/ 174 h 483"/>
                    <a:gd name="T36" fmla="*/ 478 w 587"/>
                    <a:gd name="T37" fmla="*/ 195 h 483"/>
                    <a:gd name="T38" fmla="*/ 485 w 587"/>
                    <a:gd name="T39" fmla="*/ 216 h 483"/>
                    <a:gd name="T40" fmla="*/ 506 w 587"/>
                    <a:gd name="T41" fmla="*/ 273 h 483"/>
                    <a:gd name="T42" fmla="*/ 526 w 587"/>
                    <a:gd name="T43" fmla="*/ 299 h 483"/>
                    <a:gd name="T44" fmla="*/ 514 w 587"/>
                    <a:gd name="T45" fmla="*/ 333 h 483"/>
                    <a:gd name="T46" fmla="*/ 565 w 587"/>
                    <a:gd name="T47" fmla="*/ 378 h 483"/>
                    <a:gd name="T48" fmla="*/ 572 w 587"/>
                    <a:gd name="T49" fmla="*/ 409 h 483"/>
                    <a:gd name="T50" fmla="*/ 586 w 587"/>
                    <a:gd name="T51" fmla="*/ 429 h 483"/>
                    <a:gd name="T52" fmla="*/ 556 w 587"/>
                    <a:gd name="T53" fmla="*/ 442 h 483"/>
                    <a:gd name="T54" fmla="*/ 543 w 587"/>
                    <a:gd name="T55" fmla="*/ 479 h 483"/>
                    <a:gd name="T56" fmla="*/ 522 w 587"/>
                    <a:gd name="T57" fmla="*/ 478 h 483"/>
                    <a:gd name="T58" fmla="*/ 505 w 587"/>
                    <a:gd name="T59" fmla="*/ 476 h 483"/>
                    <a:gd name="T60" fmla="*/ 473 w 587"/>
                    <a:gd name="T61" fmla="*/ 473 h 483"/>
                    <a:gd name="T62" fmla="*/ 444 w 587"/>
                    <a:gd name="T63" fmla="*/ 467 h 483"/>
                    <a:gd name="T64" fmla="*/ 422 w 587"/>
                    <a:gd name="T65" fmla="*/ 458 h 483"/>
                    <a:gd name="T66" fmla="*/ 390 w 587"/>
                    <a:gd name="T67" fmla="*/ 414 h 483"/>
                    <a:gd name="T68" fmla="*/ 367 w 587"/>
                    <a:gd name="T69" fmla="*/ 428 h 483"/>
                    <a:gd name="T70" fmla="*/ 335 w 587"/>
                    <a:gd name="T71" fmla="*/ 431 h 483"/>
                    <a:gd name="T72" fmla="*/ 283 w 587"/>
                    <a:gd name="T73" fmla="*/ 408 h 483"/>
                    <a:gd name="T74" fmla="*/ 259 w 587"/>
                    <a:gd name="T75" fmla="*/ 393 h 483"/>
                    <a:gd name="T76" fmla="*/ 237 w 587"/>
                    <a:gd name="T77" fmla="*/ 364 h 483"/>
                    <a:gd name="T78" fmla="*/ 229 w 587"/>
                    <a:gd name="T79" fmla="*/ 350 h 483"/>
                    <a:gd name="T80" fmla="*/ 209 w 587"/>
                    <a:gd name="T81" fmla="*/ 326 h 483"/>
                    <a:gd name="T82" fmla="*/ 189 w 587"/>
                    <a:gd name="T83" fmla="*/ 319 h 483"/>
                    <a:gd name="T84" fmla="*/ 171 w 587"/>
                    <a:gd name="T85" fmla="*/ 308 h 483"/>
                    <a:gd name="T86" fmla="*/ 170 w 587"/>
                    <a:gd name="T87" fmla="*/ 310 h 483"/>
                    <a:gd name="T88" fmla="*/ 160 w 587"/>
                    <a:gd name="T89" fmla="*/ 322 h 483"/>
                    <a:gd name="T90" fmla="*/ 144 w 587"/>
                    <a:gd name="T91" fmla="*/ 294 h 483"/>
                    <a:gd name="T92" fmla="*/ 134 w 587"/>
                    <a:gd name="T93" fmla="*/ 263 h 483"/>
                    <a:gd name="T94" fmla="*/ 110 w 587"/>
                    <a:gd name="T95" fmla="*/ 238 h 483"/>
                    <a:gd name="T96" fmla="*/ 83 w 587"/>
                    <a:gd name="T97" fmla="*/ 221 h 483"/>
                    <a:gd name="T98" fmla="*/ 68 w 587"/>
                    <a:gd name="T99" fmla="*/ 198 h 483"/>
                    <a:gd name="T100" fmla="*/ 59 w 587"/>
                    <a:gd name="T101" fmla="*/ 173 h 483"/>
                    <a:gd name="T102" fmla="*/ 69 w 587"/>
                    <a:gd name="T103" fmla="*/ 157 h 483"/>
                    <a:gd name="T104" fmla="*/ 72 w 587"/>
                    <a:gd name="T105" fmla="*/ 144 h 483"/>
                    <a:gd name="T106" fmla="*/ 71 w 587"/>
                    <a:gd name="T107" fmla="*/ 129 h 483"/>
                    <a:gd name="T108" fmla="*/ 51 w 587"/>
                    <a:gd name="T109" fmla="*/ 120 h 483"/>
                    <a:gd name="T110" fmla="*/ 36 w 587"/>
                    <a:gd name="T111" fmla="*/ 98 h 483"/>
                    <a:gd name="T112" fmla="*/ 24 w 587"/>
                    <a:gd name="T113" fmla="*/ 76 h 483"/>
                    <a:gd name="T114" fmla="*/ 11 w 587"/>
                    <a:gd name="T115" fmla="*/ 59 h 483"/>
                    <a:gd name="T116" fmla="*/ 5 w 587"/>
                    <a:gd name="T117" fmla="*/ 23 h 4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587" h="483">
                      <a:moveTo>
                        <a:pt x="0" y="12"/>
                      </a:moveTo>
                      <a:lnTo>
                        <a:pt x="5" y="12"/>
                      </a:lnTo>
                      <a:lnTo>
                        <a:pt x="8" y="12"/>
                      </a:lnTo>
                      <a:lnTo>
                        <a:pt x="10" y="10"/>
                      </a:lnTo>
                      <a:lnTo>
                        <a:pt x="10" y="7"/>
                      </a:lnTo>
                      <a:lnTo>
                        <a:pt x="10" y="3"/>
                      </a:lnTo>
                      <a:lnTo>
                        <a:pt x="11" y="1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8" y="2"/>
                      </a:lnTo>
                      <a:lnTo>
                        <a:pt x="23" y="7"/>
                      </a:lnTo>
                      <a:lnTo>
                        <a:pt x="26" y="12"/>
                      </a:lnTo>
                      <a:lnTo>
                        <a:pt x="35" y="18"/>
                      </a:lnTo>
                      <a:lnTo>
                        <a:pt x="42" y="26"/>
                      </a:lnTo>
                      <a:lnTo>
                        <a:pt x="46" y="27"/>
                      </a:lnTo>
                      <a:lnTo>
                        <a:pt x="52" y="28"/>
                      </a:lnTo>
                      <a:lnTo>
                        <a:pt x="61" y="29"/>
                      </a:lnTo>
                      <a:lnTo>
                        <a:pt x="69" y="28"/>
                      </a:lnTo>
                      <a:lnTo>
                        <a:pt x="72" y="27"/>
                      </a:lnTo>
                      <a:lnTo>
                        <a:pt x="77" y="23"/>
                      </a:lnTo>
                      <a:lnTo>
                        <a:pt x="80" y="19"/>
                      </a:lnTo>
                      <a:lnTo>
                        <a:pt x="83" y="17"/>
                      </a:lnTo>
                      <a:lnTo>
                        <a:pt x="85" y="13"/>
                      </a:lnTo>
                      <a:lnTo>
                        <a:pt x="90" y="11"/>
                      </a:lnTo>
                      <a:lnTo>
                        <a:pt x="98" y="3"/>
                      </a:lnTo>
                      <a:lnTo>
                        <a:pt x="100" y="2"/>
                      </a:lnTo>
                      <a:lnTo>
                        <a:pt x="104" y="2"/>
                      </a:lnTo>
                      <a:lnTo>
                        <a:pt x="109" y="5"/>
                      </a:lnTo>
                      <a:lnTo>
                        <a:pt x="114" y="8"/>
                      </a:lnTo>
                      <a:lnTo>
                        <a:pt x="117" y="12"/>
                      </a:lnTo>
                      <a:lnTo>
                        <a:pt x="114" y="13"/>
                      </a:lnTo>
                      <a:lnTo>
                        <a:pt x="114" y="16"/>
                      </a:lnTo>
                      <a:lnTo>
                        <a:pt x="114" y="19"/>
                      </a:lnTo>
                      <a:lnTo>
                        <a:pt x="116" y="23"/>
                      </a:lnTo>
                      <a:lnTo>
                        <a:pt x="116" y="26"/>
                      </a:lnTo>
                      <a:lnTo>
                        <a:pt x="115" y="26"/>
                      </a:lnTo>
                      <a:lnTo>
                        <a:pt x="111" y="27"/>
                      </a:lnTo>
                      <a:lnTo>
                        <a:pt x="110" y="28"/>
                      </a:lnTo>
                      <a:lnTo>
                        <a:pt x="110" y="29"/>
                      </a:lnTo>
                      <a:lnTo>
                        <a:pt x="111" y="32"/>
                      </a:lnTo>
                      <a:lnTo>
                        <a:pt x="116" y="34"/>
                      </a:lnTo>
                      <a:lnTo>
                        <a:pt x="120" y="37"/>
                      </a:lnTo>
                      <a:lnTo>
                        <a:pt x="125" y="40"/>
                      </a:lnTo>
                      <a:lnTo>
                        <a:pt x="128" y="44"/>
                      </a:lnTo>
                      <a:lnTo>
                        <a:pt x="132" y="44"/>
                      </a:lnTo>
                      <a:lnTo>
                        <a:pt x="133" y="44"/>
                      </a:lnTo>
                      <a:lnTo>
                        <a:pt x="134" y="44"/>
                      </a:lnTo>
                      <a:lnTo>
                        <a:pt x="137" y="51"/>
                      </a:lnTo>
                      <a:lnTo>
                        <a:pt x="139" y="59"/>
                      </a:lnTo>
                      <a:lnTo>
                        <a:pt x="142" y="66"/>
                      </a:lnTo>
                      <a:lnTo>
                        <a:pt x="148" y="72"/>
                      </a:lnTo>
                      <a:lnTo>
                        <a:pt x="154" y="74"/>
                      </a:lnTo>
                      <a:lnTo>
                        <a:pt x="160" y="75"/>
                      </a:lnTo>
                      <a:lnTo>
                        <a:pt x="168" y="76"/>
                      </a:lnTo>
                      <a:lnTo>
                        <a:pt x="174" y="77"/>
                      </a:lnTo>
                      <a:lnTo>
                        <a:pt x="176" y="80"/>
                      </a:lnTo>
                      <a:lnTo>
                        <a:pt x="180" y="82"/>
                      </a:lnTo>
                      <a:lnTo>
                        <a:pt x="185" y="90"/>
                      </a:lnTo>
                      <a:lnTo>
                        <a:pt x="193" y="94"/>
                      </a:lnTo>
                      <a:lnTo>
                        <a:pt x="202" y="98"/>
                      </a:lnTo>
                      <a:lnTo>
                        <a:pt x="209" y="101"/>
                      </a:lnTo>
                      <a:lnTo>
                        <a:pt x="219" y="103"/>
                      </a:lnTo>
                      <a:lnTo>
                        <a:pt x="228" y="103"/>
                      </a:lnTo>
                      <a:lnTo>
                        <a:pt x="237" y="102"/>
                      </a:lnTo>
                      <a:lnTo>
                        <a:pt x="248" y="99"/>
                      </a:lnTo>
                      <a:lnTo>
                        <a:pt x="259" y="96"/>
                      </a:lnTo>
                      <a:lnTo>
                        <a:pt x="270" y="94"/>
                      </a:lnTo>
                      <a:lnTo>
                        <a:pt x="281" y="94"/>
                      </a:lnTo>
                      <a:lnTo>
                        <a:pt x="276" y="94"/>
                      </a:lnTo>
                      <a:lnTo>
                        <a:pt x="272" y="96"/>
                      </a:lnTo>
                      <a:lnTo>
                        <a:pt x="275" y="97"/>
                      </a:lnTo>
                      <a:lnTo>
                        <a:pt x="277" y="97"/>
                      </a:lnTo>
                      <a:lnTo>
                        <a:pt x="281" y="97"/>
                      </a:lnTo>
                      <a:lnTo>
                        <a:pt x="283" y="96"/>
                      </a:lnTo>
                      <a:lnTo>
                        <a:pt x="282" y="92"/>
                      </a:lnTo>
                      <a:lnTo>
                        <a:pt x="281" y="87"/>
                      </a:lnTo>
                      <a:lnTo>
                        <a:pt x="278" y="82"/>
                      </a:lnTo>
                      <a:lnTo>
                        <a:pt x="277" y="78"/>
                      </a:lnTo>
                      <a:lnTo>
                        <a:pt x="286" y="80"/>
                      </a:lnTo>
                      <a:lnTo>
                        <a:pt x="294" y="77"/>
                      </a:lnTo>
                      <a:lnTo>
                        <a:pt x="298" y="75"/>
                      </a:lnTo>
                      <a:lnTo>
                        <a:pt x="299" y="72"/>
                      </a:lnTo>
                      <a:lnTo>
                        <a:pt x="299" y="70"/>
                      </a:lnTo>
                      <a:lnTo>
                        <a:pt x="300" y="66"/>
                      </a:lnTo>
                      <a:lnTo>
                        <a:pt x="303" y="62"/>
                      </a:lnTo>
                      <a:lnTo>
                        <a:pt x="308" y="60"/>
                      </a:lnTo>
                      <a:lnTo>
                        <a:pt x="316" y="55"/>
                      </a:lnTo>
                      <a:lnTo>
                        <a:pt x="321" y="54"/>
                      </a:lnTo>
                      <a:lnTo>
                        <a:pt x="328" y="54"/>
                      </a:lnTo>
                      <a:lnTo>
                        <a:pt x="334" y="55"/>
                      </a:lnTo>
                      <a:lnTo>
                        <a:pt x="339" y="55"/>
                      </a:lnTo>
                      <a:lnTo>
                        <a:pt x="339" y="53"/>
                      </a:lnTo>
                      <a:lnTo>
                        <a:pt x="340" y="50"/>
                      </a:lnTo>
                      <a:lnTo>
                        <a:pt x="346" y="50"/>
                      </a:lnTo>
                      <a:lnTo>
                        <a:pt x="352" y="50"/>
                      </a:lnTo>
                      <a:lnTo>
                        <a:pt x="358" y="50"/>
                      </a:lnTo>
                      <a:lnTo>
                        <a:pt x="362" y="50"/>
                      </a:lnTo>
                      <a:lnTo>
                        <a:pt x="364" y="51"/>
                      </a:lnTo>
                      <a:lnTo>
                        <a:pt x="366" y="53"/>
                      </a:lnTo>
                      <a:lnTo>
                        <a:pt x="367" y="56"/>
                      </a:lnTo>
                      <a:lnTo>
                        <a:pt x="371" y="59"/>
                      </a:lnTo>
                      <a:lnTo>
                        <a:pt x="374" y="60"/>
                      </a:lnTo>
                      <a:lnTo>
                        <a:pt x="383" y="61"/>
                      </a:lnTo>
                      <a:lnTo>
                        <a:pt x="387" y="64"/>
                      </a:lnTo>
                      <a:lnTo>
                        <a:pt x="390" y="66"/>
                      </a:lnTo>
                      <a:lnTo>
                        <a:pt x="394" y="67"/>
                      </a:lnTo>
                      <a:lnTo>
                        <a:pt x="399" y="69"/>
                      </a:lnTo>
                      <a:lnTo>
                        <a:pt x="409" y="70"/>
                      </a:lnTo>
                      <a:lnTo>
                        <a:pt x="412" y="70"/>
                      </a:lnTo>
                      <a:lnTo>
                        <a:pt x="417" y="71"/>
                      </a:lnTo>
                      <a:lnTo>
                        <a:pt x="421" y="72"/>
                      </a:lnTo>
                      <a:lnTo>
                        <a:pt x="425" y="75"/>
                      </a:lnTo>
                      <a:lnTo>
                        <a:pt x="430" y="81"/>
                      </a:lnTo>
                      <a:lnTo>
                        <a:pt x="432" y="85"/>
                      </a:lnTo>
                      <a:lnTo>
                        <a:pt x="437" y="86"/>
                      </a:lnTo>
                      <a:lnTo>
                        <a:pt x="442" y="87"/>
                      </a:lnTo>
                      <a:lnTo>
                        <a:pt x="446" y="90"/>
                      </a:lnTo>
                      <a:lnTo>
                        <a:pt x="452" y="96"/>
                      </a:lnTo>
                      <a:lnTo>
                        <a:pt x="457" y="101"/>
                      </a:lnTo>
                      <a:lnTo>
                        <a:pt x="462" y="102"/>
                      </a:lnTo>
                      <a:lnTo>
                        <a:pt x="468" y="101"/>
                      </a:lnTo>
                      <a:lnTo>
                        <a:pt x="475" y="101"/>
                      </a:lnTo>
                      <a:lnTo>
                        <a:pt x="479" y="102"/>
                      </a:lnTo>
                      <a:lnTo>
                        <a:pt x="481" y="105"/>
                      </a:lnTo>
                      <a:lnTo>
                        <a:pt x="482" y="110"/>
                      </a:lnTo>
                      <a:lnTo>
                        <a:pt x="482" y="115"/>
                      </a:lnTo>
                      <a:lnTo>
                        <a:pt x="484" y="120"/>
                      </a:lnTo>
                      <a:lnTo>
                        <a:pt x="484" y="123"/>
                      </a:lnTo>
                      <a:lnTo>
                        <a:pt x="482" y="123"/>
                      </a:lnTo>
                      <a:lnTo>
                        <a:pt x="482" y="124"/>
                      </a:lnTo>
                      <a:lnTo>
                        <a:pt x="484" y="125"/>
                      </a:lnTo>
                      <a:lnTo>
                        <a:pt x="486" y="128"/>
                      </a:lnTo>
                      <a:lnTo>
                        <a:pt x="487" y="131"/>
                      </a:lnTo>
                      <a:lnTo>
                        <a:pt x="489" y="135"/>
                      </a:lnTo>
                      <a:lnTo>
                        <a:pt x="489" y="139"/>
                      </a:lnTo>
                      <a:lnTo>
                        <a:pt x="489" y="141"/>
                      </a:lnTo>
                      <a:lnTo>
                        <a:pt x="487" y="144"/>
                      </a:lnTo>
                      <a:lnTo>
                        <a:pt x="486" y="147"/>
                      </a:lnTo>
                      <a:lnTo>
                        <a:pt x="486" y="150"/>
                      </a:lnTo>
                      <a:lnTo>
                        <a:pt x="487" y="156"/>
                      </a:lnTo>
                      <a:lnTo>
                        <a:pt x="487" y="163"/>
                      </a:lnTo>
                      <a:lnTo>
                        <a:pt x="485" y="168"/>
                      </a:lnTo>
                      <a:lnTo>
                        <a:pt x="480" y="172"/>
                      </a:lnTo>
                      <a:lnTo>
                        <a:pt x="482" y="174"/>
                      </a:lnTo>
                      <a:lnTo>
                        <a:pt x="484" y="176"/>
                      </a:lnTo>
                      <a:lnTo>
                        <a:pt x="484" y="177"/>
                      </a:lnTo>
                      <a:lnTo>
                        <a:pt x="482" y="178"/>
                      </a:lnTo>
                      <a:lnTo>
                        <a:pt x="480" y="180"/>
                      </a:lnTo>
                      <a:lnTo>
                        <a:pt x="478" y="182"/>
                      </a:lnTo>
                      <a:lnTo>
                        <a:pt x="476" y="183"/>
                      </a:lnTo>
                      <a:lnTo>
                        <a:pt x="476" y="189"/>
                      </a:lnTo>
                      <a:lnTo>
                        <a:pt x="478" y="195"/>
                      </a:lnTo>
                      <a:lnTo>
                        <a:pt x="480" y="201"/>
                      </a:lnTo>
                      <a:lnTo>
                        <a:pt x="482" y="203"/>
                      </a:lnTo>
                      <a:lnTo>
                        <a:pt x="485" y="204"/>
                      </a:lnTo>
                      <a:lnTo>
                        <a:pt x="487" y="205"/>
                      </a:lnTo>
                      <a:lnTo>
                        <a:pt x="489" y="205"/>
                      </a:lnTo>
                      <a:lnTo>
                        <a:pt x="489" y="209"/>
                      </a:lnTo>
                      <a:lnTo>
                        <a:pt x="486" y="212"/>
                      </a:lnTo>
                      <a:lnTo>
                        <a:pt x="485" y="216"/>
                      </a:lnTo>
                      <a:lnTo>
                        <a:pt x="485" y="224"/>
                      </a:lnTo>
                      <a:lnTo>
                        <a:pt x="487" y="231"/>
                      </a:lnTo>
                      <a:lnTo>
                        <a:pt x="491" y="239"/>
                      </a:lnTo>
                      <a:lnTo>
                        <a:pt x="495" y="247"/>
                      </a:lnTo>
                      <a:lnTo>
                        <a:pt x="496" y="259"/>
                      </a:lnTo>
                      <a:lnTo>
                        <a:pt x="498" y="265"/>
                      </a:lnTo>
                      <a:lnTo>
                        <a:pt x="502" y="270"/>
                      </a:lnTo>
                      <a:lnTo>
                        <a:pt x="506" y="273"/>
                      </a:lnTo>
                      <a:lnTo>
                        <a:pt x="512" y="274"/>
                      </a:lnTo>
                      <a:lnTo>
                        <a:pt x="518" y="274"/>
                      </a:lnTo>
                      <a:lnTo>
                        <a:pt x="523" y="276"/>
                      </a:lnTo>
                      <a:lnTo>
                        <a:pt x="527" y="280"/>
                      </a:lnTo>
                      <a:lnTo>
                        <a:pt x="528" y="285"/>
                      </a:lnTo>
                      <a:lnTo>
                        <a:pt x="528" y="290"/>
                      </a:lnTo>
                      <a:lnTo>
                        <a:pt x="528" y="295"/>
                      </a:lnTo>
                      <a:lnTo>
                        <a:pt x="526" y="299"/>
                      </a:lnTo>
                      <a:lnTo>
                        <a:pt x="523" y="302"/>
                      </a:lnTo>
                      <a:lnTo>
                        <a:pt x="518" y="311"/>
                      </a:lnTo>
                      <a:lnTo>
                        <a:pt x="516" y="314"/>
                      </a:lnTo>
                      <a:lnTo>
                        <a:pt x="512" y="319"/>
                      </a:lnTo>
                      <a:lnTo>
                        <a:pt x="510" y="323"/>
                      </a:lnTo>
                      <a:lnTo>
                        <a:pt x="507" y="326"/>
                      </a:lnTo>
                      <a:lnTo>
                        <a:pt x="511" y="329"/>
                      </a:lnTo>
                      <a:lnTo>
                        <a:pt x="514" y="333"/>
                      </a:lnTo>
                      <a:lnTo>
                        <a:pt x="523" y="343"/>
                      </a:lnTo>
                      <a:lnTo>
                        <a:pt x="529" y="353"/>
                      </a:lnTo>
                      <a:lnTo>
                        <a:pt x="537" y="362"/>
                      </a:lnTo>
                      <a:lnTo>
                        <a:pt x="544" y="369"/>
                      </a:lnTo>
                      <a:lnTo>
                        <a:pt x="549" y="371"/>
                      </a:lnTo>
                      <a:lnTo>
                        <a:pt x="554" y="373"/>
                      </a:lnTo>
                      <a:lnTo>
                        <a:pt x="559" y="376"/>
                      </a:lnTo>
                      <a:lnTo>
                        <a:pt x="565" y="378"/>
                      </a:lnTo>
                      <a:lnTo>
                        <a:pt x="566" y="378"/>
                      </a:lnTo>
                      <a:lnTo>
                        <a:pt x="567" y="381"/>
                      </a:lnTo>
                      <a:lnTo>
                        <a:pt x="570" y="388"/>
                      </a:lnTo>
                      <a:lnTo>
                        <a:pt x="571" y="396"/>
                      </a:lnTo>
                      <a:lnTo>
                        <a:pt x="572" y="398"/>
                      </a:lnTo>
                      <a:lnTo>
                        <a:pt x="572" y="401"/>
                      </a:lnTo>
                      <a:lnTo>
                        <a:pt x="572" y="405"/>
                      </a:lnTo>
                      <a:lnTo>
                        <a:pt x="572" y="409"/>
                      </a:lnTo>
                      <a:lnTo>
                        <a:pt x="573" y="412"/>
                      </a:lnTo>
                      <a:lnTo>
                        <a:pt x="575" y="413"/>
                      </a:lnTo>
                      <a:lnTo>
                        <a:pt x="578" y="413"/>
                      </a:lnTo>
                      <a:lnTo>
                        <a:pt x="585" y="413"/>
                      </a:lnTo>
                      <a:lnTo>
                        <a:pt x="587" y="414"/>
                      </a:lnTo>
                      <a:lnTo>
                        <a:pt x="587" y="419"/>
                      </a:lnTo>
                      <a:lnTo>
                        <a:pt x="587" y="424"/>
                      </a:lnTo>
                      <a:lnTo>
                        <a:pt x="586" y="429"/>
                      </a:lnTo>
                      <a:lnTo>
                        <a:pt x="585" y="431"/>
                      </a:lnTo>
                      <a:lnTo>
                        <a:pt x="581" y="433"/>
                      </a:lnTo>
                      <a:lnTo>
                        <a:pt x="571" y="434"/>
                      </a:lnTo>
                      <a:lnTo>
                        <a:pt x="566" y="434"/>
                      </a:lnTo>
                      <a:lnTo>
                        <a:pt x="562" y="435"/>
                      </a:lnTo>
                      <a:lnTo>
                        <a:pt x="560" y="437"/>
                      </a:lnTo>
                      <a:lnTo>
                        <a:pt x="561" y="441"/>
                      </a:lnTo>
                      <a:lnTo>
                        <a:pt x="556" y="442"/>
                      </a:lnTo>
                      <a:lnTo>
                        <a:pt x="554" y="444"/>
                      </a:lnTo>
                      <a:lnTo>
                        <a:pt x="551" y="445"/>
                      </a:lnTo>
                      <a:lnTo>
                        <a:pt x="549" y="451"/>
                      </a:lnTo>
                      <a:lnTo>
                        <a:pt x="548" y="458"/>
                      </a:lnTo>
                      <a:lnTo>
                        <a:pt x="546" y="473"/>
                      </a:lnTo>
                      <a:lnTo>
                        <a:pt x="546" y="478"/>
                      </a:lnTo>
                      <a:lnTo>
                        <a:pt x="545" y="479"/>
                      </a:lnTo>
                      <a:lnTo>
                        <a:pt x="543" y="479"/>
                      </a:lnTo>
                      <a:lnTo>
                        <a:pt x="543" y="482"/>
                      </a:lnTo>
                      <a:lnTo>
                        <a:pt x="542" y="483"/>
                      </a:lnTo>
                      <a:lnTo>
                        <a:pt x="537" y="483"/>
                      </a:lnTo>
                      <a:lnTo>
                        <a:pt x="530" y="480"/>
                      </a:lnTo>
                      <a:lnTo>
                        <a:pt x="528" y="480"/>
                      </a:lnTo>
                      <a:lnTo>
                        <a:pt x="527" y="479"/>
                      </a:lnTo>
                      <a:lnTo>
                        <a:pt x="524" y="479"/>
                      </a:lnTo>
                      <a:lnTo>
                        <a:pt x="522" y="478"/>
                      </a:lnTo>
                      <a:lnTo>
                        <a:pt x="518" y="477"/>
                      </a:lnTo>
                      <a:lnTo>
                        <a:pt x="517" y="476"/>
                      </a:lnTo>
                      <a:lnTo>
                        <a:pt x="516" y="473"/>
                      </a:lnTo>
                      <a:lnTo>
                        <a:pt x="513" y="472"/>
                      </a:lnTo>
                      <a:lnTo>
                        <a:pt x="512" y="473"/>
                      </a:lnTo>
                      <a:lnTo>
                        <a:pt x="512" y="476"/>
                      </a:lnTo>
                      <a:lnTo>
                        <a:pt x="510" y="476"/>
                      </a:lnTo>
                      <a:lnTo>
                        <a:pt x="505" y="476"/>
                      </a:lnTo>
                      <a:lnTo>
                        <a:pt x="500" y="476"/>
                      </a:lnTo>
                      <a:lnTo>
                        <a:pt x="496" y="474"/>
                      </a:lnTo>
                      <a:lnTo>
                        <a:pt x="492" y="472"/>
                      </a:lnTo>
                      <a:lnTo>
                        <a:pt x="487" y="472"/>
                      </a:lnTo>
                      <a:lnTo>
                        <a:pt x="482" y="472"/>
                      </a:lnTo>
                      <a:lnTo>
                        <a:pt x="478" y="473"/>
                      </a:lnTo>
                      <a:lnTo>
                        <a:pt x="475" y="473"/>
                      </a:lnTo>
                      <a:lnTo>
                        <a:pt x="473" y="473"/>
                      </a:lnTo>
                      <a:lnTo>
                        <a:pt x="468" y="469"/>
                      </a:lnTo>
                      <a:lnTo>
                        <a:pt x="464" y="468"/>
                      </a:lnTo>
                      <a:lnTo>
                        <a:pt x="462" y="468"/>
                      </a:lnTo>
                      <a:lnTo>
                        <a:pt x="455" y="467"/>
                      </a:lnTo>
                      <a:lnTo>
                        <a:pt x="452" y="467"/>
                      </a:lnTo>
                      <a:lnTo>
                        <a:pt x="449" y="467"/>
                      </a:lnTo>
                      <a:lnTo>
                        <a:pt x="447" y="468"/>
                      </a:lnTo>
                      <a:lnTo>
                        <a:pt x="444" y="467"/>
                      </a:lnTo>
                      <a:lnTo>
                        <a:pt x="442" y="466"/>
                      </a:lnTo>
                      <a:lnTo>
                        <a:pt x="441" y="464"/>
                      </a:lnTo>
                      <a:lnTo>
                        <a:pt x="438" y="464"/>
                      </a:lnTo>
                      <a:lnTo>
                        <a:pt x="436" y="466"/>
                      </a:lnTo>
                      <a:lnTo>
                        <a:pt x="435" y="463"/>
                      </a:lnTo>
                      <a:lnTo>
                        <a:pt x="431" y="462"/>
                      </a:lnTo>
                      <a:lnTo>
                        <a:pt x="426" y="461"/>
                      </a:lnTo>
                      <a:lnTo>
                        <a:pt x="422" y="458"/>
                      </a:lnTo>
                      <a:lnTo>
                        <a:pt x="419" y="453"/>
                      </a:lnTo>
                      <a:lnTo>
                        <a:pt x="415" y="445"/>
                      </a:lnTo>
                      <a:lnTo>
                        <a:pt x="414" y="437"/>
                      </a:lnTo>
                      <a:lnTo>
                        <a:pt x="412" y="430"/>
                      </a:lnTo>
                      <a:lnTo>
                        <a:pt x="409" y="423"/>
                      </a:lnTo>
                      <a:lnTo>
                        <a:pt x="404" y="418"/>
                      </a:lnTo>
                      <a:lnTo>
                        <a:pt x="398" y="414"/>
                      </a:lnTo>
                      <a:lnTo>
                        <a:pt x="390" y="414"/>
                      </a:lnTo>
                      <a:lnTo>
                        <a:pt x="387" y="415"/>
                      </a:lnTo>
                      <a:lnTo>
                        <a:pt x="383" y="417"/>
                      </a:lnTo>
                      <a:lnTo>
                        <a:pt x="377" y="420"/>
                      </a:lnTo>
                      <a:lnTo>
                        <a:pt x="372" y="421"/>
                      </a:lnTo>
                      <a:lnTo>
                        <a:pt x="371" y="424"/>
                      </a:lnTo>
                      <a:lnTo>
                        <a:pt x="371" y="426"/>
                      </a:lnTo>
                      <a:lnTo>
                        <a:pt x="369" y="428"/>
                      </a:lnTo>
                      <a:lnTo>
                        <a:pt x="367" y="428"/>
                      </a:lnTo>
                      <a:lnTo>
                        <a:pt x="363" y="428"/>
                      </a:lnTo>
                      <a:lnTo>
                        <a:pt x="361" y="428"/>
                      </a:lnTo>
                      <a:lnTo>
                        <a:pt x="358" y="429"/>
                      </a:lnTo>
                      <a:lnTo>
                        <a:pt x="356" y="431"/>
                      </a:lnTo>
                      <a:lnTo>
                        <a:pt x="351" y="436"/>
                      </a:lnTo>
                      <a:lnTo>
                        <a:pt x="345" y="436"/>
                      </a:lnTo>
                      <a:lnTo>
                        <a:pt x="340" y="434"/>
                      </a:lnTo>
                      <a:lnTo>
                        <a:pt x="335" y="431"/>
                      </a:lnTo>
                      <a:lnTo>
                        <a:pt x="330" y="430"/>
                      </a:lnTo>
                      <a:lnTo>
                        <a:pt x="324" y="430"/>
                      </a:lnTo>
                      <a:lnTo>
                        <a:pt x="320" y="430"/>
                      </a:lnTo>
                      <a:lnTo>
                        <a:pt x="315" y="428"/>
                      </a:lnTo>
                      <a:lnTo>
                        <a:pt x="312" y="424"/>
                      </a:lnTo>
                      <a:lnTo>
                        <a:pt x="307" y="420"/>
                      </a:lnTo>
                      <a:lnTo>
                        <a:pt x="299" y="417"/>
                      </a:lnTo>
                      <a:lnTo>
                        <a:pt x="283" y="408"/>
                      </a:lnTo>
                      <a:lnTo>
                        <a:pt x="284" y="407"/>
                      </a:lnTo>
                      <a:lnTo>
                        <a:pt x="284" y="404"/>
                      </a:lnTo>
                      <a:lnTo>
                        <a:pt x="282" y="402"/>
                      </a:lnTo>
                      <a:lnTo>
                        <a:pt x="277" y="399"/>
                      </a:lnTo>
                      <a:lnTo>
                        <a:pt x="273" y="397"/>
                      </a:lnTo>
                      <a:lnTo>
                        <a:pt x="270" y="396"/>
                      </a:lnTo>
                      <a:lnTo>
                        <a:pt x="266" y="393"/>
                      </a:lnTo>
                      <a:lnTo>
                        <a:pt x="259" y="393"/>
                      </a:lnTo>
                      <a:lnTo>
                        <a:pt x="256" y="392"/>
                      </a:lnTo>
                      <a:lnTo>
                        <a:pt x="253" y="391"/>
                      </a:lnTo>
                      <a:lnTo>
                        <a:pt x="249" y="387"/>
                      </a:lnTo>
                      <a:lnTo>
                        <a:pt x="245" y="383"/>
                      </a:lnTo>
                      <a:lnTo>
                        <a:pt x="239" y="373"/>
                      </a:lnTo>
                      <a:lnTo>
                        <a:pt x="238" y="370"/>
                      </a:lnTo>
                      <a:lnTo>
                        <a:pt x="238" y="367"/>
                      </a:lnTo>
                      <a:lnTo>
                        <a:pt x="237" y="364"/>
                      </a:lnTo>
                      <a:lnTo>
                        <a:pt x="235" y="361"/>
                      </a:lnTo>
                      <a:lnTo>
                        <a:pt x="230" y="359"/>
                      </a:lnTo>
                      <a:lnTo>
                        <a:pt x="229" y="358"/>
                      </a:lnTo>
                      <a:lnTo>
                        <a:pt x="228" y="355"/>
                      </a:lnTo>
                      <a:lnTo>
                        <a:pt x="230" y="354"/>
                      </a:lnTo>
                      <a:lnTo>
                        <a:pt x="232" y="353"/>
                      </a:lnTo>
                      <a:lnTo>
                        <a:pt x="232" y="351"/>
                      </a:lnTo>
                      <a:lnTo>
                        <a:pt x="229" y="350"/>
                      </a:lnTo>
                      <a:lnTo>
                        <a:pt x="224" y="350"/>
                      </a:lnTo>
                      <a:lnTo>
                        <a:pt x="223" y="349"/>
                      </a:lnTo>
                      <a:lnTo>
                        <a:pt x="223" y="346"/>
                      </a:lnTo>
                      <a:lnTo>
                        <a:pt x="224" y="343"/>
                      </a:lnTo>
                      <a:lnTo>
                        <a:pt x="222" y="339"/>
                      </a:lnTo>
                      <a:lnTo>
                        <a:pt x="218" y="335"/>
                      </a:lnTo>
                      <a:lnTo>
                        <a:pt x="214" y="333"/>
                      </a:lnTo>
                      <a:lnTo>
                        <a:pt x="209" y="326"/>
                      </a:lnTo>
                      <a:lnTo>
                        <a:pt x="205" y="317"/>
                      </a:lnTo>
                      <a:lnTo>
                        <a:pt x="203" y="314"/>
                      </a:lnTo>
                      <a:lnTo>
                        <a:pt x="201" y="314"/>
                      </a:lnTo>
                      <a:lnTo>
                        <a:pt x="200" y="314"/>
                      </a:lnTo>
                      <a:lnTo>
                        <a:pt x="197" y="317"/>
                      </a:lnTo>
                      <a:lnTo>
                        <a:pt x="192" y="319"/>
                      </a:lnTo>
                      <a:lnTo>
                        <a:pt x="190" y="321"/>
                      </a:lnTo>
                      <a:lnTo>
                        <a:pt x="189" y="319"/>
                      </a:lnTo>
                      <a:lnTo>
                        <a:pt x="186" y="317"/>
                      </a:lnTo>
                      <a:lnTo>
                        <a:pt x="184" y="317"/>
                      </a:lnTo>
                      <a:lnTo>
                        <a:pt x="181" y="316"/>
                      </a:lnTo>
                      <a:lnTo>
                        <a:pt x="179" y="314"/>
                      </a:lnTo>
                      <a:lnTo>
                        <a:pt x="177" y="313"/>
                      </a:lnTo>
                      <a:lnTo>
                        <a:pt x="175" y="312"/>
                      </a:lnTo>
                      <a:lnTo>
                        <a:pt x="173" y="310"/>
                      </a:lnTo>
                      <a:lnTo>
                        <a:pt x="171" y="308"/>
                      </a:lnTo>
                      <a:lnTo>
                        <a:pt x="175" y="308"/>
                      </a:lnTo>
                      <a:lnTo>
                        <a:pt x="180" y="308"/>
                      </a:lnTo>
                      <a:lnTo>
                        <a:pt x="179" y="306"/>
                      </a:lnTo>
                      <a:lnTo>
                        <a:pt x="176" y="305"/>
                      </a:lnTo>
                      <a:lnTo>
                        <a:pt x="171" y="305"/>
                      </a:lnTo>
                      <a:lnTo>
                        <a:pt x="174" y="308"/>
                      </a:lnTo>
                      <a:lnTo>
                        <a:pt x="171" y="308"/>
                      </a:lnTo>
                      <a:lnTo>
                        <a:pt x="170" y="310"/>
                      </a:lnTo>
                      <a:lnTo>
                        <a:pt x="171" y="316"/>
                      </a:lnTo>
                      <a:lnTo>
                        <a:pt x="171" y="318"/>
                      </a:lnTo>
                      <a:lnTo>
                        <a:pt x="170" y="321"/>
                      </a:lnTo>
                      <a:lnTo>
                        <a:pt x="169" y="321"/>
                      </a:lnTo>
                      <a:lnTo>
                        <a:pt x="164" y="319"/>
                      </a:lnTo>
                      <a:lnTo>
                        <a:pt x="164" y="322"/>
                      </a:lnTo>
                      <a:lnTo>
                        <a:pt x="164" y="322"/>
                      </a:lnTo>
                      <a:lnTo>
                        <a:pt x="160" y="322"/>
                      </a:lnTo>
                      <a:lnTo>
                        <a:pt x="158" y="319"/>
                      </a:lnTo>
                      <a:lnTo>
                        <a:pt x="157" y="314"/>
                      </a:lnTo>
                      <a:lnTo>
                        <a:pt x="154" y="311"/>
                      </a:lnTo>
                      <a:lnTo>
                        <a:pt x="150" y="308"/>
                      </a:lnTo>
                      <a:lnTo>
                        <a:pt x="147" y="306"/>
                      </a:lnTo>
                      <a:lnTo>
                        <a:pt x="146" y="301"/>
                      </a:lnTo>
                      <a:lnTo>
                        <a:pt x="146" y="297"/>
                      </a:lnTo>
                      <a:lnTo>
                        <a:pt x="144" y="294"/>
                      </a:lnTo>
                      <a:lnTo>
                        <a:pt x="143" y="290"/>
                      </a:lnTo>
                      <a:lnTo>
                        <a:pt x="141" y="289"/>
                      </a:lnTo>
                      <a:lnTo>
                        <a:pt x="137" y="287"/>
                      </a:lnTo>
                      <a:lnTo>
                        <a:pt x="134" y="286"/>
                      </a:lnTo>
                      <a:lnTo>
                        <a:pt x="133" y="281"/>
                      </a:lnTo>
                      <a:lnTo>
                        <a:pt x="133" y="274"/>
                      </a:lnTo>
                      <a:lnTo>
                        <a:pt x="134" y="268"/>
                      </a:lnTo>
                      <a:lnTo>
                        <a:pt x="134" y="263"/>
                      </a:lnTo>
                      <a:lnTo>
                        <a:pt x="133" y="259"/>
                      </a:lnTo>
                      <a:lnTo>
                        <a:pt x="131" y="255"/>
                      </a:lnTo>
                      <a:lnTo>
                        <a:pt x="127" y="252"/>
                      </a:lnTo>
                      <a:lnTo>
                        <a:pt x="123" y="247"/>
                      </a:lnTo>
                      <a:lnTo>
                        <a:pt x="122" y="244"/>
                      </a:lnTo>
                      <a:lnTo>
                        <a:pt x="118" y="242"/>
                      </a:lnTo>
                      <a:lnTo>
                        <a:pt x="114" y="239"/>
                      </a:lnTo>
                      <a:lnTo>
                        <a:pt x="110" y="238"/>
                      </a:lnTo>
                      <a:lnTo>
                        <a:pt x="105" y="235"/>
                      </a:lnTo>
                      <a:lnTo>
                        <a:pt x="101" y="231"/>
                      </a:lnTo>
                      <a:lnTo>
                        <a:pt x="98" y="228"/>
                      </a:lnTo>
                      <a:lnTo>
                        <a:pt x="93" y="225"/>
                      </a:lnTo>
                      <a:lnTo>
                        <a:pt x="88" y="224"/>
                      </a:lnTo>
                      <a:lnTo>
                        <a:pt x="85" y="224"/>
                      </a:lnTo>
                      <a:lnTo>
                        <a:pt x="84" y="222"/>
                      </a:lnTo>
                      <a:lnTo>
                        <a:pt x="83" y="221"/>
                      </a:lnTo>
                      <a:lnTo>
                        <a:pt x="82" y="219"/>
                      </a:lnTo>
                      <a:lnTo>
                        <a:pt x="84" y="217"/>
                      </a:lnTo>
                      <a:lnTo>
                        <a:pt x="84" y="215"/>
                      </a:lnTo>
                      <a:lnTo>
                        <a:pt x="82" y="212"/>
                      </a:lnTo>
                      <a:lnTo>
                        <a:pt x="79" y="209"/>
                      </a:lnTo>
                      <a:lnTo>
                        <a:pt x="73" y="203"/>
                      </a:lnTo>
                      <a:lnTo>
                        <a:pt x="71" y="200"/>
                      </a:lnTo>
                      <a:lnTo>
                        <a:pt x="68" y="198"/>
                      </a:lnTo>
                      <a:lnTo>
                        <a:pt x="62" y="192"/>
                      </a:lnTo>
                      <a:lnTo>
                        <a:pt x="61" y="190"/>
                      </a:lnTo>
                      <a:lnTo>
                        <a:pt x="61" y="189"/>
                      </a:lnTo>
                      <a:lnTo>
                        <a:pt x="63" y="184"/>
                      </a:lnTo>
                      <a:lnTo>
                        <a:pt x="63" y="180"/>
                      </a:lnTo>
                      <a:lnTo>
                        <a:pt x="61" y="177"/>
                      </a:lnTo>
                      <a:lnTo>
                        <a:pt x="59" y="176"/>
                      </a:lnTo>
                      <a:lnTo>
                        <a:pt x="59" y="173"/>
                      </a:lnTo>
                      <a:lnTo>
                        <a:pt x="61" y="169"/>
                      </a:lnTo>
                      <a:lnTo>
                        <a:pt x="67" y="171"/>
                      </a:lnTo>
                      <a:lnTo>
                        <a:pt x="66" y="168"/>
                      </a:lnTo>
                      <a:lnTo>
                        <a:pt x="64" y="165"/>
                      </a:lnTo>
                      <a:lnTo>
                        <a:pt x="64" y="162"/>
                      </a:lnTo>
                      <a:lnTo>
                        <a:pt x="67" y="161"/>
                      </a:lnTo>
                      <a:lnTo>
                        <a:pt x="68" y="160"/>
                      </a:lnTo>
                      <a:lnTo>
                        <a:pt x="69" y="157"/>
                      </a:lnTo>
                      <a:lnTo>
                        <a:pt x="69" y="155"/>
                      </a:lnTo>
                      <a:lnTo>
                        <a:pt x="71" y="153"/>
                      </a:lnTo>
                      <a:lnTo>
                        <a:pt x="72" y="153"/>
                      </a:lnTo>
                      <a:lnTo>
                        <a:pt x="74" y="153"/>
                      </a:lnTo>
                      <a:lnTo>
                        <a:pt x="75" y="153"/>
                      </a:lnTo>
                      <a:lnTo>
                        <a:pt x="77" y="152"/>
                      </a:lnTo>
                      <a:lnTo>
                        <a:pt x="75" y="149"/>
                      </a:lnTo>
                      <a:lnTo>
                        <a:pt x="72" y="144"/>
                      </a:lnTo>
                      <a:lnTo>
                        <a:pt x="71" y="140"/>
                      </a:lnTo>
                      <a:lnTo>
                        <a:pt x="71" y="137"/>
                      </a:lnTo>
                      <a:lnTo>
                        <a:pt x="72" y="135"/>
                      </a:lnTo>
                      <a:lnTo>
                        <a:pt x="74" y="134"/>
                      </a:lnTo>
                      <a:lnTo>
                        <a:pt x="77" y="131"/>
                      </a:lnTo>
                      <a:lnTo>
                        <a:pt x="78" y="129"/>
                      </a:lnTo>
                      <a:lnTo>
                        <a:pt x="74" y="129"/>
                      </a:lnTo>
                      <a:lnTo>
                        <a:pt x="71" y="129"/>
                      </a:lnTo>
                      <a:lnTo>
                        <a:pt x="67" y="129"/>
                      </a:lnTo>
                      <a:lnTo>
                        <a:pt x="64" y="129"/>
                      </a:lnTo>
                      <a:lnTo>
                        <a:pt x="62" y="129"/>
                      </a:lnTo>
                      <a:lnTo>
                        <a:pt x="58" y="126"/>
                      </a:lnTo>
                      <a:lnTo>
                        <a:pt x="57" y="125"/>
                      </a:lnTo>
                      <a:lnTo>
                        <a:pt x="53" y="124"/>
                      </a:lnTo>
                      <a:lnTo>
                        <a:pt x="50" y="124"/>
                      </a:lnTo>
                      <a:lnTo>
                        <a:pt x="51" y="120"/>
                      </a:lnTo>
                      <a:lnTo>
                        <a:pt x="50" y="118"/>
                      </a:lnTo>
                      <a:lnTo>
                        <a:pt x="46" y="113"/>
                      </a:lnTo>
                      <a:lnTo>
                        <a:pt x="41" y="109"/>
                      </a:lnTo>
                      <a:lnTo>
                        <a:pt x="40" y="107"/>
                      </a:lnTo>
                      <a:lnTo>
                        <a:pt x="39" y="104"/>
                      </a:lnTo>
                      <a:lnTo>
                        <a:pt x="39" y="101"/>
                      </a:lnTo>
                      <a:lnTo>
                        <a:pt x="37" y="99"/>
                      </a:lnTo>
                      <a:lnTo>
                        <a:pt x="36" y="98"/>
                      </a:lnTo>
                      <a:lnTo>
                        <a:pt x="35" y="96"/>
                      </a:lnTo>
                      <a:lnTo>
                        <a:pt x="32" y="92"/>
                      </a:lnTo>
                      <a:lnTo>
                        <a:pt x="30" y="87"/>
                      </a:lnTo>
                      <a:lnTo>
                        <a:pt x="30" y="83"/>
                      </a:lnTo>
                      <a:lnTo>
                        <a:pt x="30" y="81"/>
                      </a:lnTo>
                      <a:lnTo>
                        <a:pt x="29" y="80"/>
                      </a:lnTo>
                      <a:lnTo>
                        <a:pt x="26" y="78"/>
                      </a:lnTo>
                      <a:lnTo>
                        <a:pt x="24" y="76"/>
                      </a:lnTo>
                      <a:lnTo>
                        <a:pt x="23" y="74"/>
                      </a:lnTo>
                      <a:lnTo>
                        <a:pt x="23" y="70"/>
                      </a:lnTo>
                      <a:lnTo>
                        <a:pt x="21" y="66"/>
                      </a:lnTo>
                      <a:lnTo>
                        <a:pt x="20" y="65"/>
                      </a:lnTo>
                      <a:lnTo>
                        <a:pt x="18" y="64"/>
                      </a:lnTo>
                      <a:lnTo>
                        <a:pt x="15" y="62"/>
                      </a:lnTo>
                      <a:lnTo>
                        <a:pt x="13" y="61"/>
                      </a:lnTo>
                      <a:lnTo>
                        <a:pt x="11" y="59"/>
                      </a:lnTo>
                      <a:lnTo>
                        <a:pt x="13" y="53"/>
                      </a:lnTo>
                      <a:lnTo>
                        <a:pt x="16" y="46"/>
                      </a:lnTo>
                      <a:lnTo>
                        <a:pt x="13" y="44"/>
                      </a:lnTo>
                      <a:lnTo>
                        <a:pt x="11" y="39"/>
                      </a:lnTo>
                      <a:lnTo>
                        <a:pt x="10" y="34"/>
                      </a:lnTo>
                      <a:lnTo>
                        <a:pt x="9" y="31"/>
                      </a:lnTo>
                      <a:lnTo>
                        <a:pt x="7" y="27"/>
                      </a:lnTo>
                      <a:lnTo>
                        <a:pt x="5" y="23"/>
                      </a:lnTo>
                      <a:lnTo>
                        <a:pt x="5" y="22"/>
                      </a:lnTo>
                      <a:lnTo>
                        <a:pt x="3" y="18"/>
                      </a:lnTo>
                      <a:lnTo>
                        <a:pt x="0" y="1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0" name="Freeform 1418">
                  <a:extLst>
                    <a:ext uri="{FF2B5EF4-FFF2-40B4-BE49-F238E27FC236}">
                      <a16:creationId xmlns:a16="http://schemas.microsoft.com/office/drawing/2014/main" id="{C3EA22FD-67DE-4369-84C0-AE36C9F577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6335" y="6124004"/>
                  <a:ext cx="51486" cy="71607"/>
                </a:xfrm>
                <a:custGeom>
                  <a:avLst/>
                  <a:gdLst>
                    <a:gd name="T0" fmla="*/ 0 w 45"/>
                    <a:gd name="T1" fmla="*/ 32 h 54"/>
                    <a:gd name="T2" fmla="*/ 2 w 45"/>
                    <a:gd name="T3" fmla="*/ 31 h 54"/>
                    <a:gd name="T4" fmla="*/ 2 w 45"/>
                    <a:gd name="T5" fmla="*/ 28 h 54"/>
                    <a:gd name="T6" fmla="*/ 1 w 45"/>
                    <a:gd name="T7" fmla="*/ 22 h 54"/>
                    <a:gd name="T8" fmla="*/ 0 w 45"/>
                    <a:gd name="T9" fmla="*/ 20 h 54"/>
                    <a:gd name="T10" fmla="*/ 0 w 45"/>
                    <a:gd name="T11" fmla="*/ 17 h 54"/>
                    <a:gd name="T12" fmla="*/ 1 w 45"/>
                    <a:gd name="T13" fmla="*/ 16 h 54"/>
                    <a:gd name="T14" fmla="*/ 5 w 45"/>
                    <a:gd name="T15" fmla="*/ 16 h 54"/>
                    <a:gd name="T16" fmla="*/ 4 w 45"/>
                    <a:gd name="T17" fmla="*/ 15 h 54"/>
                    <a:gd name="T18" fmla="*/ 5 w 45"/>
                    <a:gd name="T19" fmla="*/ 12 h 54"/>
                    <a:gd name="T20" fmla="*/ 7 w 45"/>
                    <a:gd name="T21" fmla="*/ 7 h 54"/>
                    <a:gd name="T22" fmla="*/ 11 w 45"/>
                    <a:gd name="T23" fmla="*/ 6 h 54"/>
                    <a:gd name="T24" fmla="*/ 12 w 45"/>
                    <a:gd name="T25" fmla="*/ 7 h 54"/>
                    <a:gd name="T26" fmla="*/ 13 w 45"/>
                    <a:gd name="T27" fmla="*/ 8 h 54"/>
                    <a:gd name="T28" fmla="*/ 13 w 45"/>
                    <a:gd name="T29" fmla="*/ 6 h 54"/>
                    <a:gd name="T30" fmla="*/ 13 w 45"/>
                    <a:gd name="T31" fmla="*/ 5 h 54"/>
                    <a:gd name="T32" fmla="*/ 12 w 45"/>
                    <a:gd name="T33" fmla="*/ 2 h 54"/>
                    <a:gd name="T34" fmla="*/ 11 w 45"/>
                    <a:gd name="T35" fmla="*/ 0 h 54"/>
                    <a:gd name="T36" fmla="*/ 15 w 45"/>
                    <a:gd name="T37" fmla="*/ 2 h 54"/>
                    <a:gd name="T38" fmla="*/ 17 w 45"/>
                    <a:gd name="T39" fmla="*/ 4 h 54"/>
                    <a:gd name="T40" fmla="*/ 21 w 45"/>
                    <a:gd name="T41" fmla="*/ 7 h 54"/>
                    <a:gd name="T42" fmla="*/ 24 w 45"/>
                    <a:gd name="T43" fmla="*/ 11 h 54"/>
                    <a:gd name="T44" fmla="*/ 27 w 45"/>
                    <a:gd name="T45" fmla="*/ 13 h 54"/>
                    <a:gd name="T46" fmla="*/ 31 w 45"/>
                    <a:gd name="T47" fmla="*/ 16 h 54"/>
                    <a:gd name="T48" fmla="*/ 34 w 45"/>
                    <a:gd name="T49" fmla="*/ 17 h 54"/>
                    <a:gd name="T50" fmla="*/ 37 w 45"/>
                    <a:gd name="T51" fmla="*/ 18 h 54"/>
                    <a:gd name="T52" fmla="*/ 40 w 45"/>
                    <a:gd name="T53" fmla="*/ 18 h 54"/>
                    <a:gd name="T54" fmla="*/ 43 w 45"/>
                    <a:gd name="T55" fmla="*/ 20 h 54"/>
                    <a:gd name="T56" fmla="*/ 45 w 45"/>
                    <a:gd name="T57" fmla="*/ 21 h 54"/>
                    <a:gd name="T58" fmla="*/ 45 w 45"/>
                    <a:gd name="T59" fmla="*/ 23 h 54"/>
                    <a:gd name="T60" fmla="*/ 44 w 45"/>
                    <a:gd name="T61" fmla="*/ 24 h 54"/>
                    <a:gd name="T62" fmla="*/ 42 w 45"/>
                    <a:gd name="T63" fmla="*/ 24 h 54"/>
                    <a:gd name="T64" fmla="*/ 40 w 45"/>
                    <a:gd name="T65" fmla="*/ 24 h 54"/>
                    <a:gd name="T66" fmla="*/ 40 w 45"/>
                    <a:gd name="T67" fmla="*/ 27 h 54"/>
                    <a:gd name="T68" fmla="*/ 43 w 45"/>
                    <a:gd name="T69" fmla="*/ 28 h 54"/>
                    <a:gd name="T70" fmla="*/ 43 w 45"/>
                    <a:gd name="T71" fmla="*/ 31 h 54"/>
                    <a:gd name="T72" fmla="*/ 43 w 45"/>
                    <a:gd name="T73" fmla="*/ 32 h 54"/>
                    <a:gd name="T74" fmla="*/ 39 w 45"/>
                    <a:gd name="T75" fmla="*/ 34 h 54"/>
                    <a:gd name="T76" fmla="*/ 37 w 45"/>
                    <a:gd name="T77" fmla="*/ 33 h 54"/>
                    <a:gd name="T78" fmla="*/ 35 w 45"/>
                    <a:gd name="T79" fmla="*/ 32 h 54"/>
                    <a:gd name="T80" fmla="*/ 34 w 45"/>
                    <a:gd name="T81" fmla="*/ 29 h 54"/>
                    <a:gd name="T82" fmla="*/ 33 w 45"/>
                    <a:gd name="T83" fmla="*/ 29 h 54"/>
                    <a:gd name="T84" fmla="*/ 31 w 45"/>
                    <a:gd name="T85" fmla="*/ 31 h 54"/>
                    <a:gd name="T86" fmla="*/ 27 w 45"/>
                    <a:gd name="T87" fmla="*/ 35 h 54"/>
                    <a:gd name="T88" fmla="*/ 24 w 45"/>
                    <a:gd name="T89" fmla="*/ 42 h 54"/>
                    <a:gd name="T90" fmla="*/ 24 w 45"/>
                    <a:gd name="T91" fmla="*/ 48 h 54"/>
                    <a:gd name="T92" fmla="*/ 26 w 45"/>
                    <a:gd name="T93" fmla="*/ 54 h 54"/>
                    <a:gd name="T94" fmla="*/ 20 w 45"/>
                    <a:gd name="T95" fmla="*/ 49 h 54"/>
                    <a:gd name="T96" fmla="*/ 13 w 45"/>
                    <a:gd name="T97" fmla="*/ 43 h 54"/>
                    <a:gd name="T98" fmla="*/ 12 w 45"/>
                    <a:gd name="T99" fmla="*/ 42 h 54"/>
                    <a:gd name="T100" fmla="*/ 8 w 45"/>
                    <a:gd name="T101" fmla="*/ 38 h 54"/>
                    <a:gd name="T102" fmla="*/ 6 w 45"/>
                    <a:gd name="T103" fmla="*/ 37 h 54"/>
                    <a:gd name="T104" fmla="*/ 4 w 45"/>
                    <a:gd name="T105" fmla="*/ 35 h 54"/>
                    <a:gd name="T106" fmla="*/ 5 w 45"/>
                    <a:gd name="T107" fmla="*/ 34 h 54"/>
                    <a:gd name="T108" fmla="*/ 6 w 45"/>
                    <a:gd name="T109" fmla="*/ 34 h 54"/>
                    <a:gd name="T110" fmla="*/ 7 w 45"/>
                    <a:gd name="T111" fmla="*/ 35 h 54"/>
                    <a:gd name="T112" fmla="*/ 8 w 45"/>
                    <a:gd name="T113" fmla="*/ 35 h 54"/>
                    <a:gd name="T114" fmla="*/ 7 w 45"/>
                    <a:gd name="T115" fmla="*/ 34 h 54"/>
                    <a:gd name="T116" fmla="*/ 5 w 45"/>
                    <a:gd name="T117" fmla="*/ 34 h 54"/>
                    <a:gd name="T118" fmla="*/ 1 w 45"/>
                    <a:gd name="T119" fmla="*/ 34 h 54"/>
                    <a:gd name="T120" fmla="*/ 0 w 45"/>
                    <a:gd name="T121" fmla="*/ 33 h 54"/>
                    <a:gd name="T122" fmla="*/ 0 w 45"/>
                    <a:gd name="T123" fmla="*/ 32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45" h="54">
                      <a:moveTo>
                        <a:pt x="0" y="32"/>
                      </a:moveTo>
                      <a:lnTo>
                        <a:pt x="2" y="31"/>
                      </a:lnTo>
                      <a:lnTo>
                        <a:pt x="2" y="28"/>
                      </a:lnTo>
                      <a:lnTo>
                        <a:pt x="1" y="22"/>
                      </a:lnTo>
                      <a:lnTo>
                        <a:pt x="0" y="20"/>
                      </a:lnTo>
                      <a:lnTo>
                        <a:pt x="0" y="17"/>
                      </a:lnTo>
                      <a:lnTo>
                        <a:pt x="1" y="16"/>
                      </a:lnTo>
                      <a:lnTo>
                        <a:pt x="5" y="16"/>
                      </a:lnTo>
                      <a:lnTo>
                        <a:pt x="4" y="15"/>
                      </a:lnTo>
                      <a:lnTo>
                        <a:pt x="5" y="12"/>
                      </a:lnTo>
                      <a:lnTo>
                        <a:pt x="7" y="7"/>
                      </a:lnTo>
                      <a:lnTo>
                        <a:pt x="11" y="6"/>
                      </a:lnTo>
                      <a:lnTo>
                        <a:pt x="12" y="7"/>
                      </a:lnTo>
                      <a:lnTo>
                        <a:pt x="13" y="8"/>
                      </a:lnTo>
                      <a:lnTo>
                        <a:pt x="13" y="6"/>
                      </a:lnTo>
                      <a:lnTo>
                        <a:pt x="13" y="5"/>
                      </a:lnTo>
                      <a:lnTo>
                        <a:pt x="12" y="2"/>
                      </a:lnTo>
                      <a:lnTo>
                        <a:pt x="11" y="0"/>
                      </a:lnTo>
                      <a:lnTo>
                        <a:pt x="15" y="2"/>
                      </a:lnTo>
                      <a:lnTo>
                        <a:pt x="17" y="4"/>
                      </a:lnTo>
                      <a:lnTo>
                        <a:pt x="21" y="7"/>
                      </a:lnTo>
                      <a:lnTo>
                        <a:pt x="24" y="11"/>
                      </a:lnTo>
                      <a:lnTo>
                        <a:pt x="27" y="13"/>
                      </a:lnTo>
                      <a:lnTo>
                        <a:pt x="31" y="16"/>
                      </a:lnTo>
                      <a:lnTo>
                        <a:pt x="34" y="17"/>
                      </a:lnTo>
                      <a:lnTo>
                        <a:pt x="37" y="18"/>
                      </a:lnTo>
                      <a:lnTo>
                        <a:pt x="40" y="18"/>
                      </a:lnTo>
                      <a:lnTo>
                        <a:pt x="43" y="20"/>
                      </a:lnTo>
                      <a:lnTo>
                        <a:pt x="45" y="21"/>
                      </a:lnTo>
                      <a:lnTo>
                        <a:pt x="45" y="23"/>
                      </a:lnTo>
                      <a:lnTo>
                        <a:pt x="44" y="24"/>
                      </a:lnTo>
                      <a:lnTo>
                        <a:pt x="42" y="24"/>
                      </a:lnTo>
                      <a:lnTo>
                        <a:pt x="40" y="24"/>
                      </a:lnTo>
                      <a:lnTo>
                        <a:pt x="40" y="27"/>
                      </a:lnTo>
                      <a:lnTo>
                        <a:pt x="43" y="28"/>
                      </a:lnTo>
                      <a:lnTo>
                        <a:pt x="43" y="31"/>
                      </a:lnTo>
                      <a:lnTo>
                        <a:pt x="43" y="32"/>
                      </a:lnTo>
                      <a:lnTo>
                        <a:pt x="39" y="34"/>
                      </a:lnTo>
                      <a:lnTo>
                        <a:pt x="37" y="33"/>
                      </a:lnTo>
                      <a:lnTo>
                        <a:pt x="35" y="32"/>
                      </a:lnTo>
                      <a:lnTo>
                        <a:pt x="34" y="29"/>
                      </a:lnTo>
                      <a:lnTo>
                        <a:pt x="33" y="29"/>
                      </a:lnTo>
                      <a:lnTo>
                        <a:pt x="31" y="31"/>
                      </a:lnTo>
                      <a:lnTo>
                        <a:pt x="27" y="35"/>
                      </a:lnTo>
                      <a:lnTo>
                        <a:pt x="24" y="42"/>
                      </a:lnTo>
                      <a:lnTo>
                        <a:pt x="24" y="48"/>
                      </a:lnTo>
                      <a:lnTo>
                        <a:pt x="26" y="54"/>
                      </a:lnTo>
                      <a:lnTo>
                        <a:pt x="20" y="49"/>
                      </a:lnTo>
                      <a:lnTo>
                        <a:pt x="13" y="43"/>
                      </a:lnTo>
                      <a:lnTo>
                        <a:pt x="12" y="42"/>
                      </a:lnTo>
                      <a:lnTo>
                        <a:pt x="8" y="38"/>
                      </a:lnTo>
                      <a:lnTo>
                        <a:pt x="6" y="37"/>
                      </a:lnTo>
                      <a:lnTo>
                        <a:pt x="4" y="35"/>
                      </a:lnTo>
                      <a:lnTo>
                        <a:pt x="5" y="34"/>
                      </a:lnTo>
                      <a:lnTo>
                        <a:pt x="6" y="34"/>
                      </a:lnTo>
                      <a:lnTo>
                        <a:pt x="7" y="35"/>
                      </a:lnTo>
                      <a:lnTo>
                        <a:pt x="8" y="35"/>
                      </a:lnTo>
                      <a:lnTo>
                        <a:pt x="7" y="34"/>
                      </a:lnTo>
                      <a:lnTo>
                        <a:pt x="5" y="34"/>
                      </a:lnTo>
                      <a:lnTo>
                        <a:pt x="1" y="34"/>
                      </a:lnTo>
                      <a:lnTo>
                        <a:pt x="0" y="33"/>
                      </a:lnTo>
                      <a:lnTo>
                        <a:pt x="0" y="32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1" name="Freeform 1419">
                  <a:extLst>
                    <a:ext uri="{FF2B5EF4-FFF2-40B4-BE49-F238E27FC236}">
                      <a16:creationId xmlns:a16="http://schemas.microsoft.com/office/drawing/2014/main" id="{82093B5D-0DC4-445C-8CC4-164DC5B437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9014" y="5492811"/>
                  <a:ext cx="38056" cy="26521"/>
                </a:xfrm>
                <a:custGeom>
                  <a:avLst/>
                  <a:gdLst>
                    <a:gd name="T0" fmla="*/ 5 w 34"/>
                    <a:gd name="T1" fmla="*/ 21 h 21"/>
                    <a:gd name="T2" fmla="*/ 8 w 34"/>
                    <a:gd name="T3" fmla="*/ 20 h 21"/>
                    <a:gd name="T4" fmla="*/ 9 w 34"/>
                    <a:gd name="T5" fmla="*/ 17 h 21"/>
                    <a:gd name="T6" fmla="*/ 11 w 34"/>
                    <a:gd name="T7" fmla="*/ 12 h 21"/>
                    <a:gd name="T8" fmla="*/ 15 w 34"/>
                    <a:gd name="T9" fmla="*/ 11 h 21"/>
                    <a:gd name="T10" fmla="*/ 19 w 34"/>
                    <a:gd name="T11" fmla="*/ 11 h 21"/>
                    <a:gd name="T12" fmla="*/ 23 w 34"/>
                    <a:gd name="T13" fmla="*/ 11 h 21"/>
                    <a:gd name="T14" fmla="*/ 25 w 34"/>
                    <a:gd name="T15" fmla="*/ 8 h 21"/>
                    <a:gd name="T16" fmla="*/ 30 w 34"/>
                    <a:gd name="T17" fmla="*/ 6 h 21"/>
                    <a:gd name="T18" fmla="*/ 31 w 34"/>
                    <a:gd name="T19" fmla="*/ 5 h 21"/>
                    <a:gd name="T20" fmla="*/ 34 w 34"/>
                    <a:gd name="T21" fmla="*/ 5 h 21"/>
                    <a:gd name="T22" fmla="*/ 30 w 34"/>
                    <a:gd name="T23" fmla="*/ 2 h 21"/>
                    <a:gd name="T24" fmla="*/ 26 w 34"/>
                    <a:gd name="T25" fmla="*/ 1 h 21"/>
                    <a:gd name="T26" fmla="*/ 18 w 34"/>
                    <a:gd name="T27" fmla="*/ 0 h 21"/>
                    <a:gd name="T28" fmla="*/ 14 w 34"/>
                    <a:gd name="T29" fmla="*/ 0 h 21"/>
                    <a:gd name="T30" fmla="*/ 13 w 34"/>
                    <a:gd name="T31" fmla="*/ 1 h 21"/>
                    <a:gd name="T32" fmla="*/ 10 w 34"/>
                    <a:gd name="T33" fmla="*/ 2 h 21"/>
                    <a:gd name="T34" fmla="*/ 9 w 34"/>
                    <a:gd name="T35" fmla="*/ 2 h 21"/>
                    <a:gd name="T36" fmla="*/ 5 w 34"/>
                    <a:gd name="T37" fmla="*/ 4 h 21"/>
                    <a:gd name="T38" fmla="*/ 0 w 34"/>
                    <a:gd name="T39" fmla="*/ 2 h 21"/>
                    <a:gd name="T40" fmla="*/ 3 w 34"/>
                    <a:gd name="T41" fmla="*/ 5 h 21"/>
                    <a:gd name="T42" fmla="*/ 3 w 34"/>
                    <a:gd name="T43" fmla="*/ 7 h 21"/>
                    <a:gd name="T44" fmla="*/ 3 w 34"/>
                    <a:gd name="T45" fmla="*/ 10 h 21"/>
                    <a:gd name="T46" fmla="*/ 5 w 34"/>
                    <a:gd name="T47" fmla="*/ 11 h 21"/>
                    <a:gd name="T48" fmla="*/ 7 w 34"/>
                    <a:gd name="T49" fmla="*/ 12 h 21"/>
                    <a:gd name="T50" fmla="*/ 7 w 34"/>
                    <a:gd name="T51" fmla="*/ 13 h 21"/>
                    <a:gd name="T52" fmla="*/ 7 w 34"/>
                    <a:gd name="T53" fmla="*/ 16 h 21"/>
                    <a:gd name="T54" fmla="*/ 5 w 34"/>
                    <a:gd name="T55" fmla="*/ 18 h 21"/>
                    <a:gd name="T56" fmla="*/ 5 w 34"/>
                    <a:gd name="T57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4" h="21">
                      <a:moveTo>
                        <a:pt x="5" y="21"/>
                      </a:moveTo>
                      <a:lnTo>
                        <a:pt x="8" y="20"/>
                      </a:lnTo>
                      <a:lnTo>
                        <a:pt x="9" y="17"/>
                      </a:lnTo>
                      <a:lnTo>
                        <a:pt x="11" y="12"/>
                      </a:lnTo>
                      <a:lnTo>
                        <a:pt x="15" y="11"/>
                      </a:lnTo>
                      <a:lnTo>
                        <a:pt x="19" y="11"/>
                      </a:lnTo>
                      <a:lnTo>
                        <a:pt x="23" y="11"/>
                      </a:lnTo>
                      <a:lnTo>
                        <a:pt x="25" y="8"/>
                      </a:lnTo>
                      <a:lnTo>
                        <a:pt x="30" y="6"/>
                      </a:lnTo>
                      <a:lnTo>
                        <a:pt x="31" y="5"/>
                      </a:lnTo>
                      <a:lnTo>
                        <a:pt x="34" y="5"/>
                      </a:lnTo>
                      <a:lnTo>
                        <a:pt x="30" y="2"/>
                      </a:lnTo>
                      <a:lnTo>
                        <a:pt x="26" y="1"/>
                      </a:lnTo>
                      <a:lnTo>
                        <a:pt x="18" y="0"/>
                      </a:lnTo>
                      <a:lnTo>
                        <a:pt x="14" y="0"/>
                      </a:lnTo>
                      <a:lnTo>
                        <a:pt x="13" y="1"/>
                      </a:lnTo>
                      <a:lnTo>
                        <a:pt x="10" y="2"/>
                      </a:lnTo>
                      <a:lnTo>
                        <a:pt x="9" y="2"/>
                      </a:lnTo>
                      <a:lnTo>
                        <a:pt x="5" y="4"/>
                      </a:lnTo>
                      <a:lnTo>
                        <a:pt x="0" y="2"/>
                      </a:lnTo>
                      <a:lnTo>
                        <a:pt x="3" y="5"/>
                      </a:lnTo>
                      <a:lnTo>
                        <a:pt x="3" y="7"/>
                      </a:lnTo>
                      <a:lnTo>
                        <a:pt x="3" y="10"/>
                      </a:lnTo>
                      <a:lnTo>
                        <a:pt x="5" y="11"/>
                      </a:lnTo>
                      <a:lnTo>
                        <a:pt x="7" y="12"/>
                      </a:lnTo>
                      <a:lnTo>
                        <a:pt x="7" y="13"/>
                      </a:lnTo>
                      <a:lnTo>
                        <a:pt x="7" y="16"/>
                      </a:lnTo>
                      <a:lnTo>
                        <a:pt x="5" y="18"/>
                      </a:lnTo>
                      <a:lnTo>
                        <a:pt x="5" y="2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2" name="Freeform 1420">
                  <a:extLst>
                    <a:ext uri="{FF2B5EF4-FFF2-40B4-BE49-F238E27FC236}">
                      <a16:creationId xmlns:a16="http://schemas.microsoft.com/office/drawing/2014/main" id="{6AE1512D-F58D-4D14-9ABB-92E93F97CF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1253" y="5474246"/>
                  <a:ext cx="24625" cy="13261"/>
                </a:xfrm>
                <a:custGeom>
                  <a:avLst/>
                  <a:gdLst>
                    <a:gd name="T0" fmla="*/ 13 w 22"/>
                    <a:gd name="T1" fmla="*/ 0 h 11"/>
                    <a:gd name="T2" fmla="*/ 7 w 22"/>
                    <a:gd name="T3" fmla="*/ 4 h 11"/>
                    <a:gd name="T4" fmla="*/ 0 w 22"/>
                    <a:gd name="T5" fmla="*/ 4 h 11"/>
                    <a:gd name="T6" fmla="*/ 4 w 22"/>
                    <a:gd name="T7" fmla="*/ 5 h 11"/>
                    <a:gd name="T8" fmla="*/ 6 w 22"/>
                    <a:gd name="T9" fmla="*/ 5 h 11"/>
                    <a:gd name="T10" fmla="*/ 10 w 22"/>
                    <a:gd name="T11" fmla="*/ 6 h 11"/>
                    <a:gd name="T12" fmla="*/ 11 w 22"/>
                    <a:gd name="T13" fmla="*/ 9 h 11"/>
                    <a:gd name="T14" fmla="*/ 12 w 22"/>
                    <a:gd name="T15" fmla="*/ 11 h 11"/>
                    <a:gd name="T16" fmla="*/ 15 w 22"/>
                    <a:gd name="T17" fmla="*/ 11 h 11"/>
                    <a:gd name="T18" fmla="*/ 17 w 22"/>
                    <a:gd name="T19" fmla="*/ 9 h 11"/>
                    <a:gd name="T20" fmla="*/ 18 w 22"/>
                    <a:gd name="T21" fmla="*/ 7 h 11"/>
                    <a:gd name="T22" fmla="*/ 21 w 22"/>
                    <a:gd name="T23" fmla="*/ 7 h 11"/>
                    <a:gd name="T24" fmla="*/ 22 w 22"/>
                    <a:gd name="T25" fmla="*/ 6 h 11"/>
                    <a:gd name="T26" fmla="*/ 22 w 22"/>
                    <a:gd name="T27" fmla="*/ 5 h 11"/>
                    <a:gd name="T28" fmla="*/ 21 w 22"/>
                    <a:gd name="T29" fmla="*/ 3 h 11"/>
                    <a:gd name="T30" fmla="*/ 18 w 22"/>
                    <a:gd name="T31" fmla="*/ 3 h 11"/>
                    <a:gd name="T32" fmla="*/ 16 w 22"/>
                    <a:gd name="T33" fmla="*/ 1 h 11"/>
                    <a:gd name="T34" fmla="*/ 13 w 22"/>
                    <a:gd name="T3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22" h="11">
                      <a:moveTo>
                        <a:pt x="13" y="0"/>
                      </a:moveTo>
                      <a:lnTo>
                        <a:pt x="7" y="4"/>
                      </a:lnTo>
                      <a:lnTo>
                        <a:pt x="0" y="4"/>
                      </a:lnTo>
                      <a:lnTo>
                        <a:pt x="4" y="5"/>
                      </a:lnTo>
                      <a:lnTo>
                        <a:pt x="6" y="5"/>
                      </a:lnTo>
                      <a:lnTo>
                        <a:pt x="10" y="6"/>
                      </a:lnTo>
                      <a:lnTo>
                        <a:pt x="11" y="9"/>
                      </a:lnTo>
                      <a:lnTo>
                        <a:pt x="12" y="11"/>
                      </a:lnTo>
                      <a:lnTo>
                        <a:pt x="15" y="11"/>
                      </a:lnTo>
                      <a:lnTo>
                        <a:pt x="17" y="9"/>
                      </a:lnTo>
                      <a:lnTo>
                        <a:pt x="18" y="7"/>
                      </a:lnTo>
                      <a:lnTo>
                        <a:pt x="21" y="7"/>
                      </a:lnTo>
                      <a:lnTo>
                        <a:pt x="22" y="6"/>
                      </a:lnTo>
                      <a:lnTo>
                        <a:pt x="22" y="5"/>
                      </a:lnTo>
                      <a:lnTo>
                        <a:pt x="21" y="3"/>
                      </a:lnTo>
                      <a:lnTo>
                        <a:pt x="18" y="3"/>
                      </a:lnTo>
                      <a:lnTo>
                        <a:pt x="16" y="1"/>
                      </a:lnTo>
                      <a:lnTo>
                        <a:pt x="1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3" name="Freeform 1421">
                  <a:extLst>
                    <a:ext uri="{FF2B5EF4-FFF2-40B4-BE49-F238E27FC236}">
                      <a16:creationId xmlns:a16="http://schemas.microsoft.com/office/drawing/2014/main" id="{0D7089A0-FA9D-4333-BBDF-0B85DCAC99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12592" y="5490158"/>
                  <a:ext cx="4477" cy="5304"/>
                </a:xfrm>
                <a:custGeom>
                  <a:avLst/>
                  <a:gdLst>
                    <a:gd name="T0" fmla="*/ 1 w 5"/>
                    <a:gd name="T1" fmla="*/ 4 h 4"/>
                    <a:gd name="T2" fmla="*/ 4 w 5"/>
                    <a:gd name="T3" fmla="*/ 4 h 4"/>
                    <a:gd name="T4" fmla="*/ 5 w 5"/>
                    <a:gd name="T5" fmla="*/ 3 h 4"/>
                    <a:gd name="T6" fmla="*/ 2 w 5"/>
                    <a:gd name="T7" fmla="*/ 0 h 4"/>
                    <a:gd name="T8" fmla="*/ 0 w 5"/>
                    <a:gd name="T9" fmla="*/ 0 h 4"/>
                    <a:gd name="T10" fmla="*/ 1 w 5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4">
                      <a:moveTo>
                        <a:pt x="1" y="4"/>
                      </a:moveTo>
                      <a:lnTo>
                        <a:pt x="4" y="4"/>
                      </a:lnTo>
                      <a:lnTo>
                        <a:pt x="5" y="3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1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4" name="Freeform 1422">
                  <a:extLst>
                    <a:ext uri="{FF2B5EF4-FFF2-40B4-BE49-F238E27FC236}">
                      <a16:creationId xmlns:a16="http://schemas.microsoft.com/office/drawing/2014/main" id="{3AE4DB41-CBEE-4930-BF07-C94BA77E87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12592" y="5474246"/>
                  <a:ext cx="2240" cy="2653"/>
                </a:xfrm>
                <a:custGeom>
                  <a:avLst/>
                  <a:gdLst>
                    <a:gd name="T0" fmla="*/ 0 w 2"/>
                    <a:gd name="T1" fmla="*/ 0 h 3"/>
                    <a:gd name="T2" fmla="*/ 0 w 2"/>
                    <a:gd name="T3" fmla="*/ 3 h 3"/>
                    <a:gd name="T4" fmla="*/ 2 w 2"/>
                    <a:gd name="T5" fmla="*/ 0 h 3"/>
                    <a:gd name="T6" fmla="*/ 0 w 2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3">
                      <a:moveTo>
                        <a:pt x="0" y="0"/>
                      </a:moveTo>
                      <a:lnTo>
                        <a:pt x="0" y="3"/>
                      </a:ln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5" name="Freeform 1423">
                  <a:extLst>
                    <a:ext uri="{FF2B5EF4-FFF2-40B4-BE49-F238E27FC236}">
                      <a16:creationId xmlns:a16="http://schemas.microsoft.com/office/drawing/2014/main" id="{1BA95969-CCB3-455C-A132-918274338A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19307" y="5450377"/>
                  <a:ext cx="123119" cy="84867"/>
                </a:xfrm>
                <a:custGeom>
                  <a:avLst/>
                  <a:gdLst>
                    <a:gd name="T0" fmla="*/ 3 w 111"/>
                    <a:gd name="T1" fmla="*/ 29 h 64"/>
                    <a:gd name="T2" fmla="*/ 7 w 111"/>
                    <a:gd name="T3" fmla="*/ 27 h 64"/>
                    <a:gd name="T4" fmla="*/ 6 w 111"/>
                    <a:gd name="T5" fmla="*/ 27 h 64"/>
                    <a:gd name="T6" fmla="*/ 3 w 111"/>
                    <a:gd name="T7" fmla="*/ 26 h 64"/>
                    <a:gd name="T8" fmla="*/ 3 w 111"/>
                    <a:gd name="T9" fmla="*/ 22 h 64"/>
                    <a:gd name="T10" fmla="*/ 3 w 111"/>
                    <a:gd name="T11" fmla="*/ 18 h 64"/>
                    <a:gd name="T12" fmla="*/ 0 w 111"/>
                    <a:gd name="T13" fmla="*/ 17 h 64"/>
                    <a:gd name="T14" fmla="*/ 4 w 111"/>
                    <a:gd name="T15" fmla="*/ 12 h 64"/>
                    <a:gd name="T16" fmla="*/ 15 w 111"/>
                    <a:gd name="T17" fmla="*/ 11 h 64"/>
                    <a:gd name="T18" fmla="*/ 16 w 111"/>
                    <a:gd name="T19" fmla="*/ 8 h 64"/>
                    <a:gd name="T20" fmla="*/ 20 w 111"/>
                    <a:gd name="T21" fmla="*/ 6 h 64"/>
                    <a:gd name="T22" fmla="*/ 25 w 111"/>
                    <a:gd name="T23" fmla="*/ 6 h 64"/>
                    <a:gd name="T24" fmla="*/ 30 w 111"/>
                    <a:gd name="T25" fmla="*/ 6 h 64"/>
                    <a:gd name="T26" fmla="*/ 32 w 111"/>
                    <a:gd name="T27" fmla="*/ 4 h 64"/>
                    <a:gd name="T28" fmla="*/ 41 w 111"/>
                    <a:gd name="T29" fmla="*/ 5 h 64"/>
                    <a:gd name="T30" fmla="*/ 47 w 111"/>
                    <a:gd name="T31" fmla="*/ 2 h 64"/>
                    <a:gd name="T32" fmla="*/ 57 w 111"/>
                    <a:gd name="T33" fmla="*/ 2 h 64"/>
                    <a:gd name="T34" fmla="*/ 75 w 111"/>
                    <a:gd name="T35" fmla="*/ 5 h 64"/>
                    <a:gd name="T36" fmla="*/ 85 w 111"/>
                    <a:gd name="T37" fmla="*/ 6 h 64"/>
                    <a:gd name="T38" fmla="*/ 97 w 111"/>
                    <a:gd name="T39" fmla="*/ 5 h 64"/>
                    <a:gd name="T40" fmla="*/ 108 w 111"/>
                    <a:gd name="T41" fmla="*/ 7 h 64"/>
                    <a:gd name="T42" fmla="*/ 107 w 111"/>
                    <a:gd name="T43" fmla="*/ 10 h 64"/>
                    <a:gd name="T44" fmla="*/ 103 w 111"/>
                    <a:gd name="T45" fmla="*/ 16 h 64"/>
                    <a:gd name="T46" fmla="*/ 98 w 111"/>
                    <a:gd name="T47" fmla="*/ 21 h 64"/>
                    <a:gd name="T48" fmla="*/ 95 w 111"/>
                    <a:gd name="T49" fmla="*/ 27 h 64"/>
                    <a:gd name="T50" fmla="*/ 98 w 111"/>
                    <a:gd name="T51" fmla="*/ 36 h 64"/>
                    <a:gd name="T52" fmla="*/ 98 w 111"/>
                    <a:gd name="T53" fmla="*/ 39 h 64"/>
                    <a:gd name="T54" fmla="*/ 97 w 111"/>
                    <a:gd name="T55" fmla="*/ 43 h 64"/>
                    <a:gd name="T56" fmla="*/ 102 w 111"/>
                    <a:gd name="T57" fmla="*/ 48 h 64"/>
                    <a:gd name="T58" fmla="*/ 105 w 111"/>
                    <a:gd name="T59" fmla="*/ 50 h 64"/>
                    <a:gd name="T60" fmla="*/ 107 w 111"/>
                    <a:gd name="T61" fmla="*/ 53 h 64"/>
                    <a:gd name="T62" fmla="*/ 100 w 111"/>
                    <a:gd name="T63" fmla="*/ 61 h 64"/>
                    <a:gd name="T64" fmla="*/ 94 w 111"/>
                    <a:gd name="T65" fmla="*/ 63 h 64"/>
                    <a:gd name="T66" fmla="*/ 86 w 111"/>
                    <a:gd name="T67" fmla="*/ 63 h 64"/>
                    <a:gd name="T68" fmla="*/ 81 w 111"/>
                    <a:gd name="T69" fmla="*/ 64 h 64"/>
                    <a:gd name="T70" fmla="*/ 73 w 111"/>
                    <a:gd name="T71" fmla="*/ 63 h 64"/>
                    <a:gd name="T72" fmla="*/ 63 w 111"/>
                    <a:gd name="T73" fmla="*/ 55 h 64"/>
                    <a:gd name="T74" fmla="*/ 53 w 111"/>
                    <a:gd name="T75" fmla="*/ 52 h 64"/>
                    <a:gd name="T76" fmla="*/ 46 w 111"/>
                    <a:gd name="T77" fmla="*/ 49 h 64"/>
                    <a:gd name="T78" fmla="*/ 38 w 111"/>
                    <a:gd name="T79" fmla="*/ 49 h 64"/>
                    <a:gd name="T80" fmla="*/ 28 w 111"/>
                    <a:gd name="T81" fmla="*/ 54 h 64"/>
                    <a:gd name="T82" fmla="*/ 25 w 111"/>
                    <a:gd name="T83" fmla="*/ 50 h 64"/>
                    <a:gd name="T84" fmla="*/ 26 w 111"/>
                    <a:gd name="T85" fmla="*/ 44 h 64"/>
                    <a:gd name="T86" fmla="*/ 27 w 111"/>
                    <a:gd name="T87" fmla="*/ 39 h 64"/>
                    <a:gd name="T88" fmla="*/ 25 w 111"/>
                    <a:gd name="T89" fmla="*/ 38 h 64"/>
                    <a:gd name="T90" fmla="*/ 21 w 111"/>
                    <a:gd name="T91" fmla="*/ 42 h 64"/>
                    <a:gd name="T92" fmla="*/ 15 w 111"/>
                    <a:gd name="T93" fmla="*/ 42 h 64"/>
                    <a:gd name="T94" fmla="*/ 6 w 111"/>
                    <a:gd name="T95" fmla="*/ 36 h 64"/>
                    <a:gd name="T96" fmla="*/ 3 w 111"/>
                    <a:gd name="T97" fmla="*/ 33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11" h="64">
                      <a:moveTo>
                        <a:pt x="3" y="33"/>
                      </a:moveTo>
                      <a:lnTo>
                        <a:pt x="3" y="29"/>
                      </a:lnTo>
                      <a:lnTo>
                        <a:pt x="5" y="28"/>
                      </a:lnTo>
                      <a:lnTo>
                        <a:pt x="7" y="27"/>
                      </a:lnTo>
                      <a:lnTo>
                        <a:pt x="11" y="27"/>
                      </a:lnTo>
                      <a:lnTo>
                        <a:pt x="6" y="27"/>
                      </a:lnTo>
                      <a:lnTo>
                        <a:pt x="4" y="27"/>
                      </a:lnTo>
                      <a:lnTo>
                        <a:pt x="3" y="26"/>
                      </a:lnTo>
                      <a:lnTo>
                        <a:pt x="1" y="24"/>
                      </a:lnTo>
                      <a:lnTo>
                        <a:pt x="3" y="22"/>
                      </a:lnTo>
                      <a:lnTo>
                        <a:pt x="3" y="21"/>
                      </a:lnTo>
                      <a:lnTo>
                        <a:pt x="3" y="18"/>
                      </a:lnTo>
                      <a:lnTo>
                        <a:pt x="0" y="20"/>
                      </a:lnTo>
                      <a:lnTo>
                        <a:pt x="0" y="17"/>
                      </a:lnTo>
                      <a:lnTo>
                        <a:pt x="1" y="13"/>
                      </a:lnTo>
                      <a:lnTo>
                        <a:pt x="4" y="12"/>
                      </a:lnTo>
                      <a:lnTo>
                        <a:pt x="7" y="11"/>
                      </a:lnTo>
                      <a:lnTo>
                        <a:pt x="15" y="11"/>
                      </a:lnTo>
                      <a:lnTo>
                        <a:pt x="12" y="7"/>
                      </a:lnTo>
                      <a:lnTo>
                        <a:pt x="16" y="8"/>
                      </a:lnTo>
                      <a:lnTo>
                        <a:pt x="17" y="7"/>
                      </a:lnTo>
                      <a:lnTo>
                        <a:pt x="20" y="6"/>
                      </a:lnTo>
                      <a:lnTo>
                        <a:pt x="22" y="5"/>
                      </a:lnTo>
                      <a:lnTo>
                        <a:pt x="25" y="6"/>
                      </a:lnTo>
                      <a:lnTo>
                        <a:pt x="27" y="6"/>
                      </a:lnTo>
                      <a:lnTo>
                        <a:pt x="30" y="6"/>
                      </a:lnTo>
                      <a:lnTo>
                        <a:pt x="30" y="4"/>
                      </a:lnTo>
                      <a:lnTo>
                        <a:pt x="32" y="4"/>
                      </a:lnTo>
                      <a:lnTo>
                        <a:pt x="34" y="4"/>
                      </a:lnTo>
                      <a:lnTo>
                        <a:pt x="41" y="5"/>
                      </a:lnTo>
                      <a:lnTo>
                        <a:pt x="46" y="4"/>
                      </a:lnTo>
                      <a:lnTo>
                        <a:pt x="47" y="2"/>
                      </a:lnTo>
                      <a:lnTo>
                        <a:pt x="46" y="0"/>
                      </a:lnTo>
                      <a:lnTo>
                        <a:pt x="57" y="2"/>
                      </a:lnTo>
                      <a:lnTo>
                        <a:pt x="66" y="2"/>
                      </a:lnTo>
                      <a:lnTo>
                        <a:pt x="75" y="5"/>
                      </a:lnTo>
                      <a:lnTo>
                        <a:pt x="82" y="6"/>
                      </a:lnTo>
                      <a:lnTo>
                        <a:pt x="85" y="6"/>
                      </a:lnTo>
                      <a:lnTo>
                        <a:pt x="89" y="6"/>
                      </a:lnTo>
                      <a:lnTo>
                        <a:pt x="97" y="5"/>
                      </a:lnTo>
                      <a:lnTo>
                        <a:pt x="106" y="6"/>
                      </a:lnTo>
                      <a:lnTo>
                        <a:pt x="108" y="7"/>
                      </a:lnTo>
                      <a:lnTo>
                        <a:pt x="111" y="8"/>
                      </a:lnTo>
                      <a:lnTo>
                        <a:pt x="107" y="10"/>
                      </a:lnTo>
                      <a:lnTo>
                        <a:pt x="105" y="11"/>
                      </a:lnTo>
                      <a:lnTo>
                        <a:pt x="103" y="16"/>
                      </a:lnTo>
                      <a:lnTo>
                        <a:pt x="101" y="18"/>
                      </a:lnTo>
                      <a:lnTo>
                        <a:pt x="98" y="21"/>
                      </a:lnTo>
                      <a:lnTo>
                        <a:pt x="96" y="23"/>
                      </a:lnTo>
                      <a:lnTo>
                        <a:pt x="95" y="27"/>
                      </a:lnTo>
                      <a:lnTo>
                        <a:pt x="96" y="31"/>
                      </a:lnTo>
                      <a:lnTo>
                        <a:pt x="98" y="36"/>
                      </a:lnTo>
                      <a:lnTo>
                        <a:pt x="98" y="37"/>
                      </a:lnTo>
                      <a:lnTo>
                        <a:pt x="98" y="39"/>
                      </a:lnTo>
                      <a:lnTo>
                        <a:pt x="97" y="40"/>
                      </a:lnTo>
                      <a:lnTo>
                        <a:pt x="97" y="43"/>
                      </a:lnTo>
                      <a:lnTo>
                        <a:pt x="100" y="45"/>
                      </a:lnTo>
                      <a:lnTo>
                        <a:pt x="102" y="48"/>
                      </a:lnTo>
                      <a:lnTo>
                        <a:pt x="103" y="49"/>
                      </a:lnTo>
                      <a:lnTo>
                        <a:pt x="105" y="50"/>
                      </a:lnTo>
                      <a:lnTo>
                        <a:pt x="105" y="52"/>
                      </a:lnTo>
                      <a:lnTo>
                        <a:pt x="107" y="53"/>
                      </a:lnTo>
                      <a:lnTo>
                        <a:pt x="101" y="59"/>
                      </a:lnTo>
                      <a:lnTo>
                        <a:pt x="100" y="61"/>
                      </a:lnTo>
                      <a:lnTo>
                        <a:pt x="100" y="64"/>
                      </a:lnTo>
                      <a:lnTo>
                        <a:pt x="94" y="63"/>
                      </a:lnTo>
                      <a:lnTo>
                        <a:pt x="89" y="61"/>
                      </a:lnTo>
                      <a:lnTo>
                        <a:pt x="86" y="63"/>
                      </a:lnTo>
                      <a:lnTo>
                        <a:pt x="84" y="63"/>
                      </a:lnTo>
                      <a:lnTo>
                        <a:pt x="81" y="64"/>
                      </a:lnTo>
                      <a:lnTo>
                        <a:pt x="79" y="64"/>
                      </a:lnTo>
                      <a:lnTo>
                        <a:pt x="73" y="63"/>
                      </a:lnTo>
                      <a:lnTo>
                        <a:pt x="68" y="59"/>
                      </a:lnTo>
                      <a:lnTo>
                        <a:pt x="63" y="55"/>
                      </a:lnTo>
                      <a:lnTo>
                        <a:pt x="58" y="53"/>
                      </a:lnTo>
                      <a:lnTo>
                        <a:pt x="53" y="52"/>
                      </a:lnTo>
                      <a:lnTo>
                        <a:pt x="49" y="50"/>
                      </a:lnTo>
                      <a:lnTo>
                        <a:pt x="46" y="49"/>
                      </a:lnTo>
                      <a:lnTo>
                        <a:pt x="42" y="48"/>
                      </a:lnTo>
                      <a:lnTo>
                        <a:pt x="38" y="49"/>
                      </a:lnTo>
                      <a:lnTo>
                        <a:pt x="33" y="52"/>
                      </a:lnTo>
                      <a:lnTo>
                        <a:pt x="28" y="54"/>
                      </a:lnTo>
                      <a:lnTo>
                        <a:pt x="23" y="54"/>
                      </a:lnTo>
                      <a:lnTo>
                        <a:pt x="25" y="50"/>
                      </a:lnTo>
                      <a:lnTo>
                        <a:pt x="25" y="47"/>
                      </a:lnTo>
                      <a:lnTo>
                        <a:pt x="26" y="44"/>
                      </a:lnTo>
                      <a:lnTo>
                        <a:pt x="27" y="42"/>
                      </a:lnTo>
                      <a:lnTo>
                        <a:pt x="27" y="39"/>
                      </a:lnTo>
                      <a:lnTo>
                        <a:pt x="26" y="38"/>
                      </a:lnTo>
                      <a:lnTo>
                        <a:pt x="25" y="38"/>
                      </a:lnTo>
                      <a:lnTo>
                        <a:pt x="22" y="39"/>
                      </a:lnTo>
                      <a:lnTo>
                        <a:pt x="21" y="42"/>
                      </a:lnTo>
                      <a:lnTo>
                        <a:pt x="19" y="43"/>
                      </a:lnTo>
                      <a:lnTo>
                        <a:pt x="15" y="42"/>
                      </a:lnTo>
                      <a:lnTo>
                        <a:pt x="12" y="39"/>
                      </a:lnTo>
                      <a:lnTo>
                        <a:pt x="6" y="36"/>
                      </a:lnTo>
                      <a:lnTo>
                        <a:pt x="5" y="33"/>
                      </a:lnTo>
                      <a:lnTo>
                        <a:pt x="3" y="33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6" name="Freeform 1425">
                  <a:extLst>
                    <a:ext uri="{FF2B5EF4-FFF2-40B4-BE49-F238E27FC236}">
                      <a16:creationId xmlns:a16="http://schemas.microsoft.com/office/drawing/2014/main" id="{269D2F9B-28CD-4D61-8BCC-3C4CE8FF75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63998" y="6222130"/>
                  <a:ext cx="107449" cy="106083"/>
                </a:xfrm>
                <a:custGeom>
                  <a:avLst/>
                  <a:gdLst>
                    <a:gd name="T0" fmla="*/ 3 w 96"/>
                    <a:gd name="T1" fmla="*/ 5 h 80"/>
                    <a:gd name="T2" fmla="*/ 12 w 96"/>
                    <a:gd name="T3" fmla="*/ 5 h 80"/>
                    <a:gd name="T4" fmla="*/ 22 w 96"/>
                    <a:gd name="T5" fmla="*/ 4 h 80"/>
                    <a:gd name="T6" fmla="*/ 39 w 96"/>
                    <a:gd name="T7" fmla="*/ 3 h 80"/>
                    <a:gd name="T8" fmla="*/ 43 w 96"/>
                    <a:gd name="T9" fmla="*/ 0 h 80"/>
                    <a:gd name="T10" fmla="*/ 48 w 96"/>
                    <a:gd name="T11" fmla="*/ 4 h 80"/>
                    <a:gd name="T12" fmla="*/ 48 w 96"/>
                    <a:gd name="T13" fmla="*/ 7 h 80"/>
                    <a:gd name="T14" fmla="*/ 49 w 96"/>
                    <a:gd name="T15" fmla="*/ 9 h 80"/>
                    <a:gd name="T16" fmla="*/ 57 w 96"/>
                    <a:gd name="T17" fmla="*/ 13 h 80"/>
                    <a:gd name="T18" fmla="*/ 57 w 96"/>
                    <a:gd name="T19" fmla="*/ 19 h 80"/>
                    <a:gd name="T20" fmla="*/ 56 w 96"/>
                    <a:gd name="T21" fmla="*/ 22 h 80"/>
                    <a:gd name="T22" fmla="*/ 62 w 96"/>
                    <a:gd name="T23" fmla="*/ 29 h 80"/>
                    <a:gd name="T24" fmla="*/ 71 w 96"/>
                    <a:gd name="T25" fmla="*/ 34 h 80"/>
                    <a:gd name="T26" fmla="*/ 73 w 96"/>
                    <a:gd name="T27" fmla="*/ 37 h 80"/>
                    <a:gd name="T28" fmla="*/ 71 w 96"/>
                    <a:gd name="T29" fmla="*/ 42 h 80"/>
                    <a:gd name="T30" fmla="*/ 65 w 96"/>
                    <a:gd name="T31" fmla="*/ 43 h 80"/>
                    <a:gd name="T32" fmla="*/ 75 w 96"/>
                    <a:gd name="T33" fmla="*/ 51 h 80"/>
                    <a:gd name="T34" fmla="*/ 82 w 96"/>
                    <a:gd name="T35" fmla="*/ 56 h 80"/>
                    <a:gd name="T36" fmla="*/ 86 w 96"/>
                    <a:gd name="T37" fmla="*/ 56 h 80"/>
                    <a:gd name="T38" fmla="*/ 91 w 96"/>
                    <a:gd name="T39" fmla="*/ 58 h 80"/>
                    <a:gd name="T40" fmla="*/ 89 w 96"/>
                    <a:gd name="T41" fmla="*/ 62 h 80"/>
                    <a:gd name="T42" fmla="*/ 93 w 96"/>
                    <a:gd name="T43" fmla="*/ 67 h 80"/>
                    <a:gd name="T44" fmla="*/ 93 w 96"/>
                    <a:gd name="T45" fmla="*/ 69 h 80"/>
                    <a:gd name="T46" fmla="*/ 94 w 96"/>
                    <a:gd name="T47" fmla="*/ 77 h 80"/>
                    <a:gd name="T48" fmla="*/ 93 w 96"/>
                    <a:gd name="T49" fmla="*/ 79 h 80"/>
                    <a:gd name="T50" fmla="*/ 87 w 96"/>
                    <a:gd name="T51" fmla="*/ 80 h 80"/>
                    <a:gd name="T52" fmla="*/ 81 w 96"/>
                    <a:gd name="T53" fmla="*/ 72 h 80"/>
                    <a:gd name="T54" fmla="*/ 75 w 96"/>
                    <a:gd name="T55" fmla="*/ 66 h 80"/>
                    <a:gd name="T56" fmla="*/ 73 w 96"/>
                    <a:gd name="T57" fmla="*/ 62 h 80"/>
                    <a:gd name="T58" fmla="*/ 71 w 96"/>
                    <a:gd name="T59" fmla="*/ 58 h 80"/>
                    <a:gd name="T60" fmla="*/ 64 w 96"/>
                    <a:gd name="T61" fmla="*/ 58 h 80"/>
                    <a:gd name="T62" fmla="*/ 60 w 96"/>
                    <a:gd name="T63" fmla="*/ 57 h 80"/>
                    <a:gd name="T64" fmla="*/ 55 w 96"/>
                    <a:gd name="T65" fmla="*/ 57 h 80"/>
                    <a:gd name="T66" fmla="*/ 51 w 96"/>
                    <a:gd name="T67" fmla="*/ 52 h 80"/>
                    <a:gd name="T68" fmla="*/ 44 w 96"/>
                    <a:gd name="T69" fmla="*/ 53 h 80"/>
                    <a:gd name="T70" fmla="*/ 36 w 96"/>
                    <a:gd name="T71" fmla="*/ 46 h 80"/>
                    <a:gd name="T72" fmla="*/ 28 w 96"/>
                    <a:gd name="T73" fmla="*/ 42 h 80"/>
                    <a:gd name="T74" fmla="*/ 12 w 96"/>
                    <a:gd name="T75" fmla="*/ 38 h 80"/>
                    <a:gd name="T76" fmla="*/ 11 w 96"/>
                    <a:gd name="T77" fmla="*/ 32 h 80"/>
                    <a:gd name="T78" fmla="*/ 9 w 96"/>
                    <a:gd name="T79" fmla="*/ 29 h 80"/>
                    <a:gd name="T80" fmla="*/ 11 w 96"/>
                    <a:gd name="T81" fmla="*/ 22 h 80"/>
                    <a:gd name="T82" fmla="*/ 7 w 96"/>
                    <a:gd name="T83" fmla="*/ 16 h 80"/>
                    <a:gd name="T84" fmla="*/ 0 w 96"/>
                    <a:gd name="T85" fmla="*/ 4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96" h="80">
                      <a:moveTo>
                        <a:pt x="0" y="5"/>
                      </a:moveTo>
                      <a:lnTo>
                        <a:pt x="3" y="5"/>
                      </a:lnTo>
                      <a:lnTo>
                        <a:pt x="7" y="5"/>
                      </a:lnTo>
                      <a:lnTo>
                        <a:pt x="12" y="5"/>
                      </a:lnTo>
                      <a:lnTo>
                        <a:pt x="17" y="5"/>
                      </a:lnTo>
                      <a:lnTo>
                        <a:pt x="22" y="4"/>
                      </a:lnTo>
                      <a:lnTo>
                        <a:pt x="28" y="3"/>
                      </a:lnTo>
                      <a:lnTo>
                        <a:pt x="39" y="3"/>
                      </a:lnTo>
                      <a:lnTo>
                        <a:pt x="40" y="2"/>
                      </a:lnTo>
                      <a:lnTo>
                        <a:pt x="43" y="0"/>
                      </a:lnTo>
                      <a:lnTo>
                        <a:pt x="44" y="2"/>
                      </a:lnTo>
                      <a:lnTo>
                        <a:pt x="48" y="4"/>
                      </a:lnTo>
                      <a:lnTo>
                        <a:pt x="48" y="7"/>
                      </a:lnTo>
                      <a:lnTo>
                        <a:pt x="48" y="7"/>
                      </a:lnTo>
                      <a:lnTo>
                        <a:pt x="45" y="7"/>
                      </a:lnTo>
                      <a:lnTo>
                        <a:pt x="49" y="9"/>
                      </a:lnTo>
                      <a:lnTo>
                        <a:pt x="54" y="10"/>
                      </a:lnTo>
                      <a:lnTo>
                        <a:pt x="57" y="13"/>
                      </a:lnTo>
                      <a:lnTo>
                        <a:pt x="60" y="18"/>
                      </a:lnTo>
                      <a:lnTo>
                        <a:pt x="57" y="19"/>
                      </a:lnTo>
                      <a:lnTo>
                        <a:pt x="56" y="20"/>
                      </a:lnTo>
                      <a:lnTo>
                        <a:pt x="56" y="22"/>
                      </a:lnTo>
                      <a:lnTo>
                        <a:pt x="57" y="25"/>
                      </a:lnTo>
                      <a:lnTo>
                        <a:pt x="62" y="29"/>
                      </a:lnTo>
                      <a:lnTo>
                        <a:pt x="66" y="31"/>
                      </a:lnTo>
                      <a:lnTo>
                        <a:pt x="71" y="34"/>
                      </a:lnTo>
                      <a:lnTo>
                        <a:pt x="72" y="35"/>
                      </a:lnTo>
                      <a:lnTo>
                        <a:pt x="73" y="37"/>
                      </a:lnTo>
                      <a:lnTo>
                        <a:pt x="73" y="40"/>
                      </a:lnTo>
                      <a:lnTo>
                        <a:pt x="71" y="42"/>
                      </a:lnTo>
                      <a:lnTo>
                        <a:pt x="67" y="42"/>
                      </a:lnTo>
                      <a:lnTo>
                        <a:pt x="65" y="43"/>
                      </a:lnTo>
                      <a:lnTo>
                        <a:pt x="68" y="46"/>
                      </a:lnTo>
                      <a:lnTo>
                        <a:pt x="75" y="51"/>
                      </a:lnTo>
                      <a:lnTo>
                        <a:pt x="80" y="54"/>
                      </a:lnTo>
                      <a:lnTo>
                        <a:pt x="82" y="56"/>
                      </a:lnTo>
                      <a:lnTo>
                        <a:pt x="83" y="56"/>
                      </a:lnTo>
                      <a:lnTo>
                        <a:pt x="86" y="56"/>
                      </a:lnTo>
                      <a:lnTo>
                        <a:pt x="89" y="57"/>
                      </a:lnTo>
                      <a:lnTo>
                        <a:pt x="91" y="58"/>
                      </a:lnTo>
                      <a:lnTo>
                        <a:pt x="91" y="59"/>
                      </a:lnTo>
                      <a:lnTo>
                        <a:pt x="89" y="62"/>
                      </a:lnTo>
                      <a:lnTo>
                        <a:pt x="91" y="64"/>
                      </a:lnTo>
                      <a:lnTo>
                        <a:pt x="93" y="67"/>
                      </a:lnTo>
                      <a:lnTo>
                        <a:pt x="96" y="68"/>
                      </a:lnTo>
                      <a:lnTo>
                        <a:pt x="93" y="69"/>
                      </a:lnTo>
                      <a:lnTo>
                        <a:pt x="93" y="73"/>
                      </a:lnTo>
                      <a:lnTo>
                        <a:pt x="94" y="77"/>
                      </a:lnTo>
                      <a:lnTo>
                        <a:pt x="96" y="79"/>
                      </a:lnTo>
                      <a:lnTo>
                        <a:pt x="93" y="79"/>
                      </a:lnTo>
                      <a:lnTo>
                        <a:pt x="89" y="80"/>
                      </a:lnTo>
                      <a:lnTo>
                        <a:pt x="87" y="80"/>
                      </a:lnTo>
                      <a:lnTo>
                        <a:pt x="84" y="80"/>
                      </a:lnTo>
                      <a:lnTo>
                        <a:pt x="81" y="72"/>
                      </a:lnTo>
                      <a:lnTo>
                        <a:pt x="78" y="68"/>
                      </a:lnTo>
                      <a:lnTo>
                        <a:pt x="75" y="66"/>
                      </a:lnTo>
                      <a:lnTo>
                        <a:pt x="73" y="63"/>
                      </a:lnTo>
                      <a:lnTo>
                        <a:pt x="73" y="62"/>
                      </a:lnTo>
                      <a:lnTo>
                        <a:pt x="73" y="59"/>
                      </a:lnTo>
                      <a:lnTo>
                        <a:pt x="71" y="58"/>
                      </a:lnTo>
                      <a:lnTo>
                        <a:pt x="68" y="58"/>
                      </a:lnTo>
                      <a:lnTo>
                        <a:pt x="64" y="58"/>
                      </a:lnTo>
                      <a:lnTo>
                        <a:pt x="61" y="58"/>
                      </a:lnTo>
                      <a:lnTo>
                        <a:pt x="60" y="57"/>
                      </a:lnTo>
                      <a:lnTo>
                        <a:pt x="57" y="57"/>
                      </a:lnTo>
                      <a:lnTo>
                        <a:pt x="55" y="57"/>
                      </a:lnTo>
                      <a:lnTo>
                        <a:pt x="54" y="53"/>
                      </a:lnTo>
                      <a:lnTo>
                        <a:pt x="51" y="52"/>
                      </a:lnTo>
                      <a:lnTo>
                        <a:pt x="46" y="52"/>
                      </a:lnTo>
                      <a:lnTo>
                        <a:pt x="44" y="53"/>
                      </a:lnTo>
                      <a:lnTo>
                        <a:pt x="40" y="50"/>
                      </a:lnTo>
                      <a:lnTo>
                        <a:pt x="36" y="46"/>
                      </a:lnTo>
                      <a:lnTo>
                        <a:pt x="33" y="43"/>
                      </a:lnTo>
                      <a:lnTo>
                        <a:pt x="28" y="42"/>
                      </a:lnTo>
                      <a:lnTo>
                        <a:pt x="19" y="42"/>
                      </a:lnTo>
                      <a:lnTo>
                        <a:pt x="12" y="38"/>
                      </a:lnTo>
                      <a:lnTo>
                        <a:pt x="12" y="36"/>
                      </a:lnTo>
                      <a:lnTo>
                        <a:pt x="11" y="32"/>
                      </a:lnTo>
                      <a:lnTo>
                        <a:pt x="11" y="30"/>
                      </a:lnTo>
                      <a:lnTo>
                        <a:pt x="9" y="29"/>
                      </a:lnTo>
                      <a:lnTo>
                        <a:pt x="11" y="25"/>
                      </a:lnTo>
                      <a:lnTo>
                        <a:pt x="11" y="22"/>
                      </a:lnTo>
                      <a:lnTo>
                        <a:pt x="11" y="20"/>
                      </a:lnTo>
                      <a:lnTo>
                        <a:pt x="7" y="16"/>
                      </a:lnTo>
                      <a:lnTo>
                        <a:pt x="3" y="11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7" name="Freeform 1435">
                  <a:extLst>
                    <a:ext uri="{FF2B5EF4-FFF2-40B4-BE49-F238E27FC236}">
                      <a16:creationId xmlns:a16="http://schemas.microsoft.com/office/drawing/2014/main" id="{BA81A45B-D0F4-49B4-A07A-88B85A288C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7039" y="6113396"/>
                  <a:ext cx="369356" cy="339466"/>
                </a:xfrm>
                <a:custGeom>
                  <a:avLst/>
                  <a:gdLst>
                    <a:gd name="T0" fmla="*/ 1 w 331"/>
                    <a:gd name="T1" fmla="*/ 21 h 256"/>
                    <a:gd name="T2" fmla="*/ 23 w 331"/>
                    <a:gd name="T3" fmla="*/ 14 h 256"/>
                    <a:gd name="T4" fmla="*/ 26 w 331"/>
                    <a:gd name="T5" fmla="*/ 11 h 256"/>
                    <a:gd name="T6" fmla="*/ 42 w 331"/>
                    <a:gd name="T7" fmla="*/ 0 h 256"/>
                    <a:gd name="T8" fmla="*/ 59 w 331"/>
                    <a:gd name="T9" fmla="*/ 10 h 256"/>
                    <a:gd name="T10" fmla="*/ 91 w 331"/>
                    <a:gd name="T11" fmla="*/ 6 h 256"/>
                    <a:gd name="T12" fmla="*/ 151 w 331"/>
                    <a:gd name="T13" fmla="*/ 10 h 256"/>
                    <a:gd name="T14" fmla="*/ 177 w 331"/>
                    <a:gd name="T15" fmla="*/ 14 h 256"/>
                    <a:gd name="T16" fmla="*/ 201 w 331"/>
                    <a:gd name="T17" fmla="*/ 16 h 256"/>
                    <a:gd name="T18" fmla="*/ 208 w 331"/>
                    <a:gd name="T19" fmla="*/ 25 h 256"/>
                    <a:gd name="T20" fmla="*/ 229 w 331"/>
                    <a:gd name="T21" fmla="*/ 31 h 256"/>
                    <a:gd name="T22" fmla="*/ 251 w 331"/>
                    <a:gd name="T23" fmla="*/ 35 h 256"/>
                    <a:gd name="T24" fmla="*/ 274 w 331"/>
                    <a:gd name="T25" fmla="*/ 35 h 256"/>
                    <a:gd name="T26" fmla="*/ 288 w 331"/>
                    <a:gd name="T27" fmla="*/ 41 h 256"/>
                    <a:gd name="T28" fmla="*/ 299 w 331"/>
                    <a:gd name="T29" fmla="*/ 46 h 256"/>
                    <a:gd name="T30" fmla="*/ 320 w 331"/>
                    <a:gd name="T31" fmla="*/ 43 h 256"/>
                    <a:gd name="T32" fmla="*/ 331 w 331"/>
                    <a:gd name="T33" fmla="*/ 48 h 256"/>
                    <a:gd name="T34" fmla="*/ 327 w 331"/>
                    <a:gd name="T35" fmla="*/ 60 h 256"/>
                    <a:gd name="T36" fmla="*/ 301 w 331"/>
                    <a:gd name="T37" fmla="*/ 78 h 256"/>
                    <a:gd name="T38" fmla="*/ 260 w 331"/>
                    <a:gd name="T39" fmla="*/ 97 h 256"/>
                    <a:gd name="T40" fmla="*/ 249 w 331"/>
                    <a:gd name="T41" fmla="*/ 113 h 256"/>
                    <a:gd name="T42" fmla="*/ 236 w 331"/>
                    <a:gd name="T43" fmla="*/ 158 h 256"/>
                    <a:gd name="T44" fmla="*/ 230 w 331"/>
                    <a:gd name="T45" fmla="*/ 175 h 256"/>
                    <a:gd name="T46" fmla="*/ 215 w 331"/>
                    <a:gd name="T47" fmla="*/ 201 h 256"/>
                    <a:gd name="T48" fmla="*/ 212 w 331"/>
                    <a:gd name="T49" fmla="*/ 204 h 256"/>
                    <a:gd name="T50" fmla="*/ 186 w 331"/>
                    <a:gd name="T51" fmla="*/ 218 h 256"/>
                    <a:gd name="T52" fmla="*/ 171 w 331"/>
                    <a:gd name="T53" fmla="*/ 228 h 256"/>
                    <a:gd name="T54" fmla="*/ 150 w 331"/>
                    <a:gd name="T55" fmla="*/ 231 h 256"/>
                    <a:gd name="T56" fmla="*/ 107 w 331"/>
                    <a:gd name="T57" fmla="*/ 239 h 256"/>
                    <a:gd name="T58" fmla="*/ 90 w 331"/>
                    <a:gd name="T59" fmla="*/ 250 h 256"/>
                    <a:gd name="T60" fmla="*/ 79 w 331"/>
                    <a:gd name="T61" fmla="*/ 255 h 256"/>
                    <a:gd name="T62" fmla="*/ 65 w 331"/>
                    <a:gd name="T63" fmla="*/ 242 h 256"/>
                    <a:gd name="T64" fmla="*/ 60 w 331"/>
                    <a:gd name="T65" fmla="*/ 231 h 256"/>
                    <a:gd name="T66" fmla="*/ 59 w 331"/>
                    <a:gd name="T67" fmla="*/ 225 h 256"/>
                    <a:gd name="T68" fmla="*/ 47 w 331"/>
                    <a:gd name="T69" fmla="*/ 214 h 256"/>
                    <a:gd name="T70" fmla="*/ 33 w 331"/>
                    <a:gd name="T71" fmla="*/ 210 h 256"/>
                    <a:gd name="T72" fmla="*/ 41 w 331"/>
                    <a:gd name="T73" fmla="*/ 190 h 256"/>
                    <a:gd name="T74" fmla="*/ 43 w 331"/>
                    <a:gd name="T75" fmla="*/ 180 h 256"/>
                    <a:gd name="T76" fmla="*/ 49 w 331"/>
                    <a:gd name="T77" fmla="*/ 156 h 256"/>
                    <a:gd name="T78" fmla="*/ 41 w 331"/>
                    <a:gd name="T79" fmla="*/ 140 h 256"/>
                    <a:gd name="T80" fmla="*/ 49 w 331"/>
                    <a:gd name="T81" fmla="*/ 134 h 256"/>
                    <a:gd name="T82" fmla="*/ 54 w 331"/>
                    <a:gd name="T83" fmla="*/ 116 h 256"/>
                    <a:gd name="T84" fmla="*/ 58 w 331"/>
                    <a:gd name="T85" fmla="*/ 105 h 256"/>
                    <a:gd name="T86" fmla="*/ 65 w 331"/>
                    <a:gd name="T87" fmla="*/ 83 h 256"/>
                    <a:gd name="T88" fmla="*/ 71 w 331"/>
                    <a:gd name="T89" fmla="*/ 69 h 256"/>
                    <a:gd name="T90" fmla="*/ 67 w 331"/>
                    <a:gd name="T91" fmla="*/ 60 h 256"/>
                    <a:gd name="T92" fmla="*/ 47 w 331"/>
                    <a:gd name="T93" fmla="*/ 64 h 256"/>
                    <a:gd name="T94" fmla="*/ 25 w 331"/>
                    <a:gd name="T95" fmla="*/ 65 h 256"/>
                    <a:gd name="T96" fmla="*/ 21 w 331"/>
                    <a:gd name="T97" fmla="*/ 56 h 256"/>
                    <a:gd name="T98" fmla="*/ 12 w 331"/>
                    <a:gd name="T99" fmla="*/ 51 h 256"/>
                    <a:gd name="T100" fmla="*/ 10 w 331"/>
                    <a:gd name="T101" fmla="*/ 46 h 256"/>
                    <a:gd name="T102" fmla="*/ 12 w 331"/>
                    <a:gd name="T103" fmla="*/ 36 h 256"/>
                    <a:gd name="T104" fmla="*/ 9 w 331"/>
                    <a:gd name="T105" fmla="*/ 32 h 2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331" h="256">
                      <a:moveTo>
                        <a:pt x="1" y="31"/>
                      </a:moveTo>
                      <a:lnTo>
                        <a:pt x="3" y="29"/>
                      </a:lnTo>
                      <a:lnTo>
                        <a:pt x="0" y="29"/>
                      </a:lnTo>
                      <a:lnTo>
                        <a:pt x="0" y="27"/>
                      </a:lnTo>
                      <a:lnTo>
                        <a:pt x="0" y="24"/>
                      </a:lnTo>
                      <a:lnTo>
                        <a:pt x="1" y="21"/>
                      </a:lnTo>
                      <a:lnTo>
                        <a:pt x="3" y="21"/>
                      </a:lnTo>
                      <a:lnTo>
                        <a:pt x="5" y="20"/>
                      </a:lnTo>
                      <a:lnTo>
                        <a:pt x="8" y="19"/>
                      </a:lnTo>
                      <a:lnTo>
                        <a:pt x="11" y="15"/>
                      </a:lnTo>
                      <a:lnTo>
                        <a:pt x="17" y="15"/>
                      </a:lnTo>
                      <a:lnTo>
                        <a:pt x="23" y="14"/>
                      </a:lnTo>
                      <a:lnTo>
                        <a:pt x="30" y="13"/>
                      </a:lnTo>
                      <a:lnTo>
                        <a:pt x="27" y="13"/>
                      </a:lnTo>
                      <a:lnTo>
                        <a:pt x="26" y="11"/>
                      </a:lnTo>
                      <a:lnTo>
                        <a:pt x="27" y="11"/>
                      </a:lnTo>
                      <a:lnTo>
                        <a:pt x="30" y="10"/>
                      </a:lnTo>
                      <a:lnTo>
                        <a:pt x="26" y="11"/>
                      </a:lnTo>
                      <a:lnTo>
                        <a:pt x="27" y="8"/>
                      </a:lnTo>
                      <a:lnTo>
                        <a:pt x="31" y="4"/>
                      </a:lnTo>
                      <a:lnTo>
                        <a:pt x="35" y="3"/>
                      </a:lnTo>
                      <a:lnTo>
                        <a:pt x="37" y="3"/>
                      </a:lnTo>
                      <a:lnTo>
                        <a:pt x="37" y="4"/>
                      </a:lnTo>
                      <a:lnTo>
                        <a:pt x="42" y="0"/>
                      </a:lnTo>
                      <a:lnTo>
                        <a:pt x="43" y="3"/>
                      </a:lnTo>
                      <a:lnTo>
                        <a:pt x="46" y="3"/>
                      </a:lnTo>
                      <a:lnTo>
                        <a:pt x="51" y="4"/>
                      </a:lnTo>
                      <a:lnTo>
                        <a:pt x="57" y="6"/>
                      </a:lnTo>
                      <a:lnTo>
                        <a:pt x="58" y="8"/>
                      </a:lnTo>
                      <a:lnTo>
                        <a:pt x="59" y="10"/>
                      </a:lnTo>
                      <a:lnTo>
                        <a:pt x="64" y="6"/>
                      </a:lnTo>
                      <a:lnTo>
                        <a:pt x="71" y="6"/>
                      </a:lnTo>
                      <a:lnTo>
                        <a:pt x="79" y="8"/>
                      </a:lnTo>
                      <a:lnTo>
                        <a:pt x="85" y="8"/>
                      </a:lnTo>
                      <a:lnTo>
                        <a:pt x="89" y="6"/>
                      </a:lnTo>
                      <a:lnTo>
                        <a:pt x="91" y="6"/>
                      </a:lnTo>
                      <a:lnTo>
                        <a:pt x="94" y="6"/>
                      </a:lnTo>
                      <a:lnTo>
                        <a:pt x="99" y="8"/>
                      </a:lnTo>
                      <a:lnTo>
                        <a:pt x="117" y="11"/>
                      </a:lnTo>
                      <a:lnTo>
                        <a:pt x="130" y="13"/>
                      </a:lnTo>
                      <a:lnTo>
                        <a:pt x="143" y="10"/>
                      </a:lnTo>
                      <a:lnTo>
                        <a:pt x="151" y="10"/>
                      </a:lnTo>
                      <a:lnTo>
                        <a:pt x="159" y="13"/>
                      </a:lnTo>
                      <a:lnTo>
                        <a:pt x="162" y="15"/>
                      </a:lnTo>
                      <a:lnTo>
                        <a:pt x="165" y="14"/>
                      </a:lnTo>
                      <a:lnTo>
                        <a:pt x="166" y="13"/>
                      </a:lnTo>
                      <a:lnTo>
                        <a:pt x="170" y="13"/>
                      </a:lnTo>
                      <a:lnTo>
                        <a:pt x="177" y="14"/>
                      </a:lnTo>
                      <a:lnTo>
                        <a:pt x="185" y="15"/>
                      </a:lnTo>
                      <a:lnTo>
                        <a:pt x="188" y="15"/>
                      </a:lnTo>
                      <a:lnTo>
                        <a:pt x="192" y="15"/>
                      </a:lnTo>
                      <a:lnTo>
                        <a:pt x="196" y="14"/>
                      </a:lnTo>
                      <a:lnTo>
                        <a:pt x="198" y="15"/>
                      </a:lnTo>
                      <a:lnTo>
                        <a:pt x="201" y="16"/>
                      </a:lnTo>
                      <a:lnTo>
                        <a:pt x="204" y="16"/>
                      </a:lnTo>
                      <a:lnTo>
                        <a:pt x="207" y="17"/>
                      </a:lnTo>
                      <a:lnTo>
                        <a:pt x="208" y="20"/>
                      </a:lnTo>
                      <a:lnTo>
                        <a:pt x="207" y="21"/>
                      </a:lnTo>
                      <a:lnTo>
                        <a:pt x="207" y="24"/>
                      </a:lnTo>
                      <a:lnTo>
                        <a:pt x="208" y="25"/>
                      </a:lnTo>
                      <a:lnTo>
                        <a:pt x="209" y="25"/>
                      </a:lnTo>
                      <a:lnTo>
                        <a:pt x="209" y="24"/>
                      </a:lnTo>
                      <a:lnTo>
                        <a:pt x="210" y="24"/>
                      </a:lnTo>
                      <a:lnTo>
                        <a:pt x="217" y="25"/>
                      </a:lnTo>
                      <a:lnTo>
                        <a:pt x="223" y="27"/>
                      </a:lnTo>
                      <a:lnTo>
                        <a:pt x="229" y="31"/>
                      </a:lnTo>
                      <a:lnTo>
                        <a:pt x="233" y="32"/>
                      </a:lnTo>
                      <a:lnTo>
                        <a:pt x="235" y="32"/>
                      </a:lnTo>
                      <a:lnTo>
                        <a:pt x="237" y="32"/>
                      </a:lnTo>
                      <a:lnTo>
                        <a:pt x="240" y="35"/>
                      </a:lnTo>
                      <a:lnTo>
                        <a:pt x="242" y="36"/>
                      </a:lnTo>
                      <a:lnTo>
                        <a:pt x="251" y="35"/>
                      </a:lnTo>
                      <a:lnTo>
                        <a:pt x="261" y="36"/>
                      </a:lnTo>
                      <a:lnTo>
                        <a:pt x="261" y="33"/>
                      </a:lnTo>
                      <a:lnTo>
                        <a:pt x="262" y="31"/>
                      </a:lnTo>
                      <a:lnTo>
                        <a:pt x="267" y="31"/>
                      </a:lnTo>
                      <a:lnTo>
                        <a:pt x="271" y="32"/>
                      </a:lnTo>
                      <a:lnTo>
                        <a:pt x="274" y="35"/>
                      </a:lnTo>
                      <a:lnTo>
                        <a:pt x="278" y="35"/>
                      </a:lnTo>
                      <a:lnTo>
                        <a:pt x="281" y="36"/>
                      </a:lnTo>
                      <a:lnTo>
                        <a:pt x="282" y="40"/>
                      </a:lnTo>
                      <a:lnTo>
                        <a:pt x="282" y="44"/>
                      </a:lnTo>
                      <a:lnTo>
                        <a:pt x="287" y="43"/>
                      </a:lnTo>
                      <a:lnTo>
                        <a:pt x="288" y="41"/>
                      </a:lnTo>
                      <a:lnTo>
                        <a:pt x="289" y="41"/>
                      </a:lnTo>
                      <a:lnTo>
                        <a:pt x="289" y="42"/>
                      </a:lnTo>
                      <a:lnTo>
                        <a:pt x="290" y="43"/>
                      </a:lnTo>
                      <a:lnTo>
                        <a:pt x="294" y="44"/>
                      </a:lnTo>
                      <a:lnTo>
                        <a:pt x="297" y="46"/>
                      </a:lnTo>
                      <a:lnTo>
                        <a:pt x="299" y="46"/>
                      </a:lnTo>
                      <a:lnTo>
                        <a:pt x="301" y="44"/>
                      </a:lnTo>
                      <a:lnTo>
                        <a:pt x="304" y="44"/>
                      </a:lnTo>
                      <a:lnTo>
                        <a:pt x="310" y="47"/>
                      </a:lnTo>
                      <a:lnTo>
                        <a:pt x="314" y="47"/>
                      </a:lnTo>
                      <a:lnTo>
                        <a:pt x="316" y="46"/>
                      </a:lnTo>
                      <a:lnTo>
                        <a:pt x="320" y="43"/>
                      </a:lnTo>
                      <a:lnTo>
                        <a:pt x="324" y="43"/>
                      </a:lnTo>
                      <a:lnTo>
                        <a:pt x="327" y="44"/>
                      </a:lnTo>
                      <a:lnTo>
                        <a:pt x="328" y="44"/>
                      </a:lnTo>
                      <a:lnTo>
                        <a:pt x="328" y="46"/>
                      </a:lnTo>
                      <a:lnTo>
                        <a:pt x="328" y="47"/>
                      </a:lnTo>
                      <a:lnTo>
                        <a:pt x="331" y="48"/>
                      </a:lnTo>
                      <a:lnTo>
                        <a:pt x="330" y="49"/>
                      </a:lnTo>
                      <a:lnTo>
                        <a:pt x="330" y="51"/>
                      </a:lnTo>
                      <a:lnTo>
                        <a:pt x="327" y="51"/>
                      </a:lnTo>
                      <a:lnTo>
                        <a:pt x="326" y="53"/>
                      </a:lnTo>
                      <a:lnTo>
                        <a:pt x="326" y="56"/>
                      </a:lnTo>
                      <a:lnTo>
                        <a:pt x="327" y="60"/>
                      </a:lnTo>
                      <a:lnTo>
                        <a:pt x="326" y="63"/>
                      </a:lnTo>
                      <a:lnTo>
                        <a:pt x="324" y="65"/>
                      </a:lnTo>
                      <a:lnTo>
                        <a:pt x="319" y="69"/>
                      </a:lnTo>
                      <a:lnTo>
                        <a:pt x="311" y="73"/>
                      </a:lnTo>
                      <a:lnTo>
                        <a:pt x="306" y="75"/>
                      </a:lnTo>
                      <a:lnTo>
                        <a:pt x="301" y="78"/>
                      </a:lnTo>
                      <a:lnTo>
                        <a:pt x="298" y="81"/>
                      </a:lnTo>
                      <a:lnTo>
                        <a:pt x="292" y="84"/>
                      </a:lnTo>
                      <a:lnTo>
                        <a:pt x="284" y="85"/>
                      </a:lnTo>
                      <a:lnTo>
                        <a:pt x="277" y="86"/>
                      </a:lnTo>
                      <a:lnTo>
                        <a:pt x="271" y="90"/>
                      </a:lnTo>
                      <a:lnTo>
                        <a:pt x="260" y="97"/>
                      </a:lnTo>
                      <a:lnTo>
                        <a:pt x="262" y="100"/>
                      </a:lnTo>
                      <a:lnTo>
                        <a:pt x="262" y="102"/>
                      </a:lnTo>
                      <a:lnTo>
                        <a:pt x="258" y="103"/>
                      </a:lnTo>
                      <a:lnTo>
                        <a:pt x="256" y="106"/>
                      </a:lnTo>
                      <a:lnTo>
                        <a:pt x="251" y="110"/>
                      </a:lnTo>
                      <a:lnTo>
                        <a:pt x="249" y="113"/>
                      </a:lnTo>
                      <a:lnTo>
                        <a:pt x="246" y="118"/>
                      </a:lnTo>
                      <a:lnTo>
                        <a:pt x="241" y="122"/>
                      </a:lnTo>
                      <a:lnTo>
                        <a:pt x="235" y="129"/>
                      </a:lnTo>
                      <a:lnTo>
                        <a:pt x="231" y="139"/>
                      </a:lnTo>
                      <a:lnTo>
                        <a:pt x="231" y="149"/>
                      </a:lnTo>
                      <a:lnTo>
                        <a:pt x="236" y="158"/>
                      </a:lnTo>
                      <a:lnTo>
                        <a:pt x="240" y="161"/>
                      </a:lnTo>
                      <a:lnTo>
                        <a:pt x="242" y="165"/>
                      </a:lnTo>
                      <a:lnTo>
                        <a:pt x="241" y="167"/>
                      </a:lnTo>
                      <a:lnTo>
                        <a:pt x="240" y="169"/>
                      </a:lnTo>
                      <a:lnTo>
                        <a:pt x="236" y="171"/>
                      </a:lnTo>
                      <a:lnTo>
                        <a:pt x="230" y="175"/>
                      </a:lnTo>
                      <a:lnTo>
                        <a:pt x="224" y="180"/>
                      </a:lnTo>
                      <a:lnTo>
                        <a:pt x="220" y="185"/>
                      </a:lnTo>
                      <a:lnTo>
                        <a:pt x="218" y="191"/>
                      </a:lnTo>
                      <a:lnTo>
                        <a:pt x="215" y="194"/>
                      </a:lnTo>
                      <a:lnTo>
                        <a:pt x="215" y="198"/>
                      </a:lnTo>
                      <a:lnTo>
                        <a:pt x="215" y="201"/>
                      </a:lnTo>
                      <a:lnTo>
                        <a:pt x="217" y="202"/>
                      </a:lnTo>
                      <a:lnTo>
                        <a:pt x="217" y="201"/>
                      </a:lnTo>
                      <a:lnTo>
                        <a:pt x="217" y="198"/>
                      </a:lnTo>
                      <a:lnTo>
                        <a:pt x="217" y="201"/>
                      </a:lnTo>
                      <a:lnTo>
                        <a:pt x="217" y="202"/>
                      </a:lnTo>
                      <a:lnTo>
                        <a:pt x="212" y="204"/>
                      </a:lnTo>
                      <a:lnTo>
                        <a:pt x="207" y="204"/>
                      </a:lnTo>
                      <a:lnTo>
                        <a:pt x="203" y="204"/>
                      </a:lnTo>
                      <a:lnTo>
                        <a:pt x="198" y="207"/>
                      </a:lnTo>
                      <a:lnTo>
                        <a:pt x="192" y="209"/>
                      </a:lnTo>
                      <a:lnTo>
                        <a:pt x="188" y="214"/>
                      </a:lnTo>
                      <a:lnTo>
                        <a:pt x="186" y="218"/>
                      </a:lnTo>
                      <a:lnTo>
                        <a:pt x="185" y="223"/>
                      </a:lnTo>
                      <a:lnTo>
                        <a:pt x="181" y="228"/>
                      </a:lnTo>
                      <a:lnTo>
                        <a:pt x="177" y="230"/>
                      </a:lnTo>
                      <a:lnTo>
                        <a:pt x="176" y="230"/>
                      </a:lnTo>
                      <a:lnTo>
                        <a:pt x="174" y="229"/>
                      </a:lnTo>
                      <a:lnTo>
                        <a:pt x="171" y="228"/>
                      </a:lnTo>
                      <a:lnTo>
                        <a:pt x="169" y="229"/>
                      </a:lnTo>
                      <a:lnTo>
                        <a:pt x="164" y="231"/>
                      </a:lnTo>
                      <a:lnTo>
                        <a:pt x="161" y="231"/>
                      </a:lnTo>
                      <a:lnTo>
                        <a:pt x="158" y="231"/>
                      </a:lnTo>
                      <a:lnTo>
                        <a:pt x="154" y="231"/>
                      </a:lnTo>
                      <a:lnTo>
                        <a:pt x="150" y="231"/>
                      </a:lnTo>
                      <a:lnTo>
                        <a:pt x="135" y="233"/>
                      </a:lnTo>
                      <a:lnTo>
                        <a:pt x="121" y="231"/>
                      </a:lnTo>
                      <a:lnTo>
                        <a:pt x="117" y="233"/>
                      </a:lnTo>
                      <a:lnTo>
                        <a:pt x="115" y="233"/>
                      </a:lnTo>
                      <a:lnTo>
                        <a:pt x="111" y="236"/>
                      </a:lnTo>
                      <a:lnTo>
                        <a:pt x="107" y="239"/>
                      </a:lnTo>
                      <a:lnTo>
                        <a:pt x="103" y="240"/>
                      </a:lnTo>
                      <a:lnTo>
                        <a:pt x="99" y="240"/>
                      </a:lnTo>
                      <a:lnTo>
                        <a:pt x="95" y="241"/>
                      </a:lnTo>
                      <a:lnTo>
                        <a:pt x="94" y="244"/>
                      </a:lnTo>
                      <a:lnTo>
                        <a:pt x="91" y="247"/>
                      </a:lnTo>
                      <a:lnTo>
                        <a:pt x="90" y="250"/>
                      </a:lnTo>
                      <a:lnTo>
                        <a:pt x="87" y="251"/>
                      </a:lnTo>
                      <a:lnTo>
                        <a:pt x="86" y="252"/>
                      </a:lnTo>
                      <a:lnTo>
                        <a:pt x="85" y="253"/>
                      </a:lnTo>
                      <a:lnTo>
                        <a:pt x="84" y="255"/>
                      </a:lnTo>
                      <a:lnTo>
                        <a:pt x="81" y="256"/>
                      </a:lnTo>
                      <a:lnTo>
                        <a:pt x="79" y="255"/>
                      </a:lnTo>
                      <a:lnTo>
                        <a:pt x="76" y="252"/>
                      </a:lnTo>
                      <a:lnTo>
                        <a:pt x="74" y="251"/>
                      </a:lnTo>
                      <a:lnTo>
                        <a:pt x="71" y="250"/>
                      </a:lnTo>
                      <a:lnTo>
                        <a:pt x="69" y="249"/>
                      </a:lnTo>
                      <a:lnTo>
                        <a:pt x="67" y="246"/>
                      </a:lnTo>
                      <a:lnTo>
                        <a:pt x="65" y="242"/>
                      </a:lnTo>
                      <a:lnTo>
                        <a:pt x="64" y="240"/>
                      </a:lnTo>
                      <a:lnTo>
                        <a:pt x="67" y="239"/>
                      </a:lnTo>
                      <a:lnTo>
                        <a:pt x="65" y="237"/>
                      </a:lnTo>
                      <a:lnTo>
                        <a:pt x="63" y="235"/>
                      </a:lnTo>
                      <a:lnTo>
                        <a:pt x="62" y="234"/>
                      </a:lnTo>
                      <a:lnTo>
                        <a:pt x="60" y="231"/>
                      </a:lnTo>
                      <a:lnTo>
                        <a:pt x="60" y="229"/>
                      </a:lnTo>
                      <a:lnTo>
                        <a:pt x="63" y="228"/>
                      </a:lnTo>
                      <a:lnTo>
                        <a:pt x="65" y="226"/>
                      </a:lnTo>
                      <a:lnTo>
                        <a:pt x="63" y="226"/>
                      </a:lnTo>
                      <a:lnTo>
                        <a:pt x="62" y="229"/>
                      </a:lnTo>
                      <a:lnTo>
                        <a:pt x="59" y="225"/>
                      </a:lnTo>
                      <a:lnTo>
                        <a:pt x="54" y="222"/>
                      </a:lnTo>
                      <a:lnTo>
                        <a:pt x="49" y="217"/>
                      </a:lnTo>
                      <a:lnTo>
                        <a:pt x="48" y="215"/>
                      </a:lnTo>
                      <a:lnTo>
                        <a:pt x="49" y="213"/>
                      </a:lnTo>
                      <a:lnTo>
                        <a:pt x="47" y="214"/>
                      </a:lnTo>
                      <a:lnTo>
                        <a:pt x="47" y="214"/>
                      </a:lnTo>
                      <a:lnTo>
                        <a:pt x="46" y="215"/>
                      </a:lnTo>
                      <a:lnTo>
                        <a:pt x="43" y="215"/>
                      </a:lnTo>
                      <a:lnTo>
                        <a:pt x="39" y="217"/>
                      </a:lnTo>
                      <a:lnTo>
                        <a:pt x="36" y="215"/>
                      </a:lnTo>
                      <a:lnTo>
                        <a:pt x="33" y="214"/>
                      </a:lnTo>
                      <a:lnTo>
                        <a:pt x="33" y="210"/>
                      </a:lnTo>
                      <a:lnTo>
                        <a:pt x="32" y="206"/>
                      </a:lnTo>
                      <a:lnTo>
                        <a:pt x="33" y="203"/>
                      </a:lnTo>
                      <a:lnTo>
                        <a:pt x="35" y="199"/>
                      </a:lnTo>
                      <a:lnTo>
                        <a:pt x="37" y="197"/>
                      </a:lnTo>
                      <a:lnTo>
                        <a:pt x="39" y="193"/>
                      </a:lnTo>
                      <a:lnTo>
                        <a:pt x="41" y="190"/>
                      </a:lnTo>
                      <a:lnTo>
                        <a:pt x="43" y="188"/>
                      </a:lnTo>
                      <a:lnTo>
                        <a:pt x="46" y="187"/>
                      </a:lnTo>
                      <a:lnTo>
                        <a:pt x="47" y="186"/>
                      </a:lnTo>
                      <a:lnTo>
                        <a:pt x="49" y="182"/>
                      </a:lnTo>
                      <a:lnTo>
                        <a:pt x="46" y="182"/>
                      </a:lnTo>
                      <a:lnTo>
                        <a:pt x="43" y="180"/>
                      </a:lnTo>
                      <a:lnTo>
                        <a:pt x="41" y="177"/>
                      </a:lnTo>
                      <a:lnTo>
                        <a:pt x="39" y="174"/>
                      </a:lnTo>
                      <a:lnTo>
                        <a:pt x="41" y="169"/>
                      </a:lnTo>
                      <a:lnTo>
                        <a:pt x="43" y="165"/>
                      </a:lnTo>
                      <a:lnTo>
                        <a:pt x="47" y="161"/>
                      </a:lnTo>
                      <a:lnTo>
                        <a:pt x="49" y="156"/>
                      </a:lnTo>
                      <a:lnTo>
                        <a:pt x="49" y="154"/>
                      </a:lnTo>
                      <a:lnTo>
                        <a:pt x="47" y="151"/>
                      </a:lnTo>
                      <a:lnTo>
                        <a:pt x="44" y="149"/>
                      </a:lnTo>
                      <a:lnTo>
                        <a:pt x="43" y="147"/>
                      </a:lnTo>
                      <a:lnTo>
                        <a:pt x="42" y="143"/>
                      </a:lnTo>
                      <a:lnTo>
                        <a:pt x="41" y="140"/>
                      </a:lnTo>
                      <a:lnTo>
                        <a:pt x="38" y="138"/>
                      </a:lnTo>
                      <a:lnTo>
                        <a:pt x="36" y="134"/>
                      </a:lnTo>
                      <a:lnTo>
                        <a:pt x="42" y="135"/>
                      </a:lnTo>
                      <a:lnTo>
                        <a:pt x="47" y="135"/>
                      </a:lnTo>
                      <a:lnTo>
                        <a:pt x="49" y="134"/>
                      </a:lnTo>
                      <a:lnTo>
                        <a:pt x="49" y="134"/>
                      </a:lnTo>
                      <a:lnTo>
                        <a:pt x="51" y="131"/>
                      </a:lnTo>
                      <a:lnTo>
                        <a:pt x="53" y="127"/>
                      </a:lnTo>
                      <a:lnTo>
                        <a:pt x="54" y="124"/>
                      </a:lnTo>
                      <a:lnTo>
                        <a:pt x="52" y="118"/>
                      </a:lnTo>
                      <a:lnTo>
                        <a:pt x="53" y="117"/>
                      </a:lnTo>
                      <a:lnTo>
                        <a:pt x="54" y="116"/>
                      </a:lnTo>
                      <a:lnTo>
                        <a:pt x="55" y="115"/>
                      </a:lnTo>
                      <a:lnTo>
                        <a:pt x="57" y="115"/>
                      </a:lnTo>
                      <a:lnTo>
                        <a:pt x="58" y="112"/>
                      </a:lnTo>
                      <a:lnTo>
                        <a:pt x="58" y="108"/>
                      </a:lnTo>
                      <a:lnTo>
                        <a:pt x="58" y="107"/>
                      </a:lnTo>
                      <a:lnTo>
                        <a:pt x="58" y="105"/>
                      </a:lnTo>
                      <a:lnTo>
                        <a:pt x="58" y="99"/>
                      </a:lnTo>
                      <a:lnTo>
                        <a:pt x="58" y="92"/>
                      </a:lnTo>
                      <a:lnTo>
                        <a:pt x="57" y="91"/>
                      </a:lnTo>
                      <a:lnTo>
                        <a:pt x="57" y="90"/>
                      </a:lnTo>
                      <a:lnTo>
                        <a:pt x="62" y="88"/>
                      </a:lnTo>
                      <a:lnTo>
                        <a:pt x="65" y="83"/>
                      </a:lnTo>
                      <a:lnTo>
                        <a:pt x="69" y="81"/>
                      </a:lnTo>
                      <a:lnTo>
                        <a:pt x="73" y="78"/>
                      </a:lnTo>
                      <a:lnTo>
                        <a:pt x="75" y="74"/>
                      </a:lnTo>
                      <a:lnTo>
                        <a:pt x="76" y="72"/>
                      </a:lnTo>
                      <a:lnTo>
                        <a:pt x="74" y="70"/>
                      </a:lnTo>
                      <a:lnTo>
                        <a:pt x="71" y="69"/>
                      </a:lnTo>
                      <a:lnTo>
                        <a:pt x="69" y="69"/>
                      </a:lnTo>
                      <a:lnTo>
                        <a:pt x="68" y="68"/>
                      </a:lnTo>
                      <a:lnTo>
                        <a:pt x="68" y="65"/>
                      </a:lnTo>
                      <a:lnTo>
                        <a:pt x="68" y="63"/>
                      </a:lnTo>
                      <a:lnTo>
                        <a:pt x="68" y="60"/>
                      </a:lnTo>
                      <a:lnTo>
                        <a:pt x="67" y="60"/>
                      </a:lnTo>
                      <a:lnTo>
                        <a:pt x="63" y="60"/>
                      </a:lnTo>
                      <a:lnTo>
                        <a:pt x="58" y="60"/>
                      </a:lnTo>
                      <a:lnTo>
                        <a:pt x="53" y="60"/>
                      </a:lnTo>
                      <a:lnTo>
                        <a:pt x="51" y="60"/>
                      </a:lnTo>
                      <a:lnTo>
                        <a:pt x="49" y="63"/>
                      </a:lnTo>
                      <a:lnTo>
                        <a:pt x="47" y="64"/>
                      </a:lnTo>
                      <a:lnTo>
                        <a:pt x="43" y="64"/>
                      </a:lnTo>
                      <a:lnTo>
                        <a:pt x="41" y="63"/>
                      </a:lnTo>
                      <a:lnTo>
                        <a:pt x="37" y="62"/>
                      </a:lnTo>
                      <a:lnTo>
                        <a:pt x="35" y="63"/>
                      </a:lnTo>
                      <a:lnTo>
                        <a:pt x="28" y="64"/>
                      </a:lnTo>
                      <a:lnTo>
                        <a:pt x="25" y="65"/>
                      </a:lnTo>
                      <a:lnTo>
                        <a:pt x="23" y="63"/>
                      </a:lnTo>
                      <a:lnTo>
                        <a:pt x="26" y="59"/>
                      </a:lnTo>
                      <a:lnTo>
                        <a:pt x="28" y="57"/>
                      </a:lnTo>
                      <a:lnTo>
                        <a:pt x="26" y="56"/>
                      </a:lnTo>
                      <a:lnTo>
                        <a:pt x="25" y="53"/>
                      </a:lnTo>
                      <a:lnTo>
                        <a:pt x="21" y="56"/>
                      </a:lnTo>
                      <a:lnTo>
                        <a:pt x="16" y="57"/>
                      </a:lnTo>
                      <a:lnTo>
                        <a:pt x="11" y="59"/>
                      </a:lnTo>
                      <a:lnTo>
                        <a:pt x="8" y="62"/>
                      </a:lnTo>
                      <a:lnTo>
                        <a:pt x="6" y="57"/>
                      </a:lnTo>
                      <a:lnTo>
                        <a:pt x="9" y="53"/>
                      </a:lnTo>
                      <a:lnTo>
                        <a:pt x="12" y="51"/>
                      </a:lnTo>
                      <a:lnTo>
                        <a:pt x="15" y="47"/>
                      </a:lnTo>
                      <a:lnTo>
                        <a:pt x="11" y="49"/>
                      </a:lnTo>
                      <a:lnTo>
                        <a:pt x="8" y="51"/>
                      </a:lnTo>
                      <a:lnTo>
                        <a:pt x="10" y="47"/>
                      </a:lnTo>
                      <a:lnTo>
                        <a:pt x="14" y="44"/>
                      </a:lnTo>
                      <a:lnTo>
                        <a:pt x="10" y="46"/>
                      </a:lnTo>
                      <a:lnTo>
                        <a:pt x="8" y="44"/>
                      </a:lnTo>
                      <a:lnTo>
                        <a:pt x="8" y="42"/>
                      </a:lnTo>
                      <a:lnTo>
                        <a:pt x="9" y="41"/>
                      </a:lnTo>
                      <a:lnTo>
                        <a:pt x="10" y="40"/>
                      </a:lnTo>
                      <a:lnTo>
                        <a:pt x="11" y="37"/>
                      </a:lnTo>
                      <a:lnTo>
                        <a:pt x="12" y="36"/>
                      </a:lnTo>
                      <a:lnTo>
                        <a:pt x="9" y="38"/>
                      </a:lnTo>
                      <a:lnTo>
                        <a:pt x="6" y="40"/>
                      </a:lnTo>
                      <a:lnTo>
                        <a:pt x="5" y="41"/>
                      </a:lnTo>
                      <a:lnTo>
                        <a:pt x="4" y="38"/>
                      </a:lnTo>
                      <a:lnTo>
                        <a:pt x="5" y="36"/>
                      </a:lnTo>
                      <a:lnTo>
                        <a:pt x="9" y="32"/>
                      </a:lnTo>
                      <a:lnTo>
                        <a:pt x="5" y="33"/>
                      </a:lnTo>
                      <a:lnTo>
                        <a:pt x="3" y="32"/>
                      </a:lnTo>
                      <a:lnTo>
                        <a:pt x="1" y="31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8" name="Freeform 1436">
                  <a:extLst>
                    <a:ext uri="{FF2B5EF4-FFF2-40B4-BE49-F238E27FC236}">
                      <a16:creationId xmlns:a16="http://schemas.microsoft.com/office/drawing/2014/main" id="{8DC09811-0AB8-443A-B7FC-B0A916A5E6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01477" y="6317604"/>
                  <a:ext cx="11193" cy="10609"/>
                </a:xfrm>
                <a:custGeom>
                  <a:avLst/>
                  <a:gdLst>
                    <a:gd name="T0" fmla="*/ 4 w 10"/>
                    <a:gd name="T1" fmla="*/ 9 h 9"/>
                    <a:gd name="T2" fmla="*/ 0 w 10"/>
                    <a:gd name="T3" fmla="*/ 7 h 9"/>
                    <a:gd name="T4" fmla="*/ 0 w 10"/>
                    <a:gd name="T5" fmla="*/ 5 h 9"/>
                    <a:gd name="T6" fmla="*/ 1 w 10"/>
                    <a:gd name="T7" fmla="*/ 2 h 9"/>
                    <a:gd name="T8" fmla="*/ 4 w 10"/>
                    <a:gd name="T9" fmla="*/ 0 h 9"/>
                    <a:gd name="T10" fmla="*/ 6 w 10"/>
                    <a:gd name="T11" fmla="*/ 0 h 9"/>
                    <a:gd name="T12" fmla="*/ 9 w 10"/>
                    <a:gd name="T13" fmla="*/ 0 h 9"/>
                    <a:gd name="T14" fmla="*/ 10 w 10"/>
                    <a:gd name="T15" fmla="*/ 2 h 9"/>
                    <a:gd name="T16" fmla="*/ 7 w 10"/>
                    <a:gd name="T17" fmla="*/ 5 h 9"/>
                    <a:gd name="T18" fmla="*/ 5 w 10"/>
                    <a:gd name="T19" fmla="*/ 6 h 9"/>
                    <a:gd name="T20" fmla="*/ 4 w 10"/>
                    <a:gd name="T21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0" h="9">
                      <a:moveTo>
                        <a:pt x="4" y="9"/>
                      </a:moveTo>
                      <a:lnTo>
                        <a:pt x="0" y="7"/>
                      </a:lnTo>
                      <a:lnTo>
                        <a:pt x="0" y="5"/>
                      </a:lnTo>
                      <a:lnTo>
                        <a:pt x="1" y="2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9" y="0"/>
                      </a:lnTo>
                      <a:lnTo>
                        <a:pt x="10" y="2"/>
                      </a:lnTo>
                      <a:lnTo>
                        <a:pt x="7" y="5"/>
                      </a:lnTo>
                      <a:lnTo>
                        <a:pt x="5" y="6"/>
                      </a:lnTo>
                      <a:lnTo>
                        <a:pt x="4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9" name="Freeform 1437">
                  <a:extLst>
                    <a:ext uri="{FF2B5EF4-FFF2-40B4-BE49-F238E27FC236}">
                      <a16:creationId xmlns:a16="http://schemas.microsoft.com/office/drawing/2014/main" id="{B77A2124-D7DC-4380-A9B8-DE2C2CDD22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05954" y="6333518"/>
                  <a:ext cx="2240" cy="2653"/>
                </a:xfrm>
                <a:custGeom>
                  <a:avLst/>
                  <a:gdLst>
                    <a:gd name="T0" fmla="*/ 0 w 2"/>
                    <a:gd name="T1" fmla="*/ 3 h 3"/>
                    <a:gd name="T2" fmla="*/ 0 w 2"/>
                    <a:gd name="T3" fmla="*/ 0 h 3"/>
                    <a:gd name="T4" fmla="*/ 2 w 2"/>
                    <a:gd name="T5" fmla="*/ 1 h 3"/>
                    <a:gd name="T6" fmla="*/ 0 w 2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3">
                      <a:moveTo>
                        <a:pt x="0" y="3"/>
                      </a:moveTo>
                      <a:lnTo>
                        <a:pt x="0" y="0"/>
                      </a:lnTo>
                      <a:lnTo>
                        <a:pt x="2" y="1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0" name="Freeform 1438">
                  <a:extLst>
                    <a:ext uri="{FF2B5EF4-FFF2-40B4-BE49-F238E27FC236}">
                      <a16:creationId xmlns:a16="http://schemas.microsoft.com/office/drawing/2014/main" id="{4D521C10-A90D-4D08-8B0C-F332394627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37293" y="6280476"/>
                  <a:ext cx="31340" cy="26521"/>
                </a:xfrm>
                <a:custGeom>
                  <a:avLst/>
                  <a:gdLst>
                    <a:gd name="T0" fmla="*/ 23 w 28"/>
                    <a:gd name="T1" fmla="*/ 17 h 21"/>
                    <a:gd name="T2" fmla="*/ 21 w 28"/>
                    <a:gd name="T3" fmla="*/ 19 h 21"/>
                    <a:gd name="T4" fmla="*/ 18 w 28"/>
                    <a:gd name="T5" fmla="*/ 21 h 21"/>
                    <a:gd name="T6" fmla="*/ 16 w 28"/>
                    <a:gd name="T7" fmla="*/ 19 h 21"/>
                    <a:gd name="T8" fmla="*/ 12 w 28"/>
                    <a:gd name="T9" fmla="*/ 19 h 21"/>
                    <a:gd name="T10" fmla="*/ 10 w 28"/>
                    <a:gd name="T11" fmla="*/ 17 h 21"/>
                    <a:gd name="T12" fmla="*/ 8 w 28"/>
                    <a:gd name="T13" fmla="*/ 14 h 21"/>
                    <a:gd name="T14" fmla="*/ 7 w 28"/>
                    <a:gd name="T15" fmla="*/ 13 h 21"/>
                    <a:gd name="T16" fmla="*/ 2 w 28"/>
                    <a:gd name="T17" fmla="*/ 14 h 21"/>
                    <a:gd name="T18" fmla="*/ 0 w 28"/>
                    <a:gd name="T19" fmla="*/ 14 h 21"/>
                    <a:gd name="T20" fmla="*/ 0 w 28"/>
                    <a:gd name="T21" fmla="*/ 12 h 21"/>
                    <a:gd name="T22" fmla="*/ 1 w 28"/>
                    <a:gd name="T23" fmla="*/ 9 h 21"/>
                    <a:gd name="T24" fmla="*/ 4 w 28"/>
                    <a:gd name="T25" fmla="*/ 7 h 21"/>
                    <a:gd name="T26" fmla="*/ 12 w 28"/>
                    <a:gd name="T27" fmla="*/ 2 h 21"/>
                    <a:gd name="T28" fmla="*/ 22 w 28"/>
                    <a:gd name="T29" fmla="*/ 0 h 21"/>
                    <a:gd name="T30" fmla="*/ 20 w 28"/>
                    <a:gd name="T31" fmla="*/ 2 h 21"/>
                    <a:gd name="T32" fmla="*/ 20 w 28"/>
                    <a:gd name="T33" fmla="*/ 3 h 21"/>
                    <a:gd name="T34" fmla="*/ 21 w 28"/>
                    <a:gd name="T35" fmla="*/ 6 h 21"/>
                    <a:gd name="T36" fmla="*/ 22 w 28"/>
                    <a:gd name="T37" fmla="*/ 6 h 21"/>
                    <a:gd name="T38" fmla="*/ 24 w 28"/>
                    <a:gd name="T39" fmla="*/ 6 h 21"/>
                    <a:gd name="T40" fmla="*/ 26 w 28"/>
                    <a:gd name="T41" fmla="*/ 6 h 21"/>
                    <a:gd name="T42" fmla="*/ 28 w 28"/>
                    <a:gd name="T43" fmla="*/ 6 h 21"/>
                    <a:gd name="T44" fmla="*/ 28 w 28"/>
                    <a:gd name="T45" fmla="*/ 8 h 21"/>
                    <a:gd name="T46" fmla="*/ 27 w 28"/>
                    <a:gd name="T47" fmla="*/ 12 h 21"/>
                    <a:gd name="T48" fmla="*/ 24 w 28"/>
                    <a:gd name="T49" fmla="*/ 14 h 21"/>
                    <a:gd name="T50" fmla="*/ 23 w 28"/>
                    <a:gd name="T51" fmla="*/ 17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28" h="21">
                      <a:moveTo>
                        <a:pt x="23" y="17"/>
                      </a:moveTo>
                      <a:lnTo>
                        <a:pt x="21" y="19"/>
                      </a:lnTo>
                      <a:lnTo>
                        <a:pt x="18" y="21"/>
                      </a:lnTo>
                      <a:lnTo>
                        <a:pt x="16" y="19"/>
                      </a:lnTo>
                      <a:lnTo>
                        <a:pt x="12" y="19"/>
                      </a:lnTo>
                      <a:lnTo>
                        <a:pt x="10" y="17"/>
                      </a:lnTo>
                      <a:lnTo>
                        <a:pt x="8" y="14"/>
                      </a:lnTo>
                      <a:lnTo>
                        <a:pt x="7" y="13"/>
                      </a:lnTo>
                      <a:lnTo>
                        <a:pt x="2" y="14"/>
                      </a:lnTo>
                      <a:lnTo>
                        <a:pt x="0" y="14"/>
                      </a:lnTo>
                      <a:lnTo>
                        <a:pt x="0" y="12"/>
                      </a:lnTo>
                      <a:lnTo>
                        <a:pt x="1" y="9"/>
                      </a:lnTo>
                      <a:lnTo>
                        <a:pt x="4" y="7"/>
                      </a:lnTo>
                      <a:lnTo>
                        <a:pt x="12" y="2"/>
                      </a:lnTo>
                      <a:lnTo>
                        <a:pt x="22" y="0"/>
                      </a:lnTo>
                      <a:lnTo>
                        <a:pt x="20" y="2"/>
                      </a:lnTo>
                      <a:lnTo>
                        <a:pt x="20" y="3"/>
                      </a:lnTo>
                      <a:lnTo>
                        <a:pt x="21" y="6"/>
                      </a:lnTo>
                      <a:lnTo>
                        <a:pt x="22" y="6"/>
                      </a:lnTo>
                      <a:lnTo>
                        <a:pt x="24" y="6"/>
                      </a:lnTo>
                      <a:lnTo>
                        <a:pt x="26" y="6"/>
                      </a:lnTo>
                      <a:lnTo>
                        <a:pt x="28" y="6"/>
                      </a:lnTo>
                      <a:lnTo>
                        <a:pt x="28" y="8"/>
                      </a:lnTo>
                      <a:lnTo>
                        <a:pt x="27" y="12"/>
                      </a:lnTo>
                      <a:lnTo>
                        <a:pt x="24" y="14"/>
                      </a:lnTo>
                      <a:lnTo>
                        <a:pt x="23" y="1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1" name="Freeform 1439">
                  <a:extLst>
                    <a:ext uri="{FF2B5EF4-FFF2-40B4-BE49-F238E27FC236}">
                      <a16:creationId xmlns:a16="http://schemas.microsoft.com/office/drawing/2014/main" id="{D43C2BAE-D98B-4A11-82A0-BC14E5071C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79826" y="6275172"/>
                  <a:ext cx="15670" cy="10609"/>
                </a:xfrm>
                <a:custGeom>
                  <a:avLst/>
                  <a:gdLst>
                    <a:gd name="T0" fmla="*/ 0 w 14"/>
                    <a:gd name="T1" fmla="*/ 2 h 7"/>
                    <a:gd name="T2" fmla="*/ 4 w 14"/>
                    <a:gd name="T3" fmla="*/ 0 h 7"/>
                    <a:gd name="T4" fmla="*/ 9 w 14"/>
                    <a:gd name="T5" fmla="*/ 1 h 7"/>
                    <a:gd name="T6" fmla="*/ 12 w 14"/>
                    <a:gd name="T7" fmla="*/ 4 h 7"/>
                    <a:gd name="T8" fmla="*/ 14 w 14"/>
                    <a:gd name="T9" fmla="*/ 7 h 7"/>
                    <a:gd name="T10" fmla="*/ 10 w 14"/>
                    <a:gd name="T11" fmla="*/ 7 h 7"/>
                    <a:gd name="T12" fmla="*/ 6 w 14"/>
                    <a:gd name="T13" fmla="*/ 6 h 7"/>
                    <a:gd name="T14" fmla="*/ 2 w 14"/>
                    <a:gd name="T15" fmla="*/ 5 h 7"/>
                    <a:gd name="T16" fmla="*/ 0 w 14"/>
                    <a:gd name="T17" fmla="*/ 2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4" h="7">
                      <a:moveTo>
                        <a:pt x="0" y="2"/>
                      </a:moveTo>
                      <a:lnTo>
                        <a:pt x="4" y="0"/>
                      </a:lnTo>
                      <a:lnTo>
                        <a:pt x="9" y="1"/>
                      </a:lnTo>
                      <a:lnTo>
                        <a:pt x="12" y="4"/>
                      </a:lnTo>
                      <a:lnTo>
                        <a:pt x="14" y="7"/>
                      </a:lnTo>
                      <a:lnTo>
                        <a:pt x="10" y="7"/>
                      </a:lnTo>
                      <a:lnTo>
                        <a:pt x="6" y="6"/>
                      </a:lnTo>
                      <a:lnTo>
                        <a:pt x="2" y="5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2" name="Freeform 1442">
                  <a:extLst>
                    <a:ext uri="{FF2B5EF4-FFF2-40B4-BE49-F238E27FC236}">
                      <a16:creationId xmlns:a16="http://schemas.microsoft.com/office/drawing/2014/main" id="{7F84466D-C988-47B0-9387-AB31CC06C3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42464" y="5909185"/>
                  <a:ext cx="192512" cy="119344"/>
                </a:xfrm>
                <a:custGeom>
                  <a:avLst/>
                  <a:gdLst>
                    <a:gd name="T0" fmla="*/ 5 w 174"/>
                    <a:gd name="T1" fmla="*/ 52 h 91"/>
                    <a:gd name="T2" fmla="*/ 9 w 174"/>
                    <a:gd name="T3" fmla="*/ 46 h 91"/>
                    <a:gd name="T4" fmla="*/ 13 w 174"/>
                    <a:gd name="T5" fmla="*/ 37 h 91"/>
                    <a:gd name="T6" fmla="*/ 15 w 174"/>
                    <a:gd name="T7" fmla="*/ 31 h 91"/>
                    <a:gd name="T8" fmla="*/ 10 w 174"/>
                    <a:gd name="T9" fmla="*/ 30 h 91"/>
                    <a:gd name="T10" fmla="*/ 13 w 174"/>
                    <a:gd name="T11" fmla="*/ 29 h 91"/>
                    <a:gd name="T12" fmla="*/ 18 w 174"/>
                    <a:gd name="T13" fmla="*/ 30 h 91"/>
                    <a:gd name="T14" fmla="*/ 23 w 174"/>
                    <a:gd name="T15" fmla="*/ 29 h 91"/>
                    <a:gd name="T16" fmla="*/ 27 w 174"/>
                    <a:gd name="T17" fmla="*/ 19 h 91"/>
                    <a:gd name="T18" fmla="*/ 35 w 174"/>
                    <a:gd name="T19" fmla="*/ 22 h 91"/>
                    <a:gd name="T20" fmla="*/ 52 w 174"/>
                    <a:gd name="T21" fmla="*/ 27 h 91"/>
                    <a:gd name="T22" fmla="*/ 71 w 174"/>
                    <a:gd name="T23" fmla="*/ 25 h 91"/>
                    <a:gd name="T24" fmla="*/ 68 w 174"/>
                    <a:gd name="T25" fmla="*/ 22 h 91"/>
                    <a:gd name="T26" fmla="*/ 74 w 174"/>
                    <a:gd name="T27" fmla="*/ 19 h 91"/>
                    <a:gd name="T28" fmla="*/ 80 w 174"/>
                    <a:gd name="T29" fmla="*/ 19 h 91"/>
                    <a:gd name="T30" fmla="*/ 85 w 174"/>
                    <a:gd name="T31" fmla="*/ 16 h 91"/>
                    <a:gd name="T32" fmla="*/ 88 w 174"/>
                    <a:gd name="T33" fmla="*/ 11 h 91"/>
                    <a:gd name="T34" fmla="*/ 94 w 174"/>
                    <a:gd name="T35" fmla="*/ 14 h 91"/>
                    <a:gd name="T36" fmla="*/ 101 w 174"/>
                    <a:gd name="T37" fmla="*/ 15 h 91"/>
                    <a:gd name="T38" fmla="*/ 109 w 174"/>
                    <a:gd name="T39" fmla="*/ 11 h 91"/>
                    <a:gd name="T40" fmla="*/ 111 w 174"/>
                    <a:gd name="T41" fmla="*/ 6 h 91"/>
                    <a:gd name="T42" fmla="*/ 114 w 174"/>
                    <a:gd name="T43" fmla="*/ 2 h 91"/>
                    <a:gd name="T44" fmla="*/ 122 w 174"/>
                    <a:gd name="T45" fmla="*/ 2 h 91"/>
                    <a:gd name="T46" fmla="*/ 133 w 174"/>
                    <a:gd name="T47" fmla="*/ 2 h 91"/>
                    <a:gd name="T48" fmla="*/ 139 w 174"/>
                    <a:gd name="T49" fmla="*/ 4 h 91"/>
                    <a:gd name="T50" fmla="*/ 150 w 174"/>
                    <a:gd name="T51" fmla="*/ 6 h 91"/>
                    <a:gd name="T52" fmla="*/ 160 w 174"/>
                    <a:gd name="T53" fmla="*/ 9 h 91"/>
                    <a:gd name="T54" fmla="*/ 170 w 174"/>
                    <a:gd name="T55" fmla="*/ 16 h 91"/>
                    <a:gd name="T56" fmla="*/ 174 w 174"/>
                    <a:gd name="T57" fmla="*/ 19 h 91"/>
                    <a:gd name="T58" fmla="*/ 173 w 174"/>
                    <a:gd name="T59" fmla="*/ 24 h 91"/>
                    <a:gd name="T60" fmla="*/ 168 w 174"/>
                    <a:gd name="T61" fmla="*/ 26 h 91"/>
                    <a:gd name="T62" fmla="*/ 162 w 174"/>
                    <a:gd name="T63" fmla="*/ 27 h 91"/>
                    <a:gd name="T64" fmla="*/ 154 w 174"/>
                    <a:gd name="T65" fmla="*/ 34 h 91"/>
                    <a:gd name="T66" fmla="*/ 152 w 174"/>
                    <a:gd name="T67" fmla="*/ 38 h 91"/>
                    <a:gd name="T68" fmla="*/ 148 w 174"/>
                    <a:gd name="T69" fmla="*/ 47 h 91"/>
                    <a:gd name="T70" fmla="*/ 138 w 174"/>
                    <a:gd name="T71" fmla="*/ 63 h 91"/>
                    <a:gd name="T72" fmla="*/ 134 w 174"/>
                    <a:gd name="T73" fmla="*/ 72 h 91"/>
                    <a:gd name="T74" fmla="*/ 130 w 174"/>
                    <a:gd name="T75" fmla="*/ 75 h 91"/>
                    <a:gd name="T76" fmla="*/ 123 w 174"/>
                    <a:gd name="T77" fmla="*/ 75 h 91"/>
                    <a:gd name="T78" fmla="*/ 120 w 174"/>
                    <a:gd name="T79" fmla="*/ 79 h 91"/>
                    <a:gd name="T80" fmla="*/ 116 w 174"/>
                    <a:gd name="T81" fmla="*/ 79 h 91"/>
                    <a:gd name="T82" fmla="*/ 106 w 174"/>
                    <a:gd name="T83" fmla="*/ 79 h 91"/>
                    <a:gd name="T84" fmla="*/ 95 w 174"/>
                    <a:gd name="T85" fmla="*/ 78 h 91"/>
                    <a:gd name="T86" fmla="*/ 90 w 174"/>
                    <a:gd name="T87" fmla="*/ 79 h 91"/>
                    <a:gd name="T88" fmla="*/ 82 w 174"/>
                    <a:gd name="T89" fmla="*/ 84 h 91"/>
                    <a:gd name="T90" fmla="*/ 71 w 174"/>
                    <a:gd name="T91" fmla="*/ 86 h 91"/>
                    <a:gd name="T92" fmla="*/ 62 w 174"/>
                    <a:gd name="T93" fmla="*/ 91 h 91"/>
                    <a:gd name="T94" fmla="*/ 45 w 174"/>
                    <a:gd name="T95" fmla="*/ 90 h 91"/>
                    <a:gd name="T96" fmla="*/ 36 w 174"/>
                    <a:gd name="T97" fmla="*/ 85 h 91"/>
                    <a:gd name="T98" fmla="*/ 31 w 174"/>
                    <a:gd name="T99" fmla="*/ 81 h 91"/>
                    <a:gd name="T100" fmla="*/ 20 w 174"/>
                    <a:gd name="T101" fmla="*/ 73 h 91"/>
                    <a:gd name="T102" fmla="*/ 10 w 174"/>
                    <a:gd name="T103" fmla="*/ 63 h 91"/>
                    <a:gd name="T104" fmla="*/ 4 w 174"/>
                    <a:gd name="T105" fmla="*/ 56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74" h="91">
                      <a:moveTo>
                        <a:pt x="0" y="56"/>
                      </a:moveTo>
                      <a:lnTo>
                        <a:pt x="5" y="52"/>
                      </a:lnTo>
                      <a:lnTo>
                        <a:pt x="10" y="52"/>
                      </a:lnTo>
                      <a:lnTo>
                        <a:pt x="9" y="46"/>
                      </a:lnTo>
                      <a:lnTo>
                        <a:pt x="10" y="40"/>
                      </a:lnTo>
                      <a:lnTo>
                        <a:pt x="13" y="37"/>
                      </a:lnTo>
                      <a:lnTo>
                        <a:pt x="15" y="34"/>
                      </a:lnTo>
                      <a:lnTo>
                        <a:pt x="15" y="31"/>
                      </a:lnTo>
                      <a:lnTo>
                        <a:pt x="13" y="30"/>
                      </a:lnTo>
                      <a:lnTo>
                        <a:pt x="10" y="30"/>
                      </a:lnTo>
                      <a:lnTo>
                        <a:pt x="11" y="29"/>
                      </a:lnTo>
                      <a:lnTo>
                        <a:pt x="13" y="29"/>
                      </a:lnTo>
                      <a:lnTo>
                        <a:pt x="15" y="29"/>
                      </a:lnTo>
                      <a:lnTo>
                        <a:pt x="18" y="30"/>
                      </a:lnTo>
                      <a:lnTo>
                        <a:pt x="20" y="30"/>
                      </a:lnTo>
                      <a:lnTo>
                        <a:pt x="23" y="29"/>
                      </a:lnTo>
                      <a:lnTo>
                        <a:pt x="25" y="22"/>
                      </a:lnTo>
                      <a:lnTo>
                        <a:pt x="27" y="19"/>
                      </a:lnTo>
                      <a:lnTo>
                        <a:pt x="31" y="19"/>
                      </a:lnTo>
                      <a:lnTo>
                        <a:pt x="35" y="22"/>
                      </a:lnTo>
                      <a:lnTo>
                        <a:pt x="43" y="26"/>
                      </a:lnTo>
                      <a:lnTo>
                        <a:pt x="52" y="27"/>
                      </a:lnTo>
                      <a:lnTo>
                        <a:pt x="61" y="26"/>
                      </a:lnTo>
                      <a:lnTo>
                        <a:pt x="71" y="25"/>
                      </a:lnTo>
                      <a:lnTo>
                        <a:pt x="68" y="24"/>
                      </a:lnTo>
                      <a:lnTo>
                        <a:pt x="68" y="22"/>
                      </a:lnTo>
                      <a:lnTo>
                        <a:pt x="69" y="20"/>
                      </a:lnTo>
                      <a:lnTo>
                        <a:pt x="74" y="19"/>
                      </a:lnTo>
                      <a:lnTo>
                        <a:pt x="78" y="19"/>
                      </a:lnTo>
                      <a:lnTo>
                        <a:pt x="80" y="19"/>
                      </a:lnTo>
                      <a:lnTo>
                        <a:pt x="83" y="18"/>
                      </a:lnTo>
                      <a:lnTo>
                        <a:pt x="85" y="16"/>
                      </a:lnTo>
                      <a:lnTo>
                        <a:pt x="87" y="14"/>
                      </a:lnTo>
                      <a:lnTo>
                        <a:pt x="88" y="11"/>
                      </a:lnTo>
                      <a:lnTo>
                        <a:pt x="89" y="13"/>
                      </a:lnTo>
                      <a:lnTo>
                        <a:pt x="94" y="14"/>
                      </a:lnTo>
                      <a:lnTo>
                        <a:pt x="98" y="15"/>
                      </a:lnTo>
                      <a:lnTo>
                        <a:pt x="101" y="15"/>
                      </a:lnTo>
                      <a:lnTo>
                        <a:pt x="106" y="14"/>
                      </a:lnTo>
                      <a:lnTo>
                        <a:pt x="109" y="11"/>
                      </a:lnTo>
                      <a:lnTo>
                        <a:pt x="110" y="9"/>
                      </a:lnTo>
                      <a:lnTo>
                        <a:pt x="111" y="6"/>
                      </a:lnTo>
                      <a:lnTo>
                        <a:pt x="111" y="3"/>
                      </a:lnTo>
                      <a:lnTo>
                        <a:pt x="114" y="2"/>
                      </a:lnTo>
                      <a:lnTo>
                        <a:pt x="117" y="0"/>
                      </a:lnTo>
                      <a:lnTo>
                        <a:pt x="122" y="2"/>
                      </a:lnTo>
                      <a:lnTo>
                        <a:pt x="131" y="3"/>
                      </a:lnTo>
                      <a:lnTo>
                        <a:pt x="133" y="2"/>
                      </a:lnTo>
                      <a:lnTo>
                        <a:pt x="136" y="2"/>
                      </a:lnTo>
                      <a:lnTo>
                        <a:pt x="139" y="4"/>
                      </a:lnTo>
                      <a:lnTo>
                        <a:pt x="144" y="8"/>
                      </a:lnTo>
                      <a:lnTo>
                        <a:pt x="150" y="6"/>
                      </a:lnTo>
                      <a:lnTo>
                        <a:pt x="155" y="6"/>
                      </a:lnTo>
                      <a:lnTo>
                        <a:pt x="160" y="9"/>
                      </a:lnTo>
                      <a:lnTo>
                        <a:pt x="165" y="13"/>
                      </a:lnTo>
                      <a:lnTo>
                        <a:pt x="170" y="16"/>
                      </a:lnTo>
                      <a:lnTo>
                        <a:pt x="173" y="18"/>
                      </a:lnTo>
                      <a:lnTo>
                        <a:pt x="174" y="19"/>
                      </a:lnTo>
                      <a:lnTo>
                        <a:pt x="174" y="21"/>
                      </a:lnTo>
                      <a:lnTo>
                        <a:pt x="173" y="24"/>
                      </a:lnTo>
                      <a:lnTo>
                        <a:pt x="170" y="25"/>
                      </a:lnTo>
                      <a:lnTo>
                        <a:pt x="168" y="26"/>
                      </a:lnTo>
                      <a:lnTo>
                        <a:pt x="164" y="27"/>
                      </a:lnTo>
                      <a:lnTo>
                        <a:pt x="162" y="27"/>
                      </a:lnTo>
                      <a:lnTo>
                        <a:pt x="159" y="29"/>
                      </a:lnTo>
                      <a:lnTo>
                        <a:pt x="154" y="34"/>
                      </a:lnTo>
                      <a:lnTo>
                        <a:pt x="153" y="36"/>
                      </a:lnTo>
                      <a:lnTo>
                        <a:pt x="152" y="38"/>
                      </a:lnTo>
                      <a:lnTo>
                        <a:pt x="150" y="42"/>
                      </a:lnTo>
                      <a:lnTo>
                        <a:pt x="148" y="47"/>
                      </a:lnTo>
                      <a:lnTo>
                        <a:pt x="142" y="58"/>
                      </a:lnTo>
                      <a:lnTo>
                        <a:pt x="138" y="63"/>
                      </a:lnTo>
                      <a:lnTo>
                        <a:pt x="136" y="68"/>
                      </a:lnTo>
                      <a:lnTo>
                        <a:pt x="134" y="72"/>
                      </a:lnTo>
                      <a:lnTo>
                        <a:pt x="132" y="74"/>
                      </a:lnTo>
                      <a:lnTo>
                        <a:pt x="130" y="75"/>
                      </a:lnTo>
                      <a:lnTo>
                        <a:pt x="125" y="75"/>
                      </a:lnTo>
                      <a:lnTo>
                        <a:pt x="123" y="75"/>
                      </a:lnTo>
                      <a:lnTo>
                        <a:pt x="121" y="77"/>
                      </a:lnTo>
                      <a:lnTo>
                        <a:pt x="120" y="79"/>
                      </a:lnTo>
                      <a:lnTo>
                        <a:pt x="117" y="79"/>
                      </a:lnTo>
                      <a:lnTo>
                        <a:pt x="116" y="79"/>
                      </a:lnTo>
                      <a:lnTo>
                        <a:pt x="114" y="79"/>
                      </a:lnTo>
                      <a:lnTo>
                        <a:pt x="106" y="79"/>
                      </a:lnTo>
                      <a:lnTo>
                        <a:pt x="100" y="79"/>
                      </a:lnTo>
                      <a:lnTo>
                        <a:pt x="95" y="78"/>
                      </a:lnTo>
                      <a:lnTo>
                        <a:pt x="93" y="78"/>
                      </a:lnTo>
                      <a:lnTo>
                        <a:pt x="90" y="79"/>
                      </a:lnTo>
                      <a:lnTo>
                        <a:pt x="87" y="83"/>
                      </a:lnTo>
                      <a:lnTo>
                        <a:pt x="82" y="84"/>
                      </a:lnTo>
                      <a:lnTo>
                        <a:pt x="75" y="85"/>
                      </a:lnTo>
                      <a:lnTo>
                        <a:pt x="71" y="86"/>
                      </a:lnTo>
                      <a:lnTo>
                        <a:pt x="66" y="89"/>
                      </a:lnTo>
                      <a:lnTo>
                        <a:pt x="62" y="91"/>
                      </a:lnTo>
                      <a:lnTo>
                        <a:pt x="51" y="91"/>
                      </a:lnTo>
                      <a:lnTo>
                        <a:pt x="45" y="90"/>
                      </a:lnTo>
                      <a:lnTo>
                        <a:pt x="41" y="88"/>
                      </a:lnTo>
                      <a:lnTo>
                        <a:pt x="36" y="85"/>
                      </a:lnTo>
                      <a:lnTo>
                        <a:pt x="34" y="84"/>
                      </a:lnTo>
                      <a:lnTo>
                        <a:pt x="31" y="81"/>
                      </a:lnTo>
                      <a:lnTo>
                        <a:pt x="26" y="77"/>
                      </a:lnTo>
                      <a:lnTo>
                        <a:pt x="20" y="73"/>
                      </a:lnTo>
                      <a:lnTo>
                        <a:pt x="14" y="68"/>
                      </a:lnTo>
                      <a:lnTo>
                        <a:pt x="10" y="63"/>
                      </a:lnTo>
                      <a:lnTo>
                        <a:pt x="7" y="58"/>
                      </a:lnTo>
                      <a:lnTo>
                        <a:pt x="4" y="56"/>
                      </a:lnTo>
                      <a:lnTo>
                        <a:pt x="0" y="56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5" name="Freeform 1620">
                  <a:extLst>
                    <a:ext uri="{FF2B5EF4-FFF2-40B4-BE49-F238E27FC236}">
                      <a16:creationId xmlns:a16="http://schemas.microsoft.com/office/drawing/2014/main" id="{25FDA70C-70F4-434B-9CAE-6098AB5E04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88780" y="5773929"/>
                  <a:ext cx="11193" cy="5304"/>
                </a:xfrm>
                <a:custGeom>
                  <a:avLst/>
                  <a:gdLst>
                    <a:gd name="T0" fmla="*/ 3 w 9"/>
                    <a:gd name="T1" fmla="*/ 0 h 3"/>
                    <a:gd name="T2" fmla="*/ 0 w 9"/>
                    <a:gd name="T3" fmla="*/ 0 h 3"/>
                    <a:gd name="T4" fmla="*/ 5 w 9"/>
                    <a:gd name="T5" fmla="*/ 3 h 3"/>
                    <a:gd name="T6" fmla="*/ 7 w 9"/>
                    <a:gd name="T7" fmla="*/ 3 h 3"/>
                    <a:gd name="T8" fmla="*/ 9 w 9"/>
                    <a:gd name="T9" fmla="*/ 2 h 3"/>
                    <a:gd name="T10" fmla="*/ 7 w 9"/>
                    <a:gd name="T11" fmla="*/ 1 h 3"/>
                    <a:gd name="T12" fmla="*/ 3 w 9"/>
                    <a:gd name="T13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5" y="3"/>
                      </a:lnTo>
                      <a:lnTo>
                        <a:pt x="7" y="3"/>
                      </a:lnTo>
                      <a:lnTo>
                        <a:pt x="9" y="2"/>
                      </a:lnTo>
                      <a:lnTo>
                        <a:pt x="7" y="1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6" name="Freeform 1621">
                  <a:extLst>
                    <a:ext uri="{FF2B5EF4-FFF2-40B4-BE49-F238E27FC236}">
                      <a16:creationId xmlns:a16="http://schemas.microsoft.com/office/drawing/2014/main" id="{17AC478B-CD5C-4D64-B882-C339BD985A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95495" y="5771277"/>
                  <a:ext cx="11193" cy="5304"/>
                </a:xfrm>
                <a:custGeom>
                  <a:avLst/>
                  <a:gdLst>
                    <a:gd name="T0" fmla="*/ 0 w 11"/>
                    <a:gd name="T1" fmla="*/ 1 h 5"/>
                    <a:gd name="T2" fmla="*/ 2 w 11"/>
                    <a:gd name="T3" fmla="*/ 1 h 5"/>
                    <a:gd name="T4" fmla="*/ 4 w 11"/>
                    <a:gd name="T5" fmla="*/ 4 h 5"/>
                    <a:gd name="T6" fmla="*/ 8 w 11"/>
                    <a:gd name="T7" fmla="*/ 5 h 5"/>
                    <a:gd name="T8" fmla="*/ 11 w 11"/>
                    <a:gd name="T9" fmla="*/ 4 h 5"/>
                    <a:gd name="T10" fmla="*/ 8 w 11"/>
                    <a:gd name="T11" fmla="*/ 3 h 5"/>
                    <a:gd name="T12" fmla="*/ 6 w 11"/>
                    <a:gd name="T13" fmla="*/ 0 h 5"/>
                    <a:gd name="T14" fmla="*/ 2 w 11"/>
                    <a:gd name="T15" fmla="*/ 0 h 5"/>
                    <a:gd name="T16" fmla="*/ 0 w 11"/>
                    <a:gd name="T17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" h="5">
                      <a:moveTo>
                        <a:pt x="0" y="1"/>
                      </a:moveTo>
                      <a:lnTo>
                        <a:pt x="2" y="1"/>
                      </a:lnTo>
                      <a:lnTo>
                        <a:pt x="4" y="4"/>
                      </a:lnTo>
                      <a:lnTo>
                        <a:pt x="8" y="5"/>
                      </a:lnTo>
                      <a:lnTo>
                        <a:pt x="11" y="4"/>
                      </a:lnTo>
                      <a:lnTo>
                        <a:pt x="8" y="3"/>
                      </a:ln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7" name="Freeform 1622">
                  <a:extLst>
                    <a:ext uri="{FF2B5EF4-FFF2-40B4-BE49-F238E27FC236}">
                      <a16:creationId xmlns:a16="http://schemas.microsoft.com/office/drawing/2014/main" id="{27AE29D8-B298-4B50-ADA9-87B6B17436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20119" y="5715583"/>
                  <a:ext cx="4477" cy="7957"/>
                </a:xfrm>
                <a:custGeom>
                  <a:avLst/>
                  <a:gdLst>
                    <a:gd name="T0" fmla="*/ 0 w 2"/>
                    <a:gd name="T1" fmla="*/ 5 h 5"/>
                    <a:gd name="T2" fmla="*/ 2 w 2"/>
                    <a:gd name="T3" fmla="*/ 3 h 5"/>
                    <a:gd name="T4" fmla="*/ 2 w 2"/>
                    <a:gd name="T5" fmla="*/ 1 h 5"/>
                    <a:gd name="T6" fmla="*/ 1 w 2"/>
                    <a:gd name="T7" fmla="*/ 0 h 5"/>
                    <a:gd name="T8" fmla="*/ 0 w 2"/>
                    <a:gd name="T9" fmla="*/ 3 h 5"/>
                    <a:gd name="T10" fmla="*/ 0 w 2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5">
                      <a:moveTo>
                        <a:pt x="0" y="5"/>
                      </a:moveTo>
                      <a:lnTo>
                        <a:pt x="2" y="3"/>
                      </a:ln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0" y="3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8" name="Freeform 1623">
                  <a:extLst>
                    <a:ext uri="{FF2B5EF4-FFF2-40B4-BE49-F238E27FC236}">
                      <a16:creationId xmlns:a16="http://schemas.microsoft.com/office/drawing/2014/main" id="{5CB61ABB-7296-4A0A-ACCA-EF15D9548E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24596" y="5710279"/>
                  <a:ext cx="4477" cy="5304"/>
                </a:xfrm>
                <a:custGeom>
                  <a:avLst/>
                  <a:gdLst>
                    <a:gd name="T0" fmla="*/ 2 w 2"/>
                    <a:gd name="T1" fmla="*/ 0 h 2"/>
                    <a:gd name="T2" fmla="*/ 0 w 2"/>
                    <a:gd name="T3" fmla="*/ 2 h 2"/>
                    <a:gd name="T4" fmla="*/ 2 w 2"/>
                    <a:gd name="T5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9" name="Freeform 1624">
                  <a:extLst>
                    <a:ext uri="{FF2B5EF4-FFF2-40B4-BE49-F238E27FC236}">
                      <a16:creationId xmlns:a16="http://schemas.microsoft.com/office/drawing/2014/main" id="{A7C0DF47-2B40-4C24-BC93-BE4C91141C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3550" y="5704975"/>
                  <a:ext cx="8954" cy="2653"/>
                </a:xfrm>
                <a:custGeom>
                  <a:avLst/>
                  <a:gdLst>
                    <a:gd name="T0" fmla="*/ 0 w 9"/>
                    <a:gd name="T1" fmla="*/ 2 h 2"/>
                    <a:gd name="T2" fmla="*/ 4 w 9"/>
                    <a:gd name="T3" fmla="*/ 1 h 2"/>
                    <a:gd name="T4" fmla="*/ 9 w 9"/>
                    <a:gd name="T5" fmla="*/ 0 h 2"/>
                    <a:gd name="T6" fmla="*/ 4 w 9"/>
                    <a:gd name="T7" fmla="*/ 0 h 2"/>
                    <a:gd name="T8" fmla="*/ 0 w 9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2">
                      <a:moveTo>
                        <a:pt x="0" y="2"/>
                      </a:moveTo>
                      <a:lnTo>
                        <a:pt x="4" y="1"/>
                      </a:lnTo>
                      <a:lnTo>
                        <a:pt x="9" y="0"/>
                      </a:lnTo>
                      <a:lnTo>
                        <a:pt x="4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0" name="Freeform 1625">
                  <a:extLst>
                    <a:ext uri="{FF2B5EF4-FFF2-40B4-BE49-F238E27FC236}">
                      <a16:creationId xmlns:a16="http://schemas.microsoft.com/office/drawing/2014/main" id="{EDA0DE6C-D876-4A9F-81D3-3D86DFA292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6981" y="5702324"/>
                  <a:ext cx="6716" cy="2653"/>
                </a:xfrm>
                <a:custGeom>
                  <a:avLst/>
                  <a:gdLst>
                    <a:gd name="T0" fmla="*/ 0 w 5"/>
                    <a:gd name="T1" fmla="*/ 2 h 2"/>
                    <a:gd name="T2" fmla="*/ 5 w 5"/>
                    <a:gd name="T3" fmla="*/ 0 h 2"/>
                    <a:gd name="T4" fmla="*/ 3 w 5"/>
                    <a:gd name="T5" fmla="*/ 0 h 2"/>
                    <a:gd name="T6" fmla="*/ 0 w 5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2">
                      <a:moveTo>
                        <a:pt x="0" y="2"/>
                      </a:moveTo>
                      <a:lnTo>
                        <a:pt x="5" y="0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1" name="Freeform 1626">
                  <a:extLst>
                    <a:ext uri="{FF2B5EF4-FFF2-40B4-BE49-F238E27FC236}">
                      <a16:creationId xmlns:a16="http://schemas.microsoft.com/office/drawing/2014/main" id="{6BD6A4AE-6A35-40BC-AF3B-D7D26B6933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79826" y="5789841"/>
                  <a:ext cx="24625" cy="7957"/>
                </a:xfrm>
                <a:custGeom>
                  <a:avLst/>
                  <a:gdLst>
                    <a:gd name="T0" fmla="*/ 0 w 22"/>
                    <a:gd name="T1" fmla="*/ 2 h 6"/>
                    <a:gd name="T2" fmla="*/ 1 w 22"/>
                    <a:gd name="T3" fmla="*/ 1 h 6"/>
                    <a:gd name="T4" fmla="*/ 4 w 22"/>
                    <a:gd name="T5" fmla="*/ 0 h 6"/>
                    <a:gd name="T6" fmla="*/ 10 w 22"/>
                    <a:gd name="T7" fmla="*/ 0 h 6"/>
                    <a:gd name="T8" fmla="*/ 17 w 22"/>
                    <a:gd name="T9" fmla="*/ 1 h 6"/>
                    <a:gd name="T10" fmla="*/ 20 w 22"/>
                    <a:gd name="T11" fmla="*/ 1 h 6"/>
                    <a:gd name="T12" fmla="*/ 22 w 22"/>
                    <a:gd name="T13" fmla="*/ 1 h 6"/>
                    <a:gd name="T14" fmla="*/ 16 w 22"/>
                    <a:gd name="T15" fmla="*/ 4 h 6"/>
                    <a:gd name="T16" fmla="*/ 12 w 22"/>
                    <a:gd name="T17" fmla="*/ 6 h 6"/>
                    <a:gd name="T18" fmla="*/ 10 w 22"/>
                    <a:gd name="T19" fmla="*/ 4 h 6"/>
                    <a:gd name="T20" fmla="*/ 4 w 22"/>
                    <a:gd name="T21" fmla="*/ 4 h 6"/>
                    <a:gd name="T22" fmla="*/ 1 w 22"/>
                    <a:gd name="T23" fmla="*/ 3 h 6"/>
                    <a:gd name="T24" fmla="*/ 0 w 22"/>
                    <a:gd name="T25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2" h="6">
                      <a:moveTo>
                        <a:pt x="0" y="2"/>
                      </a:moveTo>
                      <a:lnTo>
                        <a:pt x="1" y="1"/>
                      </a:lnTo>
                      <a:lnTo>
                        <a:pt x="4" y="0"/>
                      </a:lnTo>
                      <a:lnTo>
                        <a:pt x="10" y="0"/>
                      </a:lnTo>
                      <a:lnTo>
                        <a:pt x="17" y="1"/>
                      </a:lnTo>
                      <a:lnTo>
                        <a:pt x="20" y="1"/>
                      </a:lnTo>
                      <a:lnTo>
                        <a:pt x="22" y="1"/>
                      </a:lnTo>
                      <a:lnTo>
                        <a:pt x="16" y="4"/>
                      </a:lnTo>
                      <a:lnTo>
                        <a:pt x="12" y="6"/>
                      </a:lnTo>
                      <a:lnTo>
                        <a:pt x="10" y="4"/>
                      </a:lnTo>
                      <a:lnTo>
                        <a:pt x="4" y="4"/>
                      </a:lnTo>
                      <a:lnTo>
                        <a:pt x="1" y="3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2" name="Freeform 1627">
                  <a:extLst>
                    <a:ext uri="{FF2B5EF4-FFF2-40B4-BE49-F238E27FC236}">
                      <a16:creationId xmlns:a16="http://schemas.microsoft.com/office/drawing/2014/main" id="{88737459-B7BB-42F6-AF24-D34EEB763E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82063" y="5702324"/>
                  <a:ext cx="107449" cy="114040"/>
                </a:xfrm>
                <a:custGeom>
                  <a:avLst/>
                  <a:gdLst>
                    <a:gd name="T0" fmla="*/ 66 w 95"/>
                    <a:gd name="T1" fmla="*/ 3 h 86"/>
                    <a:gd name="T2" fmla="*/ 52 w 95"/>
                    <a:gd name="T3" fmla="*/ 10 h 86"/>
                    <a:gd name="T4" fmla="*/ 40 w 95"/>
                    <a:gd name="T5" fmla="*/ 16 h 86"/>
                    <a:gd name="T6" fmla="*/ 32 w 95"/>
                    <a:gd name="T7" fmla="*/ 21 h 86"/>
                    <a:gd name="T8" fmla="*/ 26 w 95"/>
                    <a:gd name="T9" fmla="*/ 36 h 86"/>
                    <a:gd name="T10" fmla="*/ 16 w 95"/>
                    <a:gd name="T11" fmla="*/ 48 h 86"/>
                    <a:gd name="T12" fmla="*/ 18 w 95"/>
                    <a:gd name="T13" fmla="*/ 52 h 86"/>
                    <a:gd name="T14" fmla="*/ 24 w 95"/>
                    <a:gd name="T15" fmla="*/ 55 h 86"/>
                    <a:gd name="T16" fmla="*/ 30 w 95"/>
                    <a:gd name="T17" fmla="*/ 55 h 86"/>
                    <a:gd name="T18" fmla="*/ 35 w 95"/>
                    <a:gd name="T19" fmla="*/ 56 h 86"/>
                    <a:gd name="T20" fmla="*/ 26 w 95"/>
                    <a:gd name="T21" fmla="*/ 57 h 86"/>
                    <a:gd name="T22" fmla="*/ 18 w 95"/>
                    <a:gd name="T23" fmla="*/ 58 h 86"/>
                    <a:gd name="T24" fmla="*/ 19 w 95"/>
                    <a:gd name="T25" fmla="*/ 59 h 86"/>
                    <a:gd name="T26" fmla="*/ 14 w 95"/>
                    <a:gd name="T27" fmla="*/ 59 h 86"/>
                    <a:gd name="T28" fmla="*/ 20 w 95"/>
                    <a:gd name="T29" fmla="*/ 62 h 86"/>
                    <a:gd name="T30" fmla="*/ 18 w 95"/>
                    <a:gd name="T31" fmla="*/ 64 h 86"/>
                    <a:gd name="T32" fmla="*/ 12 w 95"/>
                    <a:gd name="T33" fmla="*/ 59 h 86"/>
                    <a:gd name="T34" fmla="*/ 3 w 95"/>
                    <a:gd name="T35" fmla="*/ 59 h 86"/>
                    <a:gd name="T36" fmla="*/ 3 w 95"/>
                    <a:gd name="T37" fmla="*/ 64 h 86"/>
                    <a:gd name="T38" fmla="*/ 13 w 95"/>
                    <a:gd name="T39" fmla="*/ 64 h 86"/>
                    <a:gd name="T40" fmla="*/ 20 w 95"/>
                    <a:gd name="T41" fmla="*/ 67 h 86"/>
                    <a:gd name="T42" fmla="*/ 25 w 95"/>
                    <a:gd name="T43" fmla="*/ 63 h 86"/>
                    <a:gd name="T44" fmla="*/ 31 w 95"/>
                    <a:gd name="T45" fmla="*/ 64 h 86"/>
                    <a:gd name="T46" fmla="*/ 34 w 95"/>
                    <a:gd name="T47" fmla="*/ 64 h 86"/>
                    <a:gd name="T48" fmla="*/ 40 w 95"/>
                    <a:gd name="T49" fmla="*/ 63 h 86"/>
                    <a:gd name="T50" fmla="*/ 48 w 95"/>
                    <a:gd name="T51" fmla="*/ 70 h 86"/>
                    <a:gd name="T52" fmla="*/ 61 w 95"/>
                    <a:gd name="T53" fmla="*/ 73 h 86"/>
                    <a:gd name="T54" fmla="*/ 56 w 95"/>
                    <a:gd name="T55" fmla="*/ 82 h 86"/>
                    <a:gd name="T56" fmla="*/ 59 w 95"/>
                    <a:gd name="T57" fmla="*/ 86 h 86"/>
                    <a:gd name="T58" fmla="*/ 64 w 95"/>
                    <a:gd name="T59" fmla="*/ 85 h 86"/>
                    <a:gd name="T60" fmla="*/ 63 w 95"/>
                    <a:gd name="T61" fmla="*/ 79 h 86"/>
                    <a:gd name="T62" fmla="*/ 68 w 95"/>
                    <a:gd name="T63" fmla="*/ 70 h 86"/>
                    <a:gd name="T64" fmla="*/ 69 w 95"/>
                    <a:gd name="T65" fmla="*/ 62 h 86"/>
                    <a:gd name="T66" fmla="*/ 63 w 95"/>
                    <a:gd name="T67" fmla="*/ 55 h 86"/>
                    <a:gd name="T68" fmla="*/ 64 w 95"/>
                    <a:gd name="T69" fmla="*/ 52 h 86"/>
                    <a:gd name="T70" fmla="*/ 68 w 95"/>
                    <a:gd name="T71" fmla="*/ 52 h 86"/>
                    <a:gd name="T72" fmla="*/ 72 w 95"/>
                    <a:gd name="T73" fmla="*/ 51 h 86"/>
                    <a:gd name="T74" fmla="*/ 82 w 95"/>
                    <a:gd name="T75" fmla="*/ 51 h 86"/>
                    <a:gd name="T76" fmla="*/ 84 w 95"/>
                    <a:gd name="T77" fmla="*/ 47 h 86"/>
                    <a:gd name="T78" fmla="*/ 83 w 95"/>
                    <a:gd name="T79" fmla="*/ 45 h 86"/>
                    <a:gd name="T80" fmla="*/ 87 w 95"/>
                    <a:gd name="T81" fmla="*/ 42 h 86"/>
                    <a:gd name="T82" fmla="*/ 90 w 95"/>
                    <a:gd name="T83" fmla="*/ 36 h 86"/>
                    <a:gd name="T84" fmla="*/ 87 w 95"/>
                    <a:gd name="T85" fmla="*/ 32 h 86"/>
                    <a:gd name="T86" fmla="*/ 82 w 95"/>
                    <a:gd name="T87" fmla="*/ 29 h 86"/>
                    <a:gd name="T88" fmla="*/ 84 w 95"/>
                    <a:gd name="T89" fmla="*/ 26 h 86"/>
                    <a:gd name="T90" fmla="*/ 90 w 95"/>
                    <a:gd name="T91" fmla="*/ 26 h 86"/>
                    <a:gd name="T92" fmla="*/ 93 w 95"/>
                    <a:gd name="T93" fmla="*/ 19 h 86"/>
                    <a:gd name="T94" fmla="*/ 94 w 95"/>
                    <a:gd name="T95" fmla="*/ 9 h 86"/>
                    <a:gd name="T96" fmla="*/ 85 w 95"/>
                    <a:gd name="T97" fmla="*/ 2 h 86"/>
                    <a:gd name="T98" fmla="*/ 80 w 95"/>
                    <a:gd name="T99" fmla="*/ 0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95" h="86">
                      <a:moveTo>
                        <a:pt x="80" y="0"/>
                      </a:moveTo>
                      <a:lnTo>
                        <a:pt x="66" y="3"/>
                      </a:lnTo>
                      <a:lnTo>
                        <a:pt x="58" y="5"/>
                      </a:lnTo>
                      <a:lnTo>
                        <a:pt x="52" y="10"/>
                      </a:lnTo>
                      <a:lnTo>
                        <a:pt x="46" y="14"/>
                      </a:lnTo>
                      <a:lnTo>
                        <a:pt x="40" y="16"/>
                      </a:lnTo>
                      <a:lnTo>
                        <a:pt x="35" y="19"/>
                      </a:lnTo>
                      <a:lnTo>
                        <a:pt x="32" y="21"/>
                      </a:lnTo>
                      <a:lnTo>
                        <a:pt x="29" y="29"/>
                      </a:lnTo>
                      <a:lnTo>
                        <a:pt x="26" y="36"/>
                      </a:lnTo>
                      <a:lnTo>
                        <a:pt x="21" y="42"/>
                      </a:lnTo>
                      <a:lnTo>
                        <a:pt x="16" y="48"/>
                      </a:lnTo>
                      <a:lnTo>
                        <a:pt x="16" y="51"/>
                      </a:lnTo>
                      <a:lnTo>
                        <a:pt x="18" y="52"/>
                      </a:lnTo>
                      <a:lnTo>
                        <a:pt x="21" y="53"/>
                      </a:lnTo>
                      <a:lnTo>
                        <a:pt x="24" y="55"/>
                      </a:lnTo>
                      <a:lnTo>
                        <a:pt x="28" y="55"/>
                      </a:lnTo>
                      <a:lnTo>
                        <a:pt x="30" y="55"/>
                      </a:lnTo>
                      <a:lnTo>
                        <a:pt x="34" y="55"/>
                      </a:lnTo>
                      <a:lnTo>
                        <a:pt x="35" y="56"/>
                      </a:lnTo>
                      <a:lnTo>
                        <a:pt x="31" y="56"/>
                      </a:lnTo>
                      <a:lnTo>
                        <a:pt x="26" y="57"/>
                      </a:lnTo>
                      <a:lnTo>
                        <a:pt x="21" y="58"/>
                      </a:lnTo>
                      <a:lnTo>
                        <a:pt x="18" y="58"/>
                      </a:lnTo>
                      <a:lnTo>
                        <a:pt x="19" y="59"/>
                      </a:lnTo>
                      <a:lnTo>
                        <a:pt x="19" y="59"/>
                      </a:lnTo>
                      <a:lnTo>
                        <a:pt x="16" y="59"/>
                      </a:lnTo>
                      <a:lnTo>
                        <a:pt x="14" y="59"/>
                      </a:lnTo>
                      <a:lnTo>
                        <a:pt x="18" y="62"/>
                      </a:lnTo>
                      <a:lnTo>
                        <a:pt x="20" y="62"/>
                      </a:lnTo>
                      <a:lnTo>
                        <a:pt x="20" y="64"/>
                      </a:lnTo>
                      <a:lnTo>
                        <a:pt x="18" y="64"/>
                      </a:lnTo>
                      <a:lnTo>
                        <a:pt x="15" y="63"/>
                      </a:lnTo>
                      <a:lnTo>
                        <a:pt x="12" y="59"/>
                      </a:lnTo>
                      <a:lnTo>
                        <a:pt x="5" y="59"/>
                      </a:lnTo>
                      <a:lnTo>
                        <a:pt x="3" y="59"/>
                      </a:lnTo>
                      <a:lnTo>
                        <a:pt x="0" y="62"/>
                      </a:lnTo>
                      <a:lnTo>
                        <a:pt x="3" y="64"/>
                      </a:lnTo>
                      <a:lnTo>
                        <a:pt x="7" y="64"/>
                      </a:lnTo>
                      <a:lnTo>
                        <a:pt x="13" y="64"/>
                      </a:lnTo>
                      <a:lnTo>
                        <a:pt x="16" y="66"/>
                      </a:lnTo>
                      <a:lnTo>
                        <a:pt x="20" y="67"/>
                      </a:lnTo>
                      <a:lnTo>
                        <a:pt x="24" y="67"/>
                      </a:lnTo>
                      <a:lnTo>
                        <a:pt x="25" y="63"/>
                      </a:lnTo>
                      <a:lnTo>
                        <a:pt x="29" y="64"/>
                      </a:lnTo>
                      <a:lnTo>
                        <a:pt x="31" y="64"/>
                      </a:lnTo>
                      <a:lnTo>
                        <a:pt x="32" y="63"/>
                      </a:lnTo>
                      <a:lnTo>
                        <a:pt x="34" y="64"/>
                      </a:lnTo>
                      <a:lnTo>
                        <a:pt x="36" y="66"/>
                      </a:lnTo>
                      <a:lnTo>
                        <a:pt x="40" y="63"/>
                      </a:lnTo>
                      <a:lnTo>
                        <a:pt x="44" y="68"/>
                      </a:lnTo>
                      <a:lnTo>
                        <a:pt x="48" y="70"/>
                      </a:lnTo>
                      <a:lnTo>
                        <a:pt x="55" y="72"/>
                      </a:lnTo>
                      <a:lnTo>
                        <a:pt x="61" y="73"/>
                      </a:lnTo>
                      <a:lnTo>
                        <a:pt x="57" y="78"/>
                      </a:lnTo>
                      <a:lnTo>
                        <a:pt x="56" y="82"/>
                      </a:lnTo>
                      <a:lnTo>
                        <a:pt x="57" y="85"/>
                      </a:lnTo>
                      <a:lnTo>
                        <a:pt x="59" y="86"/>
                      </a:lnTo>
                      <a:lnTo>
                        <a:pt x="63" y="86"/>
                      </a:lnTo>
                      <a:lnTo>
                        <a:pt x="64" y="85"/>
                      </a:lnTo>
                      <a:lnTo>
                        <a:pt x="64" y="83"/>
                      </a:lnTo>
                      <a:lnTo>
                        <a:pt x="63" y="79"/>
                      </a:lnTo>
                      <a:lnTo>
                        <a:pt x="63" y="78"/>
                      </a:lnTo>
                      <a:lnTo>
                        <a:pt x="68" y="70"/>
                      </a:lnTo>
                      <a:lnTo>
                        <a:pt x="69" y="67"/>
                      </a:lnTo>
                      <a:lnTo>
                        <a:pt x="69" y="62"/>
                      </a:lnTo>
                      <a:lnTo>
                        <a:pt x="67" y="58"/>
                      </a:lnTo>
                      <a:lnTo>
                        <a:pt x="63" y="55"/>
                      </a:lnTo>
                      <a:lnTo>
                        <a:pt x="63" y="53"/>
                      </a:lnTo>
                      <a:lnTo>
                        <a:pt x="64" y="52"/>
                      </a:lnTo>
                      <a:lnTo>
                        <a:pt x="66" y="52"/>
                      </a:lnTo>
                      <a:lnTo>
                        <a:pt x="68" y="52"/>
                      </a:lnTo>
                      <a:lnTo>
                        <a:pt x="68" y="50"/>
                      </a:lnTo>
                      <a:lnTo>
                        <a:pt x="72" y="51"/>
                      </a:lnTo>
                      <a:lnTo>
                        <a:pt x="77" y="51"/>
                      </a:lnTo>
                      <a:lnTo>
                        <a:pt x="82" y="51"/>
                      </a:lnTo>
                      <a:lnTo>
                        <a:pt x="84" y="48"/>
                      </a:lnTo>
                      <a:lnTo>
                        <a:pt x="84" y="47"/>
                      </a:lnTo>
                      <a:lnTo>
                        <a:pt x="83" y="46"/>
                      </a:lnTo>
                      <a:lnTo>
                        <a:pt x="83" y="45"/>
                      </a:lnTo>
                      <a:lnTo>
                        <a:pt x="84" y="43"/>
                      </a:lnTo>
                      <a:lnTo>
                        <a:pt x="87" y="42"/>
                      </a:lnTo>
                      <a:lnTo>
                        <a:pt x="89" y="39"/>
                      </a:lnTo>
                      <a:lnTo>
                        <a:pt x="90" y="36"/>
                      </a:lnTo>
                      <a:lnTo>
                        <a:pt x="89" y="35"/>
                      </a:lnTo>
                      <a:lnTo>
                        <a:pt x="87" y="32"/>
                      </a:lnTo>
                      <a:lnTo>
                        <a:pt x="83" y="30"/>
                      </a:lnTo>
                      <a:lnTo>
                        <a:pt x="82" y="29"/>
                      </a:lnTo>
                      <a:lnTo>
                        <a:pt x="82" y="27"/>
                      </a:lnTo>
                      <a:lnTo>
                        <a:pt x="84" y="26"/>
                      </a:lnTo>
                      <a:lnTo>
                        <a:pt x="88" y="26"/>
                      </a:lnTo>
                      <a:lnTo>
                        <a:pt x="90" y="26"/>
                      </a:lnTo>
                      <a:lnTo>
                        <a:pt x="91" y="25"/>
                      </a:lnTo>
                      <a:lnTo>
                        <a:pt x="93" y="19"/>
                      </a:lnTo>
                      <a:lnTo>
                        <a:pt x="95" y="14"/>
                      </a:lnTo>
                      <a:lnTo>
                        <a:pt x="94" y="9"/>
                      </a:lnTo>
                      <a:lnTo>
                        <a:pt x="90" y="4"/>
                      </a:lnTo>
                      <a:lnTo>
                        <a:pt x="85" y="2"/>
                      </a:lnTo>
                      <a:lnTo>
                        <a:pt x="80" y="0"/>
                      </a:lnTo>
                      <a:lnTo>
                        <a:pt x="80" y="0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3" name="Freeform 1628">
                  <a:extLst>
                    <a:ext uri="{FF2B5EF4-FFF2-40B4-BE49-F238E27FC236}">
                      <a16:creationId xmlns:a16="http://schemas.microsoft.com/office/drawing/2014/main" id="{6E12FDB0-23A2-4338-8326-32A47A6D34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1311" y="5739453"/>
                  <a:ext cx="17908" cy="13261"/>
                </a:xfrm>
                <a:custGeom>
                  <a:avLst/>
                  <a:gdLst>
                    <a:gd name="T0" fmla="*/ 12 w 17"/>
                    <a:gd name="T1" fmla="*/ 0 h 12"/>
                    <a:gd name="T2" fmla="*/ 15 w 17"/>
                    <a:gd name="T3" fmla="*/ 2 h 12"/>
                    <a:gd name="T4" fmla="*/ 17 w 17"/>
                    <a:gd name="T5" fmla="*/ 3 h 12"/>
                    <a:gd name="T6" fmla="*/ 17 w 17"/>
                    <a:gd name="T7" fmla="*/ 4 h 12"/>
                    <a:gd name="T8" fmla="*/ 15 w 17"/>
                    <a:gd name="T9" fmla="*/ 7 h 12"/>
                    <a:gd name="T10" fmla="*/ 9 w 17"/>
                    <a:gd name="T11" fmla="*/ 10 h 12"/>
                    <a:gd name="T12" fmla="*/ 8 w 17"/>
                    <a:gd name="T13" fmla="*/ 12 h 12"/>
                    <a:gd name="T14" fmla="*/ 4 w 17"/>
                    <a:gd name="T15" fmla="*/ 10 h 12"/>
                    <a:gd name="T16" fmla="*/ 2 w 17"/>
                    <a:gd name="T17" fmla="*/ 9 h 12"/>
                    <a:gd name="T18" fmla="*/ 0 w 17"/>
                    <a:gd name="T19" fmla="*/ 9 h 12"/>
                    <a:gd name="T20" fmla="*/ 2 w 17"/>
                    <a:gd name="T21" fmla="*/ 7 h 12"/>
                    <a:gd name="T22" fmla="*/ 4 w 17"/>
                    <a:gd name="T23" fmla="*/ 5 h 12"/>
                    <a:gd name="T24" fmla="*/ 8 w 17"/>
                    <a:gd name="T25" fmla="*/ 3 h 12"/>
                    <a:gd name="T26" fmla="*/ 12 w 17"/>
                    <a:gd name="T27" fmla="*/ 0 h 12"/>
                    <a:gd name="T28" fmla="*/ 12 w 17"/>
                    <a:gd name="T2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7" h="12">
                      <a:moveTo>
                        <a:pt x="12" y="0"/>
                      </a:moveTo>
                      <a:lnTo>
                        <a:pt x="15" y="2"/>
                      </a:lnTo>
                      <a:lnTo>
                        <a:pt x="17" y="3"/>
                      </a:lnTo>
                      <a:lnTo>
                        <a:pt x="17" y="4"/>
                      </a:lnTo>
                      <a:lnTo>
                        <a:pt x="15" y="7"/>
                      </a:lnTo>
                      <a:lnTo>
                        <a:pt x="9" y="10"/>
                      </a:lnTo>
                      <a:lnTo>
                        <a:pt x="8" y="12"/>
                      </a:lnTo>
                      <a:lnTo>
                        <a:pt x="4" y="10"/>
                      </a:lnTo>
                      <a:lnTo>
                        <a:pt x="2" y="9"/>
                      </a:lnTo>
                      <a:lnTo>
                        <a:pt x="0" y="9"/>
                      </a:lnTo>
                      <a:lnTo>
                        <a:pt x="2" y="7"/>
                      </a:lnTo>
                      <a:lnTo>
                        <a:pt x="4" y="5"/>
                      </a:lnTo>
                      <a:lnTo>
                        <a:pt x="8" y="3"/>
                      </a:lnTo>
                      <a:lnTo>
                        <a:pt x="12" y="0"/>
                      </a:lnTo>
                      <a:lnTo>
                        <a:pt x="1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4" name="Freeform 1631">
                  <a:extLst>
                    <a:ext uri="{FF2B5EF4-FFF2-40B4-BE49-F238E27FC236}">
                      <a16:creationId xmlns:a16="http://schemas.microsoft.com/office/drawing/2014/main" id="{DA40CCA6-DCCF-47B8-B567-69E341C99B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64850" y="5866753"/>
                  <a:ext cx="158935" cy="76911"/>
                </a:xfrm>
                <a:custGeom>
                  <a:avLst/>
                  <a:gdLst>
                    <a:gd name="T0" fmla="*/ 3 w 143"/>
                    <a:gd name="T1" fmla="*/ 27 h 59"/>
                    <a:gd name="T2" fmla="*/ 10 w 143"/>
                    <a:gd name="T3" fmla="*/ 25 h 59"/>
                    <a:gd name="T4" fmla="*/ 17 w 143"/>
                    <a:gd name="T5" fmla="*/ 24 h 59"/>
                    <a:gd name="T6" fmla="*/ 27 w 143"/>
                    <a:gd name="T7" fmla="*/ 19 h 59"/>
                    <a:gd name="T8" fmla="*/ 31 w 143"/>
                    <a:gd name="T9" fmla="*/ 13 h 59"/>
                    <a:gd name="T10" fmla="*/ 42 w 143"/>
                    <a:gd name="T11" fmla="*/ 5 h 59"/>
                    <a:gd name="T12" fmla="*/ 49 w 143"/>
                    <a:gd name="T13" fmla="*/ 4 h 59"/>
                    <a:gd name="T14" fmla="*/ 52 w 143"/>
                    <a:gd name="T15" fmla="*/ 7 h 59"/>
                    <a:gd name="T16" fmla="*/ 58 w 143"/>
                    <a:gd name="T17" fmla="*/ 3 h 59"/>
                    <a:gd name="T18" fmla="*/ 64 w 143"/>
                    <a:gd name="T19" fmla="*/ 0 h 59"/>
                    <a:gd name="T20" fmla="*/ 70 w 143"/>
                    <a:gd name="T21" fmla="*/ 5 h 59"/>
                    <a:gd name="T22" fmla="*/ 73 w 143"/>
                    <a:gd name="T23" fmla="*/ 10 h 59"/>
                    <a:gd name="T24" fmla="*/ 79 w 143"/>
                    <a:gd name="T25" fmla="*/ 11 h 59"/>
                    <a:gd name="T26" fmla="*/ 84 w 143"/>
                    <a:gd name="T27" fmla="*/ 8 h 59"/>
                    <a:gd name="T28" fmla="*/ 89 w 143"/>
                    <a:gd name="T29" fmla="*/ 7 h 59"/>
                    <a:gd name="T30" fmla="*/ 98 w 143"/>
                    <a:gd name="T31" fmla="*/ 8 h 59"/>
                    <a:gd name="T32" fmla="*/ 108 w 143"/>
                    <a:gd name="T33" fmla="*/ 7 h 59"/>
                    <a:gd name="T34" fmla="*/ 118 w 143"/>
                    <a:gd name="T35" fmla="*/ 5 h 59"/>
                    <a:gd name="T36" fmla="*/ 126 w 143"/>
                    <a:gd name="T37" fmla="*/ 8 h 59"/>
                    <a:gd name="T38" fmla="*/ 133 w 143"/>
                    <a:gd name="T39" fmla="*/ 13 h 59"/>
                    <a:gd name="T40" fmla="*/ 139 w 143"/>
                    <a:gd name="T41" fmla="*/ 15 h 59"/>
                    <a:gd name="T42" fmla="*/ 143 w 143"/>
                    <a:gd name="T43" fmla="*/ 16 h 59"/>
                    <a:gd name="T44" fmla="*/ 142 w 143"/>
                    <a:gd name="T45" fmla="*/ 21 h 59"/>
                    <a:gd name="T46" fmla="*/ 135 w 143"/>
                    <a:gd name="T47" fmla="*/ 34 h 59"/>
                    <a:gd name="T48" fmla="*/ 134 w 143"/>
                    <a:gd name="T49" fmla="*/ 37 h 59"/>
                    <a:gd name="T50" fmla="*/ 133 w 143"/>
                    <a:gd name="T51" fmla="*/ 38 h 59"/>
                    <a:gd name="T52" fmla="*/ 126 w 143"/>
                    <a:gd name="T53" fmla="*/ 40 h 59"/>
                    <a:gd name="T54" fmla="*/ 118 w 143"/>
                    <a:gd name="T55" fmla="*/ 35 h 59"/>
                    <a:gd name="T56" fmla="*/ 113 w 143"/>
                    <a:gd name="T57" fmla="*/ 35 h 59"/>
                    <a:gd name="T58" fmla="*/ 106 w 143"/>
                    <a:gd name="T59" fmla="*/ 34 h 59"/>
                    <a:gd name="T60" fmla="*/ 96 w 143"/>
                    <a:gd name="T61" fmla="*/ 32 h 59"/>
                    <a:gd name="T62" fmla="*/ 91 w 143"/>
                    <a:gd name="T63" fmla="*/ 36 h 59"/>
                    <a:gd name="T64" fmla="*/ 87 w 143"/>
                    <a:gd name="T65" fmla="*/ 45 h 59"/>
                    <a:gd name="T66" fmla="*/ 78 w 143"/>
                    <a:gd name="T67" fmla="*/ 47 h 59"/>
                    <a:gd name="T68" fmla="*/ 70 w 143"/>
                    <a:gd name="T69" fmla="*/ 45 h 59"/>
                    <a:gd name="T70" fmla="*/ 67 w 143"/>
                    <a:gd name="T71" fmla="*/ 45 h 59"/>
                    <a:gd name="T72" fmla="*/ 64 w 143"/>
                    <a:gd name="T73" fmla="*/ 50 h 59"/>
                    <a:gd name="T74" fmla="*/ 59 w 143"/>
                    <a:gd name="T75" fmla="*/ 51 h 59"/>
                    <a:gd name="T76" fmla="*/ 51 w 143"/>
                    <a:gd name="T77" fmla="*/ 52 h 59"/>
                    <a:gd name="T78" fmla="*/ 48 w 143"/>
                    <a:gd name="T79" fmla="*/ 54 h 59"/>
                    <a:gd name="T80" fmla="*/ 42 w 143"/>
                    <a:gd name="T81" fmla="*/ 59 h 59"/>
                    <a:gd name="T82" fmla="*/ 27 w 143"/>
                    <a:gd name="T83" fmla="*/ 59 h 59"/>
                    <a:gd name="T84" fmla="*/ 19 w 143"/>
                    <a:gd name="T85" fmla="*/ 57 h 59"/>
                    <a:gd name="T86" fmla="*/ 7 w 143"/>
                    <a:gd name="T87" fmla="*/ 51 h 59"/>
                    <a:gd name="T88" fmla="*/ 3 w 143"/>
                    <a:gd name="T89" fmla="*/ 45 h 59"/>
                    <a:gd name="T90" fmla="*/ 1 w 143"/>
                    <a:gd name="T91" fmla="*/ 38 h 59"/>
                    <a:gd name="T92" fmla="*/ 0 w 143"/>
                    <a:gd name="T93" fmla="*/ 31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43" h="59">
                      <a:moveTo>
                        <a:pt x="0" y="31"/>
                      </a:moveTo>
                      <a:lnTo>
                        <a:pt x="3" y="27"/>
                      </a:lnTo>
                      <a:lnTo>
                        <a:pt x="6" y="25"/>
                      </a:lnTo>
                      <a:lnTo>
                        <a:pt x="10" y="25"/>
                      </a:lnTo>
                      <a:lnTo>
                        <a:pt x="15" y="25"/>
                      </a:lnTo>
                      <a:lnTo>
                        <a:pt x="17" y="24"/>
                      </a:lnTo>
                      <a:lnTo>
                        <a:pt x="22" y="21"/>
                      </a:lnTo>
                      <a:lnTo>
                        <a:pt x="27" y="19"/>
                      </a:lnTo>
                      <a:lnTo>
                        <a:pt x="30" y="16"/>
                      </a:lnTo>
                      <a:lnTo>
                        <a:pt x="31" y="13"/>
                      </a:lnTo>
                      <a:lnTo>
                        <a:pt x="33" y="10"/>
                      </a:lnTo>
                      <a:lnTo>
                        <a:pt x="42" y="5"/>
                      </a:lnTo>
                      <a:lnTo>
                        <a:pt x="46" y="4"/>
                      </a:lnTo>
                      <a:lnTo>
                        <a:pt x="49" y="4"/>
                      </a:lnTo>
                      <a:lnTo>
                        <a:pt x="51" y="4"/>
                      </a:lnTo>
                      <a:lnTo>
                        <a:pt x="52" y="7"/>
                      </a:lnTo>
                      <a:lnTo>
                        <a:pt x="54" y="5"/>
                      </a:lnTo>
                      <a:lnTo>
                        <a:pt x="58" y="3"/>
                      </a:lnTo>
                      <a:lnTo>
                        <a:pt x="60" y="2"/>
                      </a:lnTo>
                      <a:lnTo>
                        <a:pt x="64" y="0"/>
                      </a:lnTo>
                      <a:lnTo>
                        <a:pt x="68" y="3"/>
                      </a:lnTo>
                      <a:lnTo>
                        <a:pt x="70" y="5"/>
                      </a:lnTo>
                      <a:lnTo>
                        <a:pt x="73" y="8"/>
                      </a:lnTo>
                      <a:lnTo>
                        <a:pt x="73" y="10"/>
                      </a:lnTo>
                      <a:lnTo>
                        <a:pt x="76" y="11"/>
                      </a:lnTo>
                      <a:lnTo>
                        <a:pt x="79" y="11"/>
                      </a:lnTo>
                      <a:lnTo>
                        <a:pt x="81" y="10"/>
                      </a:lnTo>
                      <a:lnTo>
                        <a:pt x="84" y="8"/>
                      </a:lnTo>
                      <a:lnTo>
                        <a:pt x="86" y="7"/>
                      </a:lnTo>
                      <a:lnTo>
                        <a:pt x="89" y="7"/>
                      </a:lnTo>
                      <a:lnTo>
                        <a:pt x="92" y="5"/>
                      </a:lnTo>
                      <a:lnTo>
                        <a:pt x="98" y="8"/>
                      </a:lnTo>
                      <a:lnTo>
                        <a:pt x="103" y="7"/>
                      </a:lnTo>
                      <a:lnTo>
                        <a:pt x="108" y="7"/>
                      </a:lnTo>
                      <a:lnTo>
                        <a:pt x="112" y="5"/>
                      </a:lnTo>
                      <a:lnTo>
                        <a:pt x="118" y="5"/>
                      </a:lnTo>
                      <a:lnTo>
                        <a:pt x="122" y="7"/>
                      </a:lnTo>
                      <a:lnTo>
                        <a:pt x="126" y="8"/>
                      </a:lnTo>
                      <a:lnTo>
                        <a:pt x="130" y="11"/>
                      </a:lnTo>
                      <a:lnTo>
                        <a:pt x="133" y="13"/>
                      </a:lnTo>
                      <a:lnTo>
                        <a:pt x="137" y="14"/>
                      </a:lnTo>
                      <a:lnTo>
                        <a:pt x="139" y="15"/>
                      </a:lnTo>
                      <a:lnTo>
                        <a:pt x="142" y="15"/>
                      </a:lnTo>
                      <a:lnTo>
                        <a:pt x="143" y="16"/>
                      </a:lnTo>
                      <a:lnTo>
                        <a:pt x="143" y="18"/>
                      </a:lnTo>
                      <a:lnTo>
                        <a:pt x="142" y="21"/>
                      </a:lnTo>
                      <a:lnTo>
                        <a:pt x="137" y="29"/>
                      </a:lnTo>
                      <a:lnTo>
                        <a:pt x="135" y="34"/>
                      </a:lnTo>
                      <a:lnTo>
                        <a:pt x="134" y="36"/>
                      </a:lnTo>
                      <a:lnTo>
                        <a:pt x="134" y="37"/>
                      </a:lnTo>
                      <a:lnTo>
                        <a:pt x="134" y="38"/>
                      </a:lnTo>
                      <a:lnTo>
                        <a:pt x="133" y="38"/>
                      </a:lnTo>
                      <a:lnTo>
                        <a:pt x="129" y="40"/>
                      </a:lnTo>
                      <a:lnTo>
                        <a:pt x="126" y="40"/>
                      </a:lnTo>
                      <a:lnTo>
                        <a:pt x="121" y="38"/>
                      </a:lnTo>
                      <a:lnTo>
                        <a:pt x="118" y="35"/>
                      </a:lnTo>
                      <a:lnTo>
                        <a:pt x="116" y="34"/>
                      </a:lnTo>
                      <a:lnTo>
                        <a:pt x="113" y="35"/>
                      </a:lnTo>
                      <a:lnTo>
                        <a:pt x="111" y="35"/>
                      </a:lnTo>
                      <a:lnTo>
                        <a:pt x="106" y="34"/>
                      </a:lnTo>
                      <a:lnTo>
                        <a:pt x="100" y="32"/>
                      </a:lnTo>
                      <a:lnTo>
                        <a:pt x="96" y="32"/>
                      </a:lnTo>
                      <a:lnTo>
                        <a:pt x="92" y="34"/>
                      </a:lnTo>
                      <a:lnTo>
                        <a:pt x="91" y="36"/>
                      </a:lnTo>
                      <a:lnTo>
                        <a:pt x="90" y="41"/>
                      </a:lnTo>
                      <a:lnTo>
                        <a:pt x="87" y="45"/>
                      </a:lnTo>
                      <a:lnTo>
                        <a:pt x="84" y="46"/>
                      </a:lnTo>
                      <a:lnTo>
                        <a:pt x="78" y="47"/>
                      </a:lnTo>
                      <a:lnTo>
                        <a:pt x="74" y="46"/>
                      </a:lnTo>
                      <a:lnTo>
                        <a:pt x="70" y="45"/>
                      </a:lnTo>
                      <a:lnTo>
                        <a:pt x="69" y="45"/>
                      </a:lnTo>
                      <a:lnTo>
                        <a:pt x="67" y="45"/>
                      </a:lnTo>
                      <a:lnTo>
                        <a:pt x="67" y="46"/>
                      </a:lnTo>
                      <a:lnTo>
                        <a:pt x="64" y="50"/>
                      </a:lnTo>
                      <a:lnTo>
                        <a:pt x="62" y="50"/>
                      </a:lnTo>
                      <a:lnTo>
                        <a:pt x="59" y="51"/>
                      </a:lnTo>
                      <a:lnTo>
                        <a:pt x="53" y="52"/>
                      </a:lnTo>
                      <a:lnTo>
                        <a:pt x="51" y="52"/>
                      </a:lnTo>
                      <a:lnTo>
                        <a:pt x="48" y="53"/>
                      </a:lnTo>
                      <a:lnTo>
                        <a:pt x="48" y="54"/>
                      </a:lnTo>
                      <a:lnTo>
                        <a:pt x="51" y="57"/>
                      </a:lnTo>
                      <a:lnTo>
                        <a:pt x="42" y="59"/>
                      </a:lnTo>
                      <a:lnTo>
                        <a:pt x="32" y="59"/>
                      </a:lnTo>
                      <a:lnTo>
                        <a:pt x="27" y="59"/>
                      </a:lnTo>
                      <a:lnTo>
                        <a:pt x="22" y="59"/>
                      </a:lnTo>
                      <a:lnTo>
                        <a:pt x="19" y="57"/>
                      </a:lnTo>
                      <a:lnTo>
                        <a:pt x="14" y="54"/>
                      </a:lnTo>
                      <a:lnTo>
                        <a:pt x="7" y="51"/>
                      </a:lnTo>
                      <a:lnTo>
                        <a:pt x="5" y="48"/>
                      </a:lnTo>
                      <a:lnTo>
                        <a:pt x="3" y="45"/>
                      </a:lnTo>
                      <a:lnTo>
                        <a:pt x="3" y="42"/>
                      </a:lnTo>
                      <a:lnTo>
                        <a:pt x="1" y="38"/>
                      </a:lnTo>
                      <a:lnTo>
                        <a:pt x="1" y="35"/>
                      </a:lnTo>
                      <a:lnTo>
                        <a:pt x="0" y="31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5" name="Freeform 1632">
                  <a:extLst>
                    <a:ext uri="{FF2B5EF4-FFF2-40B4-BE49-F238E27FC236}">
                      <a16:creationId xmlns:a16="http://schemas.microsoft.com/office/drawing/2014/main" id="{F8033668-AFEC-40E5-AD9F-12BF865B1C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3345" y="5580329"/>
                  <a:ext cx="158935" cy="103432"/>
                </a:xfrm>
                <a:custGeom>
                  <a:avLst/>
                  <a:gdLst>
                    <a:gd name="T0" fmla="*/ 2 w 141"/>
                    <a:gd name="T1" fmla="*/ 11 h 79"/>
                    <a:gd name="T2" fmla="*/ 7 w 141"/>
                    <a:gd name="T3" fmla="*/ 6 h 79"/>
                    <a:gd name="T4" fmla="*/ 18 w 141"/>
                    <a:gd name="T5" fmla="*/ 3 h 79"/>
                    <a:gd name="T6" fmla="*/ 45 w 141"/>
                    <a:gd name="T7" fmla="*/ 1 h 79"/>
                    <a:gd name="T8" fmla="*/ 54 w 141"/>
                    <a:gd name="T9" fmla="*/ 3 h 79"/>
                    <a:gd name="T10" fmla="*/ 66 w 141"/>
                    <a:gd name="T11" fmla="*/ 3 h 79"/>
                    <a:gd name="T12" fmla="*/ 80 w 141"/>
                    <a:gd name="T13" fmla="*/ 4 h 79"/>
                    <a:gd name="T14" fmla="*/ 90 w 141"/>
                    <a:gd name="T15" fmla="*/ 0 h 79"/>
                    <a:gd name="T16" fmla="*/ 95 w 141"/>
                    <a:gd name="T17" fmla="*/ 4 h 79"/>
                    <a:gd name="T18" fmla="*/ 102 w 141"/>
                    <a:gd name="T19" fmla="*/ 8 h 79"/>
                    <a:gd name="T20" fmla="*/ 113 w 141"/>
                    <a:gd name="T21" fmla="*/ 10 h 79"/>
                    <a:gd name="T22" fmla="*/ 122 w 141"/>
                    <a:gd name="T23" fmla="*/ 17 h 79"/>
                    <a:gd name="T24" fmla="*/ 131 w 141"/>
                    <a:gd name="T25" fmla="*/ 22 h 79"/>
                    <a:gd name="T26" fmla="*/ 134 w 141"/>
                    <a:gd name="T27" fmla="*/ 28 h 79"/>
                    <a:gd name="T28" fmla="*/ 136 w 141"/>
                    <a:gd name="T29" fmla="*/ 33 h 79"/>
                    <a:gd name="T30" fmla="*/ 139 w 141"/>
                    <a:gd name="T31" fmla="*/ 37 h 79"/>
                    <a:gd name="T32" fmla="*/ 136 w 141"/>
                    <a:gd name="T33" fmla="*/ 40 h 79"/>
                    <a:gd name="T34" fmla="*/ 130 w 141"/>
                    <a:gd name="T35" fmla="*/ 41 h 79"/>
                    <a:gd name="T36" fmla="*/ 124 w 141"/>
                    <a:gd name="T37" fmla="*/ 46 h 79"/>
                    <a:gd name="T38" fmla="*/ 120 w 141"/>
                    <a:gd name="T39" fmla="*/ 49 h 79"/>
                    <a:gd name="T40" fmla="*/ 117 w 141"/>
                    <a:gd name="T41" fmla="*/ 59 h 79"/>
                    <a:gd name="T42" fmla="*/ 117 w 141"/>
                    <a:gd name="T43" fmla="*/ 65 h 79"/>
                    <a:gd name="T44" fmla="*/ 119 w 141"/>
                    <a:gd name="T45" fmla="*/ 70 h 79"/>
                    <a:gd name="T46" fmla="*/ 114 w 141"/>
                    <a:gd name="T47" fmla="*/ 72 h 79"/>
                    <a:gd name="T48" fmla="*/ 112 w 141"/>
                    <a:gd name="T49" fmla="*/ 67 h 79"/>
                    <a:gd name="T50" fmla="*/ 107 w 141"/>
                    <a:gd name="T51" fmla="*/ 68 h 79"/>
                    <a:gd name="T52" fmla="*/ 102 w 141"/>
                    <a:gd name="T53" fmla="*/ 72 h 79"/>
                    <a:gd name="T54" fmla="*/ 96 w 141"/>
                    <a:gd name="T55" fmla="*/ 75 h 79"/>
                    <a:gd name="T56" fmla="*/ 92 w 141"/>
                    <a:gd name="T57" fmla="*/ 76 h 79"/>
                    <a:gd name="T58" fmla="*/ 85 w 141"/>
                    <a:gd name="T59" fmla="*/ 79 h 79"/>
                    <a:gd name="T60" fmla="*/ 75 w 141"/>
                    <a:gd name="T61" fmla="*/ 78 h 79"/>
                    <a:gd name="T62" fmla="*/ 70 w 141"/>
                    <a:gd name="T63" fmla="*/ 79 h 79"/>
                    <a:gd name="T64" fmla="*/ 65 w 141"/>
                    <a:gd name="T65" fmla="*/ 76 h 79"/>
                    <a:gd name="T66" fmla="*/ 59 w 141"/>
                    <a:gd name="T67" fmla="*/ 68 h 79"/>
                    <a:gd name="T68" fmla="*/ 55 w 141"/>
                    <a:gd name="T69" fmla="*/ 62 h 79"/>
                    <a:gd name="T70" fmla="*/ 54 w 141"/>
                    <a:gd name="T71" fmla="*/ 54 h 79"/>
                    <a:gd name="T72" fmla="*/ 56 w 141"/>
                    <a:gd name="T73" fmla="*/ 49 h 79"/>
                    <a:gd name="T74" fmla="*/ 54 w 141"/>
                    <a:gd name="T75" fmla="*/ 46 h 79"/>
                    <a:gd name="T76" fmla="*/ 49 w 141"/>
                    <a:gd name="T77" fmla="*/ 42 h 79"/>
                    <a:gd name="T78" fmla="*/ 38 w 141"/>
                    <a:gd name="T79" fmla="*/ 42 h 79"/>
                    <a:gd name="T80" fmla="*/ 26 w 141"/>
                    <a:gd name="T81" fmla="*/ 40 h 79"/>
                    <a:gd name="T82" fmla="*/ 17 w 141"/>
                    <a:gd name="T83" fmla="*/ 35 h 79"/>
                    <a:gd name="T84" fmla="*/ 12 w 141"/>
                    <a:gd name="T85" fmla="*/ 37 h 79"/>
                    <a:gd name="T86" fmla="*/ 8 w 141"/>
                    <a:gd name="T87" fmla="*/ 31 h 79"/>
                    <a:gd name="T88" fmla="*/ 4 w 141"/>
                    <a:gd name="T89" fmla="*/ 25 h 79"/>
                    <a:gd name="T90" fmla="*/ 0 w 141"/>
                    <a:gd name="T91" fmla="*/ 11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41" h="79">
                      <a:moveTo>
                        <a:pt x="0" y="11"/>
                      </a:moveTo>
                      <a:lnTo>
                        <a:pt x="2" y="11"/>
                      </a:lnTo>
                      <a:lnTo>
                        <a:pt x="4" y="10"/>
                      </a:lnTo>
                      <a:lnTo>
                        <a:pt x="7" y="6"/>
                      </a:lnTo>
                      <a:lnTo>
                        <a:pt x="12" y="4"/>
                      </a:lnTo>
                      <a:lnTo>
                        <a:pt x="18" y="3"/>
                      </a:lnTo>
                      <a:lnTo>
                        <a:pt x="32" y="0"/>
                      </a:lnTo>
                      <a:lnTo>
                        <a:pt x="45" y="1"/>
                      </a:lnTo>
                      <a:lnTo>
                        <a:pt x="49" y="1"/>
                      </a:lnTo>
                      <a:lnTo>
                        <a:pt x="54" y="3"/>
                      </a:lnTo>
                      <a:lnTo>
                        <a:pt x="61" y="3"/>
                      </a:lnTo>
                      <a:lnTo>
                        <a:pt x="66" y="3"/>
                      </a:lnTo>
                      <a:lnTo>
                        <a:pt x="74" y="4"/>
                      </a:lnTo>
                      <a:lnTo>
                        <a:pt x="80" y="4"/>
                      </a:lnTo>
                      <a:lnTo>
                        <a:pt x="85" y="3"/>
                      </a:lnTo>
                      <a:lnTo>
                        <a:pt x="90" y="0"/>
                      </a:lnTo>
                      <a:lnTo>
                        <a:pt x="92" y="1"/>
                      </a:lnTo>
                      <a:lnTo>
                        <a:pt x="95" y="4"/>
                      </a:lnTo>
                      <a:lnTo>
                        <a:pt x="97" y="6"/>
                      </a:lnTo>
                      <a:lnTo>
                        <a:pt x="102" y="8"/>
                      </a:lnTo>
                      <a:lnTo>
                        <a:pt x="107" y="9"/>
                      </a:lnTo>
                      <a:lnTo>
                        <a:pt x="113" y="10"/>
                      </a:lnTo>
                      <a:lnTo>
                        <a:pt x="119" y="15"/>
                      </a:lnTo>
                      <a:lnTo>
                        <a:pt x="122" y="17"/>
                      </a:lnTo>
                      <a:lnTo>
                        <a:pt x="127" y="20"/>
                      </a:lnTo>
                      <a:lnTo>
                        <a:pt x="131" y="22"/>
                      </a:lnTo>
                      <a:lnTo>
                        <a:pt x="135" y="22"/>
                      </a:lnTo>
                      <a:lnTo>
                        <a:pt x="134" y="28"/>
                      </a:lnTo>
                      <a:lnTo>
                        <a:pt x="134" y="31"/>
                      </a:lnTo>
                      <a:lnTo>
                        <a:pt x="136" y="33"/>
                      </a:lnTo>
                      <a:lnTo>
                        <a:pt x="141" y="35"/>
                      </a:lnTo>
                      <a:lnTo>
                        <a:pt x="139" y="37"/>
                      </a:lnTo>
                      <a:lnTo>
                        <a:pt x="138" y="40"/>
                      </a:lnTo>
                      <a:lnTo>
                        <a:pt x="136" y="40"/>
                      </a:lnTo>
                      <a:lnTo>
                        <a:pt x="134" y="40"/>
                      </a:lnTo>
                      <a:lnTo>
                        <a:pt x="130" y="41"/>
                      </a:lnTo>
                      <a:lnTo>
                        <a:pt x="129" y="42"/>
                      </a:lnTo>
                      <a:lnTo>
                        <a:pt x="124" y="46"/>
                      </a:lnTo>
                      <a:lnTo>
                        <a:pt x="122" y="48"/>
                      </a:lnTo>
                      <a:lnTo>
                        <a:pt x="120" y="49"/>
                      </a:lnTo>
                      <a:lnTo>
                        <a:pt x="118" y="54"/>
                      </a:lnTo>
                      <a:lnTo>
                        <a:pt x="117" y="59"/>
                      </a:lnTo>
                      <a:lnTo>
                        <a:pt x="113" y="64"/>
                      </a:lnTo>
                      <a:lnTo>
                        <a:pt x="117" y="65"/>
                      </a:lnTo>
                      <a:lnTo>
                        <a:pt x="119" y="68"/>
                      </a:lnTo>
                      <a:lnTo>
                        <a:pt x="119" y="70"/>
                      </a:lnTo>
                      <a:lnTo>
                        <a:pt x="118" y="72"/>
                      </a:lnTo>
                      <a:lnTo>
                        <a:pt x="114" y="72"/>
                      </a:lnTo>
                      <a:lnTo>
                        <a:pt x="114" y="68"/>
                      </a:lnTo>
                      <a:lnTo>
                        <a:pt x="112" y="67"/>
                      </a:lnTo>
                      <a:lnTo>
                        <a:pt x="109" y="68"/>
                      </a:lnTo>
                      <a:lnTo>
                        <a:pt x="107" y="68"/>
                      </a:lnTo>
                      <a:lnTo>
                        <a:pt x="104" y="70"/>
                      </a:lnTo>
                      <a:lnTo>
                        <a:pt x="102" y="72"/>
                      </a:lnTo>
                      <a:lnTo>
                        <a:pt x="98" y="73"/>
                      </a:lnTo>
                      <a:lnTo>
                        <a:pt x="96" y="75"/>
                      </a:lnTo>
                      <a:lnTo>
                        <a:pt x="95" y="76"/>
                      </a:lnTo>
                      <a:lnTo>
                        <a:pt x="92" y="76"/>
                      </a:lnTo>
                      <a:lnTo>
                        <a:pt x="88" y="78"/>
                      </a:lnTo>
                      <a:lnTo>
                        <a:pt x="85" y="79"/>
                      </a:lnTo>
                      <a:lnTo>
                        <a:pt x="82" y="79"/>
                      </a:lnTo>
                      <a:lnTo>
                        <a:pt x="75" y="78"/>
                      </a:lnTo>
                      <a:lnTo>
                        <a:pt x="72" y="79"/>
                      </a:lnTo>
                      <a:lnTo>
                        <a:pt x="70" y="79"/>
                      </a:lnTo>
                      <a:lnTo>
                        <a:pt x="66" y="78"/>
                      </a:lnTo>
                      <a:lnTo>
                        <a:pt x="65" y="76"/>
                      </a:lnTo>
                      <a:lnTo>
                        <a:pt x="61" y="70"/>
                      </a:lnTo>
                      <a:lnTo>
                        <a:pt x="59" y="68"/>
                      </a:lnTo>
                      <a:lnTo>
                        <a:pt x="56" y="67"/>
                      </a:lnTo>
                      <a:lnTo>
                        <a:pt x="55" y="62"/>
                      </a:lnTo>
                      <a:lnTo>
                        <a:pt x="54" y="59"/>
                      </a:lnTo>
                      <a:lnTo>
                        <a:pt x="54" y="54"/>
                      </a:lnTo>
                      <a:lnTo>
                        <a:pt x="55" y="52"/>
                      </a:lnTo>
                      <a:lnTo>
                        <a:pt x="56" y="49"/>
                      </a:lnTo>
                      <a:lnTo>
                        <a:pt x="56" y="47"/>
                      </a:lnTo>
                      <a:lnTo>
                        <a:pt x="54" y="46"/>
                      </a:lnTo>
                      <a:lnTo>
                        <a:pt x="50" y="43"/>
                      </a:lnTo>
                      <a:lnTo>
                        <a:pt x="49" y="42"/>
                      </a:lnTo>
                      <a:lnTo>
                        <a:pt x="44" y="42"/>
                      </a:lnTo>
                      <a:lnTo>
                        <a:pt x="38" y="42"/>
                      </a:lnTo>
                      <a:lnTo>
                        <a:pt x="31" y="41"/>
                      </a:lnTo>
                      <a:lnTo>
                        <a:pt x="26" y="40"/>
                      </a:lnTo>
                      <a:lnTo>
                        <a:pt x="22" y="36"/>
                      </a:lnTo>
                      <a:lnTo>
                        <a:pt x="17" y="35"/>
                      </a:lnTo>
                      <a:lnTo>
                        <a:pt x="13" y="36"/>
                      </a:lnTo>
                      <a:lnTo>
                        <a:pt x="12" y="37"/>
                      </a:lnTo>
                      <a:lnTo>
                        <a:pt x="11" y="35"/>
                      </a:lnTo>
                      <a:lnTo>
                        <a:pt x="8" y="31"/>
                      </a:lnTo>
                      <a:lnTo>
                        <a:pt x="6" y="27"/>
                      </a:lnTo>
                      <a:lnTo>
                        <a:pt x="4" y="25"/>
                      </a:lnTo>
                      <a:lnTo>
                        <a:pt x="1" y="17"/>
                      </a:lnTo>
                      <a:lnTo>
                        <a:pt x="0" y="11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6" name="Freeform 1637">
                  <a:extLst>
                    <a:ext uri="{FF2B5EF4-FFF2-40B4-BE49-F238E27FC236}">
                      <a16:creationId xmlns:a16="http://schemas.microsoft.com/office/drawing/2014/main" id="{A0769575-E714-47C0-84B8-2AFB586FD9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22239" y="6569551"/>
                  <a:ext cx="38056" cy="167081"/>
                </a:xfrm>
                <a:custGeom>
                  <a:avLst/>
                  <a:gdLst>
                    <a:gd name="T0" fmla="*/ 0 w 35"/>
                    <a:gd name="T1" fmla="*/ 69 h 126"/>
                    <a:gd name="T2" fmla="*/ 3 w 35"/>
                    <a:gd name="T3" fmla="*/ 67 h 126"/>
                    <a:gd name="T4" fmla="*/ 5 w 35"/>
                    <a:gd name="T5" fmla="*/ 63 h 126"/>
                    <a:gd name="T6" fmla="*/ 7 w 35"/>
                    <a:gd name="T7" fmla="*/ 59 h 126"/>
                    <a:gd name="T8" fmla="*/ 5 w 35"/>
                    <a:gd name="T9" fmla="*/ 57 h 126"/>
                    <a:gd name="T10" fmla="*/ 9 w 35"/>
                    <a:gd name="T11" fmla="*/ 50 h 126"/>
                    <a:gd name="T12" fmla="*/ 11 w 35"/>
                    <a:gd name="T13" fmla="*/ 42 h 126"/>
                    <a:gd name="T14" fmla="*/ 15 w 35"/>
                    <a:gd name="T15" fmla="*/ 26 h 126"/>
                    <a:gd name="T16" fmla="*/ 15 w 35"/>
                    <a:gd name="T17" fmla="*/ 20 h 126"/>
                    <a:gd name="T18" fmla="*/ 18 w 35"/>
                    <a:gd name="T19" fmla="*/ 15 h 126"/>
                    <a:gd name="T20" fmla="*/ 19 w 35"/>
                    <a:gd name="T21" fmla="*/ 13 h 126"/>
                    <a:gd name="T22" fmla="*/ 19 w 35"/>
                    <a:gd name="T23" fmla="*/ 12 h 126"/>
                    <a:gd name="T24" fmla="*/ 19 w 35"/>
                    <a:gd name="T25" fmla="*/ 9 h 126"/>
                    <a:gd name="T26" fmla="*/ 19 w 35"/>
                    <a:gd name="T27" fmla="*/ 8 h 126"/>
                    <a:gd name="T28" fmla="*/ 20 w 35"/>
                    <a:gd name="T29" fmla="*/ 7 h 126"/>
                    <a:gd name="T30" fmla="*/ 23 w 35"/>
                    <a:gd name="T31" fmla="*/ 7 h 126"/>
                    <a:gd name="T32" fmla="*/ 26 w 35"/>
                    <a:gd name="T33" fmla="*/ 8 h 126"/>
                    <a:gd name="T34" fmla="*/ 29 w 35"/>
                    <a:gd name="T35" fmla="*/ 8 h 126"/>
                    <a:gd name="T36" fmla="*/ 30 w 35"/>
                    <a:gd name="T37" fmla="*/ 5 h 126"/>
                    <a:gd name="T38" fmla="*/ 32 w 35"/>
                    <a:gd name="T39" fmla="*/ 0 h 126"/>
                    <a:gd name="T40" fmla="*/ 34 w 35"/>
                    <a:gd name="T41" fmla="*/ 2 h 126"/>
                    <a:gd name="T42" fmla="*/ 35 w 35"/>
                    <a:gd name="T43" fmla="*/ 5 h 126"/>
                    <a:gd name="T44" fmla="*/ 35 w 35"/>
                    <a:gd name="T45" fmla="*/ 9 h 126"/>
                    <a:gd name="T46" fmla="*/ 35 w 35"/>
                    <a:gd name="T47" fmla="*/ 15 h 126"/>
                    <a:gd name="T48" fmla="*/ 35 w 35"/>
                    <a:gd name="T49" fmla="*/ 25 h 126"/>
                    <a:gd name="T50" fmla="*/ 34 w 35"/>
                    <a:gd name="T51" fmla="*/ 30 h 126"/>
                    <a:gd name="T52" fmla="*/ 34 w 35"/>
                    <a:gd name="T53" fmla="*/ 34 h 126"/>
                    <a:gd name="T54" fmla="*/ 32 w 35"/>
                    <a:gd name="T55" fmla="*/ 31 h 126"/>
                    <a:gd name="T56" fmla="*/ 31 w 35"/>
                    <a:gd name="T57" fmla="*/ 29 h 126"/>
                    <a:gd name="T58" fmla="*/ 25 w 35"/>
                    <a:gd name="T59" fmla="*/ 26 h 126"/>
                    <a:gd name="T60" fmla="*/ 23 w 35"/>
                    <a:gd name="T61" fmla="*/ 26 h 126"/>
                    <a:gd name="T62" fmla="*/ 21 w 35"/>
                    <a:gd name="T63" fmla="*/ 27 h 126"/>
                    <a:gd name="T64" fmla="*/ 19 w 35"/>
                    <a:gd name="T65" fmla="*/ 34 h 126"/>
                    <a:gd name="T66" fmla="*/ 18 w 35"/>
                    <a:gd name="T67" fmla="*/ 37 h 126"/>
                    <a:gd name="T68" fmla="*/ 18 w 35"/>
                    <a:gd name="T69" fmla="*/ 43 h 126"/>
                    <a:gd name="T70" fmla="*/ 19 w 35"/>
                    <a:gd name="T71" fmla="*/ 47 h 126"/>
                    <a:gd name="T72" fmla="*/ 19 w 35"/>
                    <a:gd name="T73" fmla="*/ 48 h 126"/>
                    <a:gd name="T74" fmla="*/ 21 w 35"/>
                    <a:gd name="T75" fmla="*/ 50 h 126"/>
                    <a:gd name="T76" fmla="*/ 24 w 35"/>
                    <a:gd name="T77" fmla="*/ 50 h 126"/>
                    <a:gd name="T78" fmla="*/ 25 w 35"/>
                    <a:gd name="T79" fmla="*/ 50 h 126"/>
                    <a:gd name="T80" fmla="*/ 25 w 35"/>
                    <a:gd name="T81" fmla="*/ 51 h 126"/>
                    <a:gd name="T82" fmla="*/ 24 w 35"/>
                    <a:gd name="T83" fmla="*/ 53 h 126"/>
                    <a:gd name="T84" fmla="*/ 20 w 35"/>
                    <a:gd name="T85" fmla="*/ 57 h 126"/>
                    <a:gd name="T86" fmla="*/ 19 w 35"/>
                    <a:gd name="T87" fmla="*/ 61 h 126"/>
                    <a:gd name="T88" fmla="*/ 19 w 35"/>
                    <a:gd name="T89" fmla="*/ 63 h 126"/>
                    <a:gd name="T90" fmla="*/ 21 w 35"/>
                    <a:gd name="T91" fmla="*/ 64 h 126"/>
                    <a:gd name="T92" fmla="*/ 25 w 35"/>
                    <a:gd name="T93" fmla="*/ 63 h 126"/>
                    <a:gd name="T94" fmla="*/ 30 w 35"/>
                    <a:gd name="T95" fmla="*/ 61 h 126"/>
                    <a:gd name="T96" fmla="*/ 34 w 35"/>
                    <a:gd name="T97" fmla="*/ 59 h 126"/>
                    <a:gd name="T98" fmla="*/ 34 w 35"/>
                    <a:gd name="T99" fmla="*/ 64 h 126"/>
                    <a:gd name="T100" fmla="*/ 34 w 35"/>
                    <a:gd name="T101" fmla="*/ 68 h 126"/>
                    <a:gd name="T102" fmla="*/ 34 w 35"/>
                    <a:gd name="T103" fmla="*/ 72 h 126"/>
                    <a:gd name="T104" fmla="*/ 32 w 35"/>
                    <a:gd name="T105" fmla="*/ 82 h 126"/>
                    <a:gd name="T106" fmla="*/ 30 w 35"/>
                    <a:gd name="T107" fmla="*/ 90 h 126"/>
                    <a:gd name="T108" fmla="*/ 27 w 35"/>
                    <a:gd name="T109" fmla="*/ 99 h 126"/>
                    <a:gd name="T110" fmla="*/ 27 w 35"/>
                    <a:gd name="T111" fmla="*/ 109 h 126"/>
                    <a:gd name="T112" fmla="*/ 25 w 35"/>
                    <a:gd name="T113" fmla="*/ 118 h 126"/>
                    <a:gd name="T114" fmla="*/ 23 w 35"/>
                    <a:gd name="T115" fmla="*/ 126 h 126"/>
                    <a:gd name="T116" fmla="*/ 0 w 35"/>
                    <a:gd name="T117" fmla="*/ 69 h 126"/>
                    <a:gd name="T118" fmla="*/ 0 w 35"/>
                    <a:gd name="T119" fmla="*/ 69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35" h="126">
                      <a:moveTo>
                        <a:pt x="0" y="69"/>
                      </a:moveTo>
                      <a:lnTo>
                        <a:pt x="3" y="67"/>
                      </a:lnTo>
                      <a:lnTo>
                        <a:pt x="5" y="63"/>
                      </a:lnTo>
                      <a:lnTo>
                        <a:pt x="7" y="59"/>
                      </a:lnTo>
                      <a:lnTo>
                        <a:pt x="5" y="57"/>
                      </a:lnTo>
                      <a:lnTo>
                        <a:pt x="9" y="50"/>
                      </a:lnTo>
                      <a:lnTo>
                        <a:pt x="11" y="42"/>
                      </a:lnTo>
                      <a:lnTo>
                        <a:pt x="15" y="26"/>
                      </a:lnTo>
                      <a:lnTo>
                        <a:pt x="15" y="20"/>
                      </a:lnTo>
                      <a:lnTo>
                        <a:pt x="18" y="15"/>
                      </a:lnTo>
                      <a:lnTo>
                        <a:pt x="19" y="13"/>
                      </a:lnTo>
                      <a:lnTo>
                        <a:pt x="19" y="12"/>
                      </a:lnTo>
                      <a:lnTo>
                        <a:pt x="19" y="9"/>
                      </a:lnTo>
                      <a:lnTo>
                        <a:pt x="19" y="8"/>
                      </a:lnTo>
                      <a:lnTo>
                        <a:pt x="20" y="7"/>
                      </a:lnTo>
                      <a:lnTo>
                        <a:pt x="23" y="7"/>
                      </a:lnTo>
                      <a:lnTo>
                        <a:pt x="26" y="8"/>
                      </a:lnTo>
                      <a:lnTo>
                        <a:pt x="29" y="8"/>
                      </a:lnTo>
                      <a:lnTo>
                        <a:pt x="30" y="5"/>
                      </a:lnTo>
                      <a:lnTo>
                        <a:pt x="32" y="0"/>
                      </a:lnTo>
                      <a:lnTo>
                        <a:pt x="34" y="2"/>
                      </a:lnTo>
                      <a:lnTo>
                        <a:pt x="35" y="5"/>
                      </a:lnTo>
                      <a:lnTo>
                        <a:pt x="35" y="9"/>
                      </a:lnTo>
                      <a:lnTo>
                        <a:pt x="35" y="15"/>
                      </a:lnTo>
                      <a:lnTo>
                        <a:pt x="35" y="25"/>
                      </a:lnTo>
                      <a:lnTo>
                        <a:pt x="34" y="30"/>
                      </a:lnTo>
                      <a:lnTo>
                        <a:pt x="34" y="34"/>
                      </a:lnTo>
                      <a:lnTo>
                        <a:pt x="32" y="31"/>
                      </a:lnTo>
                      <a:lnTo>
                        <a:pt x="31" y="29"/>
                      </a:lnTo>
                      <a:lnTo>
                        <a:pt x="25" y="26"/>
                      </a:lnTo>
                      <a:lnTo>
                        <a:pt x="23" y="26"/>
                      </a:lnTo>
                      <a:lnTo>
                        <a:pt x="21" y="27"/>
                      </a:lnTo>
                      <a:lnTo>
                        <a:pt x="19" y="34"/>
                      </a:lnTo>
                      <a:lnTo>
                        <a:pt x="18" y="37"/>
                      </a:lnTo>
                      <a:lnTo>
                        <a:pt x="18" y="43"/>
                      </a:lnTo>
                      <a:lnTo>
                        <a:pt x="19" y="47"/>
                      </a:lnTo>
                      <a:lnTo>
                        <a:pt x="19" y="48"/>
                      </a:lnTo>
                      <a:lnTo>
                        <a:pt x="21" y="50"/>
                      </a:lnTo>
                      <a:lnTo>
                        <a:pt x="24" y="50"/>
                      </a:lnTo>
                      <a:lnTo>
                        <a:pt x="25" y="50"/>
                      </a:lnTo>
                      <a:lnTo>
                        <a:pt x="25" y="51"/>
                      </a:lnTo>
                      <a:lnTo>
                        <a:pt x="24" y="53"/>
                      </a:lnTo>
                      <a:lnTo>
                        <a:pt x="20" y="57"/>
                      </a:lnTo>
                      <a:lnTo>
                        <a:pt x="19" y="61"/>
                      </a:lnTo>
                      <a:lnTo>
                        <a:pt x="19" y="63"/>
                      </a:lnTo>
                      <a:lnTo>
                        <a:pt x="21" y="64"/>
                      </a:lnTo>
                      <a:lnTo>
                        <a:pt x="25" y="63"/>
                      </a:lnTo>
                      <a:lnTo>
                        <a:pt x="30" y="61"/>
                      </a:lnTo>
                      <a:lnTo>
                        <a:pt x="34" y="59"/>
                      </a:lnTo>
                      <a:lnTo>
                        <a:pt x="34" y="64"/>
                      </a:lnTo>
                      <a:lnTo>
                        <a:pt x="34" y="68"/>
                      </a:lnTo>
                      <a:lnTo>
                        <a:pt x="34" y="72"/>
                      </a:lnTo>
                      <a:lnTo>
                        <a:pt x="32" y="82"/>
                      </a:lnTo>
                      <a:lnTo>
                        <a:pt x="30" y="90"/>
                      </a:lnTo>
                      <a:lnTo>
                        <a:pt x="27" y="99"/>
                      </a:lnTo>
                      <a:lnTo>
                        <a:pt x="27" y="109"/>
                      </a:lnTo>
                      <a:lnTo>
                        <a:pt x="25" y="118"/>
                      </a:lnTo>
                      <a:lnTo>
                        <a:pt x="23" y="126"/>
                      </a:lnTo>
                      <a:lnTo>
                        <a:pt x="0" y="69"/>
                      </a:lnTo>
                      <a:lnTo>
                        <a:pt x="0" y="6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7" name="Freeform 1640">
                  <a:extLst>
                    <a:ext uri="{FF2B5EF4-FFF2-40B4-BE49-F238E27FC236}">
                      <a16:creationId xmlns:a16="http://schemas.microsoft.com/office/drawing/2014/main" id="{DF772940-218F-45EB-84F4-1E7CDA8CDF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7822" y="6203565"/>
                  <a:ext cx="194752" cy="230732"/>
                </a:xfrm>
                <a:custGeom>
                  <a:avLst/>
                  <a:gdLst>
                    <a:gd name="T0" fmla="*/ 9 w 175"/>
                    <a:gd name="T1" fmla="*/ 64 h 173"/>
                    <a:gd name="T2" fmla="*/ 9 w 175"/>
                    <a:gd name="T3" fmla="*/ 58 h 173"/>
                    <a:gd name="T4" fmla="*/ 21 w 175"/>
                    <a:gd name="T5" fmla="*/ 44 h 173"/>
                    <a:gd name="T6" fmla="*/ 26 w 175"/>
                    <a:gd name="T7" fmla="*/ 33 h 173"/>
                    <a:gd name="T8" fmla="*/ 35 w 175"/>
                    <a:gd name="T9" fmla="*/ 27 h 173"/>
                    <a:gd name="T10" fmla="*/ 62 w 175"/>
                    <a:gd name="T11" fmla="*/ 18 h 173"/>
                    <a:gd name="T12" fmla="*/ 73 w 175"/>
                    <a:gd name="T13" fmla="*/ 13 h 173"/>
                    <a:gd name="T14" fmla="*/ 86 w 175"/>
                    <a:gd name="T15" fmla="*/ 12 h 173"/>
                    <a:gd name="T16" fmla="*/ 109 w 175"/>
                    <a:gd name="T17" fmla="*/ 6 h 173"/>
                    <a:gd name="T18" fmla="*/ 125 w 175"/>
                    <a:gd name="T19" fmla="*/ 11 h 173"/>
                    <a:gd name="T20" fmla="*/ 142 w 175"/>
                    <a:gd name="T21" fmla="*/ 15 h 173"/>
                    <a:gd name="T22" fmla="*/ 163 w 175"/>
                    <a:gd name="T23" fmla="*/ 10 h 173"/>
                    <a:gd name="T24" fmla="*/ 164 w 175"/>
                    <a:gd name="T25" fmla="*/ 0 h 173"/>
                    <a:gd name="T26" fmla="*/ 175 w 175"/>
                    <a:gd name="T27" fmla="*/ 11 h 173"/>
                    <a:gd name="T28" fmla="*/ 166 w 175"/>
                    <a:gd name="T29" fmla="*/ 28 h 173"/>
                    <a:gd name="T30" fmla="*/ 144 w 175"/>
                    <a:gd name="T31" fmla="*/ 27 h 173"/>
                    <a:gd name="T32" fmla="*/ 131 w 175"/>
                    <a:gd name="T33" fmla="*/ 26 h 173"/>
                    <a:gd name="T34" fmla="*/ 117 w 175"/>
                    <a:gd name="T35" fmla="*/ 26 h 173"/>
                    <a:gd name="T36" fmla="*/ 101 w 175"/>
                    <a:gd name="T37" fmla="*/ 31 h 173"/>
                    <a:gd name="T38" fmla="*/ 102 w 175"/>
                    <a:gd name="T39" fmla="*/ 37 h 173"/>
                    <a:gd name="T40" fmla="*/ 104 w 175"/>
                    <a:gd name="T41" fmla="*/ 43 h 173"/>
                    <a:gd name="T42" fmla="*/ 116 w 175"/>
                    <a:gd name="T43" fmla="*/ 49 h 173"/>
                    <a:gd name="T44" fmla="*/ 104 w 175"/>
                    <a:gd name="T45" fmla="*/ 44 h 173"/>
                    <a:gd name="T46" fmla="*/ 105 w 175"/>
                    <a:gd name="T47" fmla="*/ 53 h 173"/>
                    <a:gd name="T48" fmla="*/ 94 w 175"/>
                    <a:gd name="T49" fmla="*/ 48 h 173"/>
                    <a:gd name="T50" fmla="*/ 99 w 175"/>
                    <a:gd name="T51" fmla="*/ 58 h 173"/>
                    <a:gd name="T52" fmla="*/ 86 w 175"/>
                    <a:gd name="T53" fmla="*/ 48 h 173"/>
                    <a:gd name="T54" fmla="*/ 78 w 175"/>
                    <a:gd name="T55" fmla="*/ 37 h 173"/>
                    <a:gd name="T56" fmla="*/ 72 w 175"/>
                    <a:gd name="T57" fmla="*/ 55 h 173"/>
                    <a:gd name="T58" fmla="*/ 89 w 175"/>
                    <a:gd name="T59" fmla="*/ 80 h 173"/>
                    <a:gd name="T60" fmla="*/ 86 w 175"/>
                    <a:gd name="T61" fmla="*/ 80 h 173"/>
                    <a:gd name="T62" fmla="*/ 80 w 175"/>
                    <a:gd name="T63" fmla="*/ 87 h 173"/>
                    <a:gd name="T64" fmla="*/ 74 w 175"/>
                    <a:gd name="T65" fmla="*/ 93 h 173"/>
                    <a:gd name="T66" fmla="*/ 88 w 175"/>
                    <a:gd name="T67" fmla="*/ 101 h 173"/>
                    <a:gd name="T68" fmla="*/ 91 w 175"/>
                    <a:gd name="T69" fmla="*/ 103 h 173"/>
                    <a:gd name="T70" fmla="*/ 112 w 175"/>
                    <a:gd name="T71" fmla="*/ 115 h 173"/>
                    <a:gd name="T72" fmla="*/ 112 w 175"/>
                    <a:gd name="T73" fmla="*/ 134 h 173"/>
                    <a:gd name="T74" fmla="*/ 91 w 175"/>
                    <a:gd name="T75" fmla="*/ 123 h 173"/>
                    <a:gd name="T76" fmla="*/ 88 w 175"/>
                    <a:gd name="T77" fmla="*/ 128 h 173"/>
                    <a:gd name="T78" fmla="*/ 93 w 175"/>
                    <a:gd name="T79" fmla="*/ 136 h 173"/>
                    <a:gd name="T80" fmla="*/ 97 w 175"/>
                    <a:gd name="T81" fmla="*/ 141 h 173"/>
                    <a:gd name="T82" fmla="*/ 89 w 175"/>
                    <a:gd name="T83" fmla="*/ 144 h 173"/>
                    <a:gd name="T84" fmla="*/ 78 w 175"/>
                    <a:gd name="T85" fmla="*/ 136 h 173"/>
                    <a:gd name="T86" fmla="*/ 88 w 175"/>
                    <a:gd name="T87" fmla="*/ 160 h 173"/>
                    <a:gd name="T88" fmla="*/ 91 w 175"/>
                    <a:gd name="T89" fmla="*/ 173 h 173"/>
                    <a:gd name="T90" fmla="*/ 79 w 175"/>
                    <a:gd name="T91" fmla="*/ 161 h 173"/>
                    <a:gd name="T92" fmla="*/ 70 w 175"/>
                    <a:gd name="T93" fmla="*/ 171 h 173"/>
                    <a:gd name="T94" fmla="*/ 62 w 175"/>
                    <a:gd name="T95" fmla="*/ 155 h 173"/>
                    <a:gd name="T96" fmla="*/ 52 w 175"/>
                    <a:gd name="T97" fmla="*/ 160 h 173"/>
                    <a:gd name="T98" fmla="*/ 48 w 175"/>
                    <a:gd name="T99" fmla="*/ 140 h 173"/>
                    <a:gd name="T100" fmla="*/ 35 w 175"/>
                    <a:gd name="T101" fmla="*/ 124 h 173"/>
                    <a:gd name="T102" fmla="*/ 46 w 175"/>
                    <a:gd name="T103" fmla="*/ 115 h 173"/>
                    <a:gd name="T104" fmla="*/ 57 w 175"/>
                    <a:gd name="T105" fmla="*/ 112 h 173"/>
                    <a:gd name="T106" fmla="*/ 79 w 175"/>
                    <a:gd name="T107" fmla="*/ 123 h 173"/>
                    <a:gd name="T108" fmla="*/ 89 w 175"/>
                    <a:gd name="T109" fmla="*/ 117 h 173"/>
                    <a:gd name="T110" fmla="*/ 75 w 175"/>
                    <a:gd name="T111" fmla="*/ 110 h 173"/>
                    <a:gd name="T112" fmla="*/ 62 w 175"/>
                    <a:gd name="T113" fmla="*/ 110 h 173"/>
                    <a:gd name="T114" fmla="*/ 41 w 175"/>
                    <a:gd name="T115" fmla="*/ 110 h 173"/>
                    <a:gd name="T116" fmla="*/ 27 w 175"/>
                    <a:gd name="T117" fmla="*/ 99 h 173"/>
                    <a:gd name="T118" fmla="*/ 22 w 175"/>
                    <a:gd name="T119" fmla="*/ 91 h 173"/>
                    <a:gd name="T120" fmla="*/ 31 w 175"/>
                    <a:gd name="T121" fmla="*/ 87 h 173"/>
                    <a:gd name="T122" fmla="*/ 19 w 175"/>
                    <a:gd name="T123" fmla="*/ 86 h 173"/>
                    <a:gd name="T124" fmla="*/ 5 w 175"/>
                    <a:gd name="T125" fmla="*/ 71 h 1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75" h="173">
                      <a:moveTo>
                        <a:pt x="0" y="66"/>
                      </a:moveTo>
                      <a:lnTo>
                        <a:pt x="4" y="67"/>
                      </a:lnTo>
                      <a:lnTo>
                        <a:pt x="8" y="66"/>
                      </a:lnTo>
                      <a:lnTo>
                        <a:pt x="9" y="65"/>
                      </a:lnTo>
                      <a:lnTo>
                        <a:pt x="9" y="64"/>
                      </a:lnTo>
                      <a:lnTo>
                        <a:pt x="9" y="63"/>
                      </a:lnTo>
                      <a:lnTo>
                        <a:pt x="9" y="63"/>
                      </a:lnTo>
                      <a:lnTo>
                        <a:pt x="11" y="63"/>
                      </a:lnTo>
                      <a:lnTo>
                        <a:pt x="10" y="59"/>
                      </a:lnTo>
                      <a:lnTo>
                        <a:pt x="9" y="58"/>
                      </a:lnTo>
                      <a:lnTo>
                        <a:pt x="10" y="56"/>
                      </a:lnTo>
                      <a:lnTo>
                        <a:pt x="13" y="54"/>
                      </a:lnTo>
                      <a:lnTo>
                        <a:pt x="16" y="51"/>
                      </a:lnTo>
                      <a:lnTo>
                        <a:pt x="20" y="47"/>
                      </a:lnTo>
                      <a:lnTo>
                        <a:pt x="21" y="44"/>
                      </a:lnTo>
                      <a:lnTo>
                        <a:pt x="22" y="42"/>
                      </a:lnTo>
                      <a:lnTo>
                        <a:pt x="24" y="40"/>
                      </a:lnTo>
                      <a:lnTo>
                        <a:pt x="26" y="38"/>
                      </a:lnTo>
                      <a:lnTo>
                        <a:pt x="27" y="35"/>
                      </a:lnTo>
                      <a:lnTo>
                        <a:pt x="26" y="33"/>
                      </a:lnTo>
                      <a:lnTo>
                        <a:pt x="25" y="29"/>
                      </a:lnTo>
                      <a:lnTo>
                        <a:pt x="25" y="27"/>
                      </a:lnTo>
                      <a:lnTo>
                        <a:pt x="26" y="28"/>
                      </a:lnTo>
                      <a:lnTo>
                        <a:pt x="29" y="27"/>
                      </a:lnTo>
                      <a:lnTo>
                        <a:pt x="35" y="27"/>
                      </a:lnTo>
                      <a:lnTo>
                        <a:pt x="40" y="26"/>
                      </a:lnTo>
                      <a:lnTo>
                        <a:pt x="45" y="24"/>
                      </a:lnTo>
                      <a:lnTo>
                        <a:pt x="54" y="18"/>
                      </a:lnTo>
                      <a:lnTo>
                        <a:pt x="58" y="18"/>
                      </a:lnTo>
                      <a:lnTo>
                        <a:pt x="62" y="18"/>
                      </a:lnTo>
                      <a:lnTo>
                        <a:pt x="66" y="18"/>
                      </a:lnTo>
                      <a:lnTo>
                        <a:pt x="69" y="17"/>
                      </a:lnTo>
                      <a:lnTo>
                        <a:pt x="70" y="16"/>
                      </a:lnTo>
                      <a:lnTo>
                        <a:pt x="72" y="15"/>
                      </a:lnTo>
                      <a:lnTo>
                        <a:pt x="73" y="13"/>
                      </a:lnTo>
                      <a:lnTo>
                        <a:pt x="75" y="12"/>
                      </a:lnTo>
                      <a:lnTo>
                        <a:pt x="79" y="13"/>
                      </a:lnTo>
                      <a:lnTo>
                        <a:pt x="81" y="15"/>
                      </a:lnTo>
                      <a:lnTo>
                        <a:pt x="84" y="13"/>
                      </a:lnTo>
                      <a:lnTo>
                        <a:pt x="86" y="12"/>
                      </a:lnTo>
                      <a:lnTo>
                        <a:pt x="90" y="12"/>
                      </a:lnTo>
                      <a:lnTo>
                        <a:pt x="96" y="12"/>
                      </a:lnTo>
                      <a:lnTo>
                        <a:pt x="100" y="11"/>
                      </a:lnTo>
                      <a:lnTo>
                        <a:pt x="102" y="10"/>
                      </a:lnTo>
                      <a:lnTo>
                        <a:pt x="109" y="6"/>
                      </a:lnTo>
                      <a:lnTo>
                        <a:pt x="113" y="5"/>
                      </a:lnTo>
                      <a:lnTo>
                        <a:pt x="117" y="5"/>
                      </a:lnTo>
                      <a:lnTo>
                        <a:pt x="120" y="6"/>
                      </a:lnTo>
                      <a:lnTo>
                        <a:pt x="122" y="10"/>
                      </a:lnTo>
                      <a:lnTo>
                        <a:pt x="125" y="11"/>
                      </a:lnTo>
                      <a:lnTo>
                        <a:pt x="127" y="11"/>
                      </a:lnTo>
                      <a:lnTo>
                        <a:pt x="131" y="11"/>
                      </a:lnTo>
                      <a:lnTo>
                        <a:pt x="133" y="12"/>
                      </a:lnTo>
                      <a:lnTo>
                        <a:pt x="139" y="15"/>
                      </a:lnTo>
                      <a:lnTo>
                        <a:pt x="142" y="15"/>
                      </a:lnTo>
                      <a:lnTo>
                        <a:pt x="144" y="13"/>
                      </a:lnTo>
                      <a:lnTo>
                        <a:pt x="150" y="13"/>
                      </a:lnTo>
                      <a:lnTo>
                        <a:pt x="155" y="13"/>
                      </a:lnTo>
                      <a:lnTo>
                        <a:pt x="161" y="12"/>
                      </a:lnTo>
                      <a:lnTo>
                        <a:pt x="163" y="10"/>
                      </a:lnTo>
                      <a:lnTo>
                        <a:pt x="163" y="7"/>
                      </a:lnTo>
                      <a:lnTo>
                        <a:pt x="160" y="2"/>
                      </a:lnTo>
                      <a:lnTo>
                        <a:pt x="160" y="1"/>
                      </a:lnTo>
                      <a:lnTo>
                        <a:pt x="160" y="0"/>
                      </a:lnTo>
                      <a:lnTo>
                        <a:pt x="164" y="0"/>
                      </a:lnTo>
                      <a:lnTo>
                        <a:pt x="168" y="1"/>
                      </a:lnTo>
                      <a:lnTo>
                        <a:pt x="170" y="1"/>
                      </a:lnTo>
                      <a:lnTo>
                        <a:pt x="172" y="4"/>
                      </a:lnTo>
                      <a:lnTo>
                        <a:pt x="174" y="6"/>
                      </a:lnTo>
                      <a:lnTo>
                        <a:pt x="175" y="11"/>
                      </a:lnTo>
                      <a:lnTo>
                        <a:pt x="170" y="13"/>
                      </a:lnTo>
                      <a:lnTo>
                        <a:pt x="169" y="16"/>
                      </a:lnTo>
                      <a:lnTo>
                        <a:pt x="169" y="18"/>
                      </a:lnTo>
                      <a:lnTo>
                        <a:pt x="169" y="22"/>
                      </a:lnTo>
                      <a:lnTo>
                        <a:pt x="166" y="28"/>
                      </a:lnTo>
                      <a:lnTo>
                        <a:pt x="160" y="32"/>
                      </a:lnTo>
                      <a:lnTo>
                        <a:pt x="160" y="31"/>
                      </a:lnTo>
                      <a:lnTo>
                        <a:pt x="158" y="29"/>
                      </a:lnTo>
                      <a:lnTo>
                        <a:pt x="152" y="28"/>
                      </a:lnTo>
                      <a:lnTo>
                        <a:pt x="144" y="27"/>
                      </a:lnTo>
                      <a:lnTo>
                        <a:pt x="141" y="26"/>
                      </a:lnTo>
                      <a:lnTo>
                        <a:pt x="139" y="26"/>
                      </a:lnTo>
                      <a:lnTo>
                        <a:pt x="136" y="24"/>
                      </a:lnTo>
                      <a:lnTo>
                        <a:pt x="133" y="24"/>
                      </a:lnTo>
                      <a:lnTo>
                        <a:pt x="131" y="26"/>
                      </a:lnTo>
                      <a:lnTo>
                        <a:pt x="127" y="28"/>
                      </a:lnTo>
                      <a:lnTo>
                        <a:pt x="125" y="28"/>
                      </a:lnTo>
                      <a:lnTo>
                        <a:pt x="122" y="27"/>
                      </a:lnTo>
                      <a:lnTo>
                        <a:pt x="120" y="26"/>
                      </a:lnTo>
                      <a:lnTo>
                        <a:pt x="117" y="26"/>
                      </a:lnTo>
                      <a:lnTo>
                        <a:pt x="113" y="28"/>
                      </a:lnTo>
                      <a:lnTo>
                        <a:pt x="111" y="31"/>
                      </a:lnTo>
                      <a:lnTo>
                        <a:pt x="109" y="32"/>
                      </a:lnTo>
                      <a:lnTo>
                        <a:pt x="104" y="32"/>
                      </a:lnTo>
                      <a:lnTo>
                        <a:pt x="101" y="31"/>
                      </a:lnTo>
                      <a:lnTo>
                        <a:pt x="100" y="32"/>
                      </a:lnTo>
                      <a:lnTo>
                        <a:pt x="99" y="33"/>
                      </a:lnTo>
                      <a:lnTo>
                        <a:pt x="100" y="35"/>
                      </a:lnTo>
                      <a:lnTo>
                        <a:pt x="101" y="37"/>
                      </a:lnTo>
                      <a:lnTo>
                        <a:pt x="102" y="37"/>
                      </a:lnTo>
                      <a:lnTo>
                        <a:pt x="102" y="38"/>
                      </a:lnTo>
                      <a:lnTo>
                        <a:pt x="102" y="39"/>
                      </a:lnTo>
                      <a:lnTo>
                        <a:pt x="102" y="40"/>
                      </a:lnTo>
                      <a:lnTo>
                        <a:pt x="102" y="42"/>
                      </a:lnTo>
                      <a:lnTo>
                        <a:pt x="104" y="43"/>
                      </a:lnTo>
                      <a:lnTo>
                        <a:pt x="105" y="42"/>
                      </a:lnTo>
                      <a:lnTo>
                        <a:pt x="106" y="42"/>
                      </a:lnTo>
                      <a:lnTo>
                        <a:pt x="109" y="42"/>
                      </a:lnTo>
                      <a:lnTo>
                        <a:pt x="112" y="45"/>
                      </a:lnTo>
                      <a:lnTo>
                        <a:pt x="116" y="49"/>
                      </a:lnTo>
                      <a:lnTo>
                        <a:pt x="117" y="51"/>
                      </a:lnTo>
                      <a:lnTo>
                        <a:pt x="115" y="51"/>
                      </a:lnTo>
                      <a:lnTo>
                        <a:pt x="111" y="49"/>
                      </a:lnTo>
                      <a:lnTo>
                        <a:pt x="107" y="45"/>
                      </a:lnTo>
                      <a:lnTo>
                        <a:pt x="104" y="44"/>
                      </a:lnTo>
                      <a:lnTo>
                        <a:pt x="100" y="44"/>
                      </a:lnTo>
                      <a:lnTo>
                        <a:pt x="100" y="45"/>
                      </a:lnTo>
                      <a:lnTo>
                        <a:pt x="100" y="47"/>
                      </a:lnTo>
                      <a:lnTo>
                        <a:pt x="101" y="49"/>
                      </a:lnTo>
                      <a:lnTo>
                        <a:pt x="105" y="53"/>
                      </a:lnTo>
                      <a:lnTo>
                        <a:pt x="107" y="56"/>
                      </a:lnTo>
                      <a:lnTo>
                        <a:pt x="104" y="56"/>
                      </a:lnTo>
                      <a:lnTo>
                        <a:pt x="100" y="53"/>
                      </a:lnTo>
                      <a:lnTo>
                        <a:pt x="96" y="50"/>
                      </a:lnTo>
                      <a:lnTo>
                        <a:pt x="94" y="48"/>
                      </a:lnTo>
                      <a:lnTo>
                        <a:pt x="91" y="48"/>
                      </a:lnTo>
                      <a:lnTo>
                        <a:pt x="90" y="48"/>
                      </a:lnTo>
                      <a:lnTo>
                        <a:pt x="91" y="51"/>
                      </a:lnTo>
                      <a:lnTo>
                        <a:pt x="95" y="55"/>
                      </a:lnTo>
                      <a:lnTo>
                        <a:pt x="99" y="58"/>
                      </a:lnTo>
                      <a:lnTo>
                        <a:pt x="95" y="59"/>
                      </a:lnTo>
                      <a:lnTo>
                        <a:pt x="93" y="58"/>
                      </a:lnTo>
                      <a:lnTo>
                        <a:pt x="90" y="54"/>
                      </a:lnTo>
                      <a:lnTo>
                        <a:pt x="89" y="50"/>
                      </a:lnTo>
                      <a:lnTo>
                        <a:pt x="86" y="48"/>
                      </a:lnTo>
                      <a:lnTo>
                        <a:pt x="83" y="45"/>
                      </a:lnTo>
                      <a:lnTo>
                        <a:pt x="79" y="43"/>
                      </a:lnTo>
                      <a:lnTo>
                        <a:pt x="75" y="40"/>
                      </a:lnTo>
                      <a:lnTo>
                        <a:pt x="78" y="39"/>
                      </a:lnTo>
                      <a:lnTo>
                        <a:pt x="78" y="37"/>
                      </a:lnTo>
                      <a:lnTo>
                        <a:pt x="73" y="38"/>
                      </a:lnTo>
                      <a:lnTo>
                        <a:pt x="70" y="40"/>
                      </a:lnTo>
                      <a:lnTo>
                        <a:pt x="69" y="44"/>
                      </a:lnTo>
                      <a:lnTo>
                        <a:pt x="69" y="48"/>
                      </a:lnTo>
                      <a:lnTo>
                        <a:pt x="72" y="55"/>
                      </a:lnTo>
                      <a:lnTo>
                        <a:pt x="75" y="63"/>
                      </a:lnTo>
                      <a:lnTo>
                        <a:pt x="78" y="65"/>
                      </a:lnTo>
                      <a:lnTo>
                        <a:pt x="80" y="67"/>
                      </a:lnTo>
                      <a:lnTo>
                        <a:pt x="86" y="76"/>
                      </a:lnTo>
                      <a:lnTo>
                        <a:pt x="89" y="80"/>
                      </a:lnTo>
                      <a:lnTo>
                        <a:pt x="89" y="82"/>
                      </a:lnTo>
                      <a:lnTo>
                        <a:pt x="88" y="85"/>
                      </a:lnTo>
                      <a:lnTo>
                        <a:pt x="84" y="86"/>
                      </a:lnTo>
                      <a:lnTo>
                        <a:pt x="86" y="83"/>
                      </a:lnTo>
                      <a:lnTo>
                        <a:pt x="86" y="80"/>
                      </a:lnTo>
                      <a:lnTo>
                        <a:pt x="84" y="77"/>
                      </a:lnTo>
                      <a:lnTo>
                        <a:pt x="80" y="77"/>
                      </a:lnTo>
                      <a:lnTo>
                        <a:pt x="78" y="80"/>
                      </a:lnTo>
                      <a:lnTo>
                        <a:pt x="78" y="83"/>
                      </a:lnTo>
                      <a:lnTo>
                        <a:pt x="80" y="87"/>
                      </a:lnTo>
                      <a:lnTo>
                        <a:pt x="84" y="87"/>
                      </a:lnTo>
                      <a:lnTo>
                        <a:pt x="78" y="92"/>
                      </a:lnTo>
                      <a:lnTo>
                        <a:pt x="75" y="93"/>
                      </a:lnTo>
                      <a:lnTo>
                        <a:pt x="72" y="92"/>
                      </a:lnTo>
                      <a:lnTo>
                        <a:pt x="74" y="93"/>
                      </a:lnTo>
                      <a:lnTo>
                        <a:pt x="79" y="96"/>
                      </a:lnTo>
                      <a:lnTo>
                        <a:pt x="83" y="97"/>
                      </a:lnTo>
                      <a:lnTo>
                        <a:pt x="84" y="99"/>
                      </a:lnTo>
                      <a:lnTo>
                        <a:pt x="85" y="101"/>
                      </a:lnTo>
                      <a:lnTo>
                        <a:pt x="88" y="101"/>
                      </a:lnTo>
                      <a:lnTo>
                        <a:pt x="89" y="99"/>
                      </a:lnTo>
                      <a:lnTo>
                        <a:pt x="90" y="101"/>
                      </a:lnTo>
                      <a:lnTo>
                        <a:pt x="90" y="102"/>
                      </a:lnTo>
                      <a:lnTo>
                        <a:pt x="90" y="103"/>
                      </a:lnTo>
                      <a:lnTo>
                        <a:pt x="91" y="103"/>
                      </a:lnTo>
                      <a:lnTo>
                        <a:pt x="94" y="104"/>
                      </a:lnTo>
                      <a:lnTo>
                        <a:pt x="101" y="108"/>
                      </a:lnTo>
                      <a:lnTo>
                        <a:pt x="109" y="112"/>
                      </a:lnTo>
                      <a:lnTo>
                        <a:pt x="111" y="114"/>
                      </a:lnTo>
                      <a:lnTo>
                        <a:pt x="112" y="115"/>
                      </a:lnTo>
                      <a:lnTo>
                        <a:pt x="111" y="122"/>
                      </a:lnTo>
                      <a:lnTo>
                        <a:pt x="112" y="124"/>
                      </a:lnTo>
                      <a:lnTo>
                        <a:pt x="112" y="128"/>
                      </a:lnTo>
                      <a:lnTo>
                        <a:pt x="113" y="130"/>
                      </a:lnTo>
                      <a:lnTo>
                        <a:pt x="112" y="134"/>
                      </a:lnTo>
                      <a:lnTo>
                        <a:pt x="106" y="126"/>
                      </a:lnTo>
                      <a:lnTo>
                        <a:pt x="102" y="124"/>
                      </a:lnTo>
                      <a:lnTo>
                        <a:pt x="97" y="122"/>
                      </a:lnTo>
                      <a:lnTo>
                        <a:pt x="94" y="122"/>
                      </a:lnTo>
                      <a:lnTo>
                        <a:pt x="91" y="123"/>
                      </a:lnTo>
                      <a:lnTo>
                        <a:pt x="88" y="124"/>
                      </a:lnTo>
                      <a:lnTo>
                        <a:pt x="84" y="124"/>
                      </a:lnTo>
                      <a:lnTo>
                        <a:pt x="85" y="126"/>
                      </a:lnTo>
                      <a:lnTo>
                        <a:pt x="86" y="126"/>
                      </a:lnTo>
                      <a:lnTo>
                        <a:pt x="88" y="128"/>
                      </a:lnTo>
                      <a:lnTo>
                        <a:pt x="88" y="129"/>
                      </a:lnTo>
                      <a:lnTo>
                        <a:pt x="89" y="131"/>
                      </a:lnTo>
                      <a:lnTo>
                        <a:pt x="90" y="135"/>
                      </a:lnTo>
                      <a:lnTo>
                        <a:pt x="93" y="136"/>
                      </a:lnTo>
                      <a:lnTo>
                        <a:pt x="93" y="136"/>
                      </a:lnTo>
                      <a:lnTo>
                        <a:pt x="94" y="134"/>
                      </a:lnTo>
                      <a:lnTo>
                        <a:pt x="95" y="135"/>
                      </a:lnTo>
                      <a:lnTo>
                        <a:pt x="96" y="138"/>
                      </a:lnTo>
                      <a:lnTo>
                        <a:pt x="97" y="139"/>
                      </a:lnTo>
                      <a:lnTo>
                        <a:pt x="97" y="141"/>
                      </a:lnTo>
                      <a:lnTo>
                        <a:pt x="96" y="141"/>
                      </a:lnTo>
                      <a:lnTo>
                        <a:pt x="94" y="142"/>
                      </a:lnTo>
                      <a:lnTo>
                        <a:pt x="91" y="144"/>
                      </a:lnTo>
                      <a:lnTo>
                        <a:pt x="90" y="145"/>
                      </a:lnTo>
                      <a:lnTo>
                        <a:pt x="89" y="144"/>
                      </a:lnTo>
                      <a:lnTo>
                        <a:pt x="88" y="142"/>
                      </a:lnTo>
                      <a:lnTo>
                        <a:pt x="88" y="140"/>
                      </a:lnTo>
                      <a:lnTo>
                        <a:pt x="86" y="139"/>
                      </a:lnTo>
                      <a:lnTo>
                        <a:pt x="81" y="138"/>
                      </a:lnTo>
                      <a:lnTo>
                        <a:pt x="78" y="136"/>
                      </a:lnTo>
                      <a:lnTo>
                        <a:pt x="78" y="141"/>
                      </a:lnTo>
                      <a:lnTo>
                        <a:pt x="80" y="145"/>
                      </a:lnTo>
                      <a:lnTo>
                        <a:pt x="83" y="150"/>
                      </a:lnTo>
                      <a:lnTo>
                        <a:pt x="85" y="155"/>
                      </a:lnTo>
                      <a:lnTo>
                        <a:pt x="88" y="160"/>
                      </a:lnTo>
                      <a:lnTo>
                        <a:pt x="88" y="165"/>
                      </a:lnTo>
                      <a:lnTo>
                        <a:pt x="88" y="167"/>
                      </a:lnTo>
                      <a:lnTo>
                        <a:pt x="89" y="169"/>
                      </a:lnTo>
                      <a:lnTo>
                        <a:pt x="91" y="171"/>
                      </a:lnTo>
                      <a:lnTo>
                        <a:pt x="91" y="173"/>
                      </a:lnTo>
                      <a:lnTo>
                        <a:pt x="90" y="172"/>
                      </a:lnTo>
                      <a:lnTo>
                        <a:pt x="86" y="168"/>
                      </a:lnTo>
                      <a:lnTo>
                        <a:pt x="83" y="165"/>
                      </a:lnTo>
                      <a:lnTo>
                        <a:pt x="80" y="163"/>
                      </a:lnTo>
                      <a:lnTo>
                        <a:pt x="79" y="161"/>
                      </a:lnTo>
                      <a:lnTo>
                        <a:pt x="77" y="161"/>
                      </a:lnTo>
                      <a:lnTo>
                        <a:pt x="74" y="163"/>
                      </a:lnTo>
                      <a:lnTo>
                        <a:pt x="73" y="168"/>
                      </a:lnTo>
                      <a:lnTo>
                        <a:pt x="73" y="172"/>
                      </a:lnTo>
                      <a:lnTo>
                        <a:pt x="70" y="171"/>
                      </a:lnTo>
                      <a:lnTo>
                        <a:pt x="68" y="167"/>
                      </a:lnTo>
                      <a:lnTo>
                        <a:pt x="66" y="162"/>
                      </a:lnTo>
                      <a:lnTo>
                        <a:pt x="64" y="158"/>
                      </a:lnTo>
                      <a:lnTo>
                        <a:pt x="62" y="156"/>
                      </a:lnTo>
                      <a:lnTo>
                        <a:pt x="62" y="155"/>
                      </a:lnTo>
                      <a:lnTo>
                        <a:pt x="59" y="154"/>
                      </a:lnTo>
                      <a:lnTo>
                        <a:pt x="58" y="155"/>
                      </a:lnTo>
                      <a:lnTo>
                        <a:pt x="57" y="157"/>
                      </a:lnTo>
                      <a:lnTo>
                        <a:pt x="57" y="162"/>
                      </a:lnTo>
                      <a:lnTo>
                        <a:pt x="52" y="160"/>
                      </a:lnTo>
                      <a:lnTo>
                        <a:pt x="48" y="156"/>
                      </a:lnTo>
                      <a:lnTo>
                        <a:pt x="47" y="150"/>
                      </a:lnTo>
                      <a:lnTo>
                        <a:pt x="48" y="145"/>
                      </a:lnTo>
                      <a:lnTo>
                        <a:pt x="50" y="142"/>
                      </a:lnTo>
                      <a:lnTo>
                        <a:pt x="48" y="140"/>
                      </a:lnTo>
                      <a:lnTo>
                        <a:pt x="43" y="134"/>
                      </a:lnTo>
                      <a:lnTo>
                        <a:pt x="37" y="129"/>
                      </a:lnTo>
                      <a:lnTo>
                        <a:pt x="35" y="126"/>
                      </a:lnTo>
                      <a:lnTo>
                        <a:pt x="32" y="125"/>
                      </a:lnTo>
                      <a:lnTo>
                        <a:pt x="35" y="124"/>
                      </a:lnTo>
                      <a:lnTo>
                        <a:pt x="37" y="122"/>
                      </a:lnTo>
                      <a:lnTo>
                        <a:pt x="40" y="117"/>
                      </a:lnTo>
                      <a:lnTo>
                        <a:pt x="42" y="117"/>
                      </a:lnTo>
                      <a:lnTo>
                        <a:pt x="43" y="117"/>
                      </a:lnTo>
                      <a:lnTo>
                        <a:pt x="46" y="115"/>
                      </a:lnTo>
                      <a:lnTo>
                        <a:pt x="47" y="115"/>
                      </a:lnTo>
                      <a:lnTo>
                        <a:pt x="51" y="112"/>
                      </a:lnTo>
                      <a:lnTo>
                        <a:pt x="52" y="110"/>
                      </a:lnTo>
                      <a:lnTo>
                        <a:pt x="53" y="110"/>
                      </a:lnTo>
                      <a:lnTo>
                        <a:pt x="57" y="112"/>
                      </a:lnTo>
                      <a:lnTo>
                        <a:pt x="61" y="114"/>
                      </a:lnTo>
                      <a:lnTo>
                        <a:pt x="64" y="117"/>
                      </a:lnTo>
                      <a:lnTo>
                        <a:pt x="68" y="117"/>
                      </a:lnTo>
                      <a:lnTo>
                        <a:pt x="74" y="119"/>
                      </a:lnTo>
                      <a:lnTo>
                        <a:pt x="79" y="123"/>
                      </a:lnTo>
                      <a:lnTo>
                        <a:pt x="80" y="123"/>
                      </a:lnTo>
                      <a:lnTo>
                        <a:pt x="83" y="123"/>
                      </a:lnTo>
                      <a:lnTo>
                        <a:pt x="85" y="119"/>
                      </a:lnTo>
                      <a:lnTo>
                        <a:pt x="88" y="118"/>
                      </a:lnTo>
                      <a:lnTo>
                        <a:pt x="89" y="117"/>
                      </a:lnTo>
                      <a:lnTo>
                        <a:pt x="89" y="115"/>
                      </a:lnTo>
                      <a:lnTo>
                        <a:pt x="86" y="115"/>
                      </a:lnTo>
                      <a:lnTo>
                        <a:pt x="81" y="115"/>
                      </a:lnTo>
                      <a:lnTo>
                        <a:pt x="78" y="114"/>
                      </a:lnTo>
                      <a:lnTo>
                        <a:pt x="75" y="110"/>
                      </a:lnTo>
                      <a:lnTo>
                        <a:pt x="74" y="110"/>
                      </a:lnTo>
                      <a:lnTo>
                        <a:pt x="72" y="113"/>
                      </a:lnTo>
                      <a:lnTo>
                        <a:pt x="67" y="107"/>
                      </a:lnTo>
                      <a:lnTo>
                        <a:pt x="66" y="110"/>
                      </a:lnTo>
                      <a:lnTo>
                        <a:pt x="62" y="110"/>
                      </a:lnTo>
                      <a:lnTo>
                        <a:pt x="58" y="109"/>
                      </a:lnTo>
                      <a:lnTo>
                        <a:pt x="54" y="109"/>
                      </a:lnTo>
                      <a:lnTo>
                        <a:pt x="50" y="110"/>
                      </a:lnTo>
                      <a:lnTo>
                        <a:pt x="45" y="112"/>
                      </a:lnTo>
                      <a:lnTo>
                        <a:pt x="41" y="110"/>
                      </a:lnTo>
                      <a:lnTo>
                        <a:pt x="38" y="107"/>
                      </a:lnTo>
                      <a:lnTo>
                        <a:pt x="36" y="109"/>
                      </a:lnTo>
                      <a:lnTo>
                        <a:pt x="34" y="112"/>
                      </a:lnTo>
                      <a:lnTo>
                        <a:pt x="31" y="106"/>
                      </a:lnTo>
                      <a:lnTo>
                        <a:pt x="27" y="99"/>
                      </a:lnTo>
                      <a:lnTo>
                        <a:pt x="25" y="98"/>
                      </a:lnTo>
                      <a:lnTo>
                        <a:pt x="22" y="96"/>
                      </a:lnTo>
                      <a:lnTo>
                        <a:pt x="21" y="93"/>
                      </a:lnTo>
                      <a:lnTo>
                        <a:pt x="21" y="91"/>
                      </a:lnTo>
                      <a:lnTo>
                        <a:pt x="22" y="91"/>
                      </a:lnTo>
                      <a:lnTo>
                        <a:pt x="25" y="91"/>
                      </a:lnTo>
                      <a:lnTo>
                        <a:pt x="30" y="91"/>
                      </a:lnTo>
                      <a:lnTo>
                        <a:pt x="32" y="91"/>
                      </a:lnTo>
                      <a:lnTo>
                        <a:pt x="32" y="90"/>
                      </a:lnTo>
                      <a:lnTo>
                        <a:pt x="31" y="87"/>
                      </a:lnTo>
                      <a:lnTo>
                        <a:pt x="29" y="87"/>
                      </a:lnTo>
                      <a:lnTo>
                        <a:pt x="25" y="86"/>
                      </a:lnTo>
                      <a:lnTo>
                        <a:pt x="22" y="87"/>
                      </a:lnTo>
                      <a:lnTo>
                        <a:pt x="21" y="90"/>
                      </a:lnTo>
                      <a:lnTo>
                        <a:pt x="19" y="86"/>
                      </a:lnTo>
                      <a:lnTo>
                        <a:pt x="16" y="83"/>
                      </a:lnTo>
                      <a:lnTo>
                        <a:pt x="13" y="81"/>
                      </a:lnTo>
                      <a:lnTo>
                        <a:pt x="9" y="79"/>
                      </a:lnTo>
                      <a:lnTo>
                        <a:pt x="6" y="75"/>
                      </a:lnTo>
                      <a:lnTo>
                        <a:pt x="5" y="71"/>
                      </a:lnTo>
                      <a:lnTo>
                        <a:pt x="4" y="69"/>
                      </a:lnTo>
                      <a:lnTo>
                        <a:pt x="0" y="66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8" name="Freeform 1641">
                  <a:extLst>
                    <a:ext uri="{FF2B5EF4-FFF2-40B4-BE49-F238E27FC236}">
                      <a16:creationId xmlns:a16="http://schemas.microsoft.com/office/drawing/2014/main" id="{67C6F332-C230-469B-BEC5-872ABC30FA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0186" y="6267215"/>
                  <a:ext cx="6716" cy="5304"/>
                </a:xfrm>
                <a:custGeom>
                  <a:avLst/>
                  <a:gdLst>
                    <a:gd name="T0" fmla="*/ 0 w 6"/>
                    <a:gd name="T1" fmla="*/ 5 h 5"/>
                    <a:gd name="T2" fmla="*/ 0 w 6"/>
                    <a:gd name="T3" fmla="*/ 2 h 5"/>
                    <a:gd name="T4" fmla="*/ 1 w 6"/>
                    <a:gd name="T5" fmla="*/ 1 h 5"/>
                    <a:gd name="T6" fmla="*/ 4 w 6"/>
                    <a:gd name="T7" fmla="*/ 0 h 5"/>
                    <a:gd name="T8" fmla="*/ 6 w 6"/>
                    <a:gd name="T9" fmla="*/ 1 h 5"/>
                    <a:gd name="T10" fmla="*/ 5 w 6"/>
                    <a:gd name="T11" fmla="*/ 3 h 5"/>
                    <a:gd name="T12" fmla="*/ 4 w 6"/>
                    <a:gd name="T13" fmla="*/ 5 h 5"/>
                    <a:gd name="T14" fmla="*/ 1 w 6"/>
                    <a:gd name="T15" fmla="*/ 5 h 5"/>
                    <a:gd name="T16" fmla="*/ 0 w 6"/>
                    <a:gd name="T1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" h="5">
                      <a:moveTo>
                        <a:pt x="0" y="5"/>
                      </a:moveTo>
                      <a:lnTo>
                        <a:pt x="0" y="2"/>
                      </a:lnTo>
                      <a:lnTo>
                        <a:pt x="1" y="1"/>
                      </a:lnTo>
                      <a:lnTo>
                        <a:pt x="4" y="0"/>
                      </a:lnTo>
                      <a:lnTo>
                        <a:pt x="6" y="1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1" y="5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9" name="Freeform 1642">
                  <a:extLst>
                    <a:ext uri="{FF2B5EF4-FFF2-40B4-BE49-F238E27FC236}">
                      <a16:creationId xmlns:a16="http://schemas.microsoft.com/office/drawing/2014/main" id="{A8E0CF93-342C-4900-9DAE-2EEF477021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82719" y="6413080"/>
                  <a:ext cx="11193" cy="10609"/>
                </a:xfrm>
                <a:custGeom>
                  <a:avLst/>
                  <a:gdLst>
                    <a:gd name="T0" fmla="*/ 2 w 10"/>
                    <a:gd name="T1" fmla="*/ 8 h 8"/>
                    <a:gd name="T2" fmla="*/ 0 w 10"/>
                    <a:gd name="T3" fmla="*/ 5 h 8"/>
                    <a:gd name="T4" fmla="*/ 0 w 10"/>
                    <a:gd name="T5" fmla="*/ 4 h 8"/>
                    <a:gd name="T6" fmla="*/ 3 w 10"/>
                    <a:gd name="T7" fmla="*/ 2 h 8"/>
                    <a:gd name="T8" fmla="*/ 8 w 10"/>
                    <a:gd name="T9" fmla="*/ 0 h 8"/>
                    <a:gd name="T10" fmla="*/ 10 w 10"/>
                    <a:gd name="T11" fmla="*/ 0 h 8"/>
                    <a:gd name="T12" fmla="*/ 8 w 10"/>
                    <a:gd name="T13" fmla="*/ 2 h 8"/>
                    <a:gd name="T14" fmla="*/ 5 w 10"/>
                    <a:gd name="T15" fmla="*/ 3 h 8"/>
                    <a:gd name="T16" fmla="*/ 3 w 10"/>
                    <a:gd name="T17" fmla="*/ 5 h 8"/>
                    <a:gd name="T18" fmla="*/ 2 w 10"/>
                    <a:gd name="T19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0" h="8">
                      <a:moveTo>
                        <a:pt x="2" y="8"/>
                      </a:move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3" y="2"/>
                      </a:lnTo>
                      <a:lnTo>
                        <a:pt x="8" y="0"/>
                      </a:lnTo>
                      <a:lnTo>
                        <a:pt x="10" y="0"/>
                      </a:lnTo>
                      <a:lnTo>
                        <a:pt x="8" y="2"/>
                      </a:lnTo>
                      <a:lnTo>
                        <a:pt x="5" y="3"/>
                      </a:lnTo>
                      <a:lnTo>
                        <a:pt x="3" y="5"/>
                      </a:lnTo>
                      <a:lnTo>
                        <a:pt x="2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0" name="Freeform 1643">
                  <a:extLst>
                    <a:ext uri="{FF2B5EF4-FFF2-40B4-BE49-F238E27FC236}">
                      <a16:creationId xmlns:a16="http://schemas.microsoft.com/office/drawing/2014/main" id="{42B4E7C7-D789-4AD3-8A01-16574706F8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56629" y="6285780"/>
                  <a:ext cx="15670" cy="18565"/>
                </a:xfrm>
                <a:custGeom>
                  <a:avLst/>
                  <a:gdLst>
                    <a:gd name="T0" fmla="*/ 8 w 12"/>
                    <a:gd name="T1" fmla="*/ 11 h 13"/>
                    <a:gd name="T2" fmla="*/ 12 w 12"/>
                    <a:gd name="T3" fmla="*/ 13 h 13"/>
                    <a:gd name="T4" fmla="*/ 7 w 12"/>
                    <a:gd name="T5" fmla="*/ 12 h 13"/>
                    <a:gd name="T6" fmla="*/ 3 w 12"/>
                    <a:gd name="T7" fmla="*/ 8 h 13"/>
                    <a:gd name="T8" fmla="*/ 0 w 12"/>
                    <a:gd name="T9" fmla="*/ 4 h 13"/>
                    <a:gd name="T10" fmla="*/ 0 w 12"/>
                    <a:gd name="T11" fmla="*/ 0 h 13"/>
                    <a:gd name="T12" fmla="*/ 2 w 12"/>
                    <a:gd name="T13" fmla="*/ 0 h 13"/>
                    <a:gd name="T14" fmla="*/ 5 w 12"/>
                    <a:gd name="T15" fmla="*/ 1 h 13"/>
                    <a:gd name="T16" fmla="*/ 5 w 12"/>
                    <a:gd name="T17" fmla="*/ 4 h 13"/>
                    <a:gd name="T18" fmla="*/ 6 w 12"/>
                    <a:gd name="T19" fmla="*/ 8 h 13"/>
                    <a:gd name="T20" fmla="*/ 6 w 12"/>
                    <a:gd name="T21" fmla="*/ 9 h 13"/>
                    <a:gd name="T22" fmla="*/ 8 w 12"/>
                    <a:gd name="T23" fmla="*/ 11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2" h="13">
                      <a:moveTo>
                        <a:pt x="8" y="11"/>
                      </a:moveTo>
                      <a:lnTo>
                        <a:pt x="12" y="13"/>
                      </a:lnTo>
                      <a:lnTo>
                        <a:pt x="7" y="12"/>
                      </a:lnTo>
                      <a:lnTo>
                        <a:pt x="3" y="8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5" y="1"/>
                      </a:lnTo>
                      <a:lnTo>
                        <a:pt x="5" y="4"/>
                      </a:lnTo>
                      <a:lnTo>
                        <a:pt x="6" y="8"/>
                      </a:lnTo>
                      <a:lnTo>
                        <a:pt x="6" y="9"/>
                      </a:lnTo>
                      <a:lnTo>
                        <a:pt x="8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1" name="Freeform 1644">
                  <a:extLst>
                    <a:ext uri="{FF2B5EF4-FFF2-40B4-BE49-F238E27FC236}">
                      <a16:creationId xmlns:a16="http://schemas.microsoft.com/office/drawing/2014/main" id="{D678B22E-22F1-461E-947E-2847998809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9014" y="6344125"/>
                  <a:ext cx="13431" cy="18565"/>
                </a:xfrm>
                <a:custGeom>
                  <a:avLst/>
                  <a:gdLst>
                    <a:gd name="T0" fmla="*/ 5 w 13"/>
                    <a:gd name="T1" fmla="*/ 2 h 12"/>
                    <a:gd name="T2" fmla="*/ 5 w 13"/>
                    <a:gd name="T3" fmla="*/ 0 h 12"/>
                    <a:gd name="T4" fmla="*/ 7 w 13"/>
                    <a:gd name="T5" fmla="*/ 2 h 12"/>
                    <a:gd name="T6" fmla="*/ 8 w 13"/>
                    <a:gd name="T7" fmla="*/ 6 h 12"/>
                    <a:gd name="T8" fmla="*/ 11 w 13"/>
                    <a:gd name="T9" fmla="*/ 8 h 12"/>
                    <a:gd name="T10" fmla="*/ 13 w 13"/>
                    <a:gd name="T11" fmla="*/ 12 h 12"/>
                    <a:gd name="T12" fmla="*/ 10 w 13"/>
                    <a:gd name="T13" fmla="*/ 12 h 12"/>
                    <a:gd name="T14" fmla="*/ 8 w 13"/>
                    <a:gd name="T15" fmla="*/ 12 h 12"/>
                    <a:gd name="T16" fmla="*/ 5 w 13"/>
                    <a:gd name="T17" fmla="*/ 11 h 12"/>
                    <a:gd name="T18" fmla="*/ 4 w 13"/>
                    <a:gd name="T19" fmla="*/ 8 h 12"/>
                    <a:gd name="T20" fmla="*/ 2 w 13"/>
                    <a:gd name="T21" fmla="*/ 10 h 12"/>
                    <a:gd name="T22" fmla="*/ 0 w 13"/>
                    <a:gd name="T23" fmla="*/ 7 h 12"/>
                    <a:gd name="T24" fmla="*/ 2 w 13"/>
                    <a:gd name="T25" fmla="*/ 6 h 12"/>
                    <a:gd name="T26" fmla="*/ 4 w 13"/>
                    <a:gd name="T27" fmla="*/ 5 h 12"/>
                    <a:gd name="T28" fmla="*/ 5 w 13"/>
                    <a:gd name="T29" fmla="*/ 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3" h="12">
                      <a:moveTo>
                        <a:pt x="5" y="2"/>
                      </a:moveTo>
                      <a:lnTo>
                        <a:pt x="5" y="0"/>
                      </a:lnTo>
                      <a:lnTo>
                        <a:pt x="7" y="2"/>
                      </a:lnTo>
                      <a:lnTo>
                        <a:pt x="8" y="6"/>
                      </a:lnTo>
                      <a:lnTo>
                        <a:pt x="11" y="8"/>
                      </a:lnTo>
                      <a:lnTo>
                        <a:pt x="13" y="12"/>
                      </a:lnTo>
                      <a:lnTo>
                        <a:pt x="10" y="12"/>
                      </a:lnTo>
                      <a:lnTo>
                        <a:pt x="8" y="12"/>
                      </a:lnTo>
                      <a:lnTo>
                        <a:pt x="5" y="11"/>
                      </a:lnTo>
                      <a:lnTo>
                        <a:pt x="4" y="8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2" y="6"/>
                      </a:lnTo>
                      <a:lnTo>
                        <a:pt x="4" y="5"/>
                      </a:lnTo>
                      <a:lnTo>
                        <a:pt x="5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2" name="Freeform 1645">
                  <a:extLst>
                    <a:ext uri="{FF2B5EF4-FFF2-40B4-BE49-F238E27FC236}">
                      <a16:creationId xmlns:a16="http://schemas.microsoft.com/office/drawing/2014/main" id="{59736D39-0334-48CF-815A-9DAFED78AC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5730" y="6328213"/>
                  <a:ext cx="4477" cy="10609"/>
                </a:xfrm>
                <a:custGeom>
                  <a:avLst/>
                  <a:gdLst>
                    <a:gd name="T0" fmla="*/ 2 w 3"/>
                    <a:gd name="T1" fmla="*/ 0 h 7"/>
                    <a:gd name="T2" fmla="*/ 3 w 3"/>
                    <a:gd name="T3" fmla="*/ 2 h 7"/>
                    <a:gd name="T4" fmla="*/ 3 w 3"/>
                    <a:gd name="T5" fmla="*/ 4 h 7"/>
                    <a:gd name="T6" fmla="*/ 2 w 3"/>
                    <a:gd name="T7" fmla="*/ 7 h 7"/>
                    <a:gd name="T8" fmla="*/ 0 w 3"/>
                    <a:gd name="T9" fmla="*/ 7 h 7"/>
                    <a:gd name="T10" fmla="*/ 0 w 3"/>
                    <a:gd name="T11" fmla="*/ 4 h 7"/>
                    <a:gd name="T12" fmla="*/ 0 w 3"/>
                    <a:gd name="T13" fmla="*/ 2 h 7"/>
                    <a:gd name="T14" fmla="*/ 1 w 3"/>
                    <a:gd name="T15" fmla="*/ 0 h 7"/>
                    <a:gd name="T16" fmla="*/ 2 w 3"/>
                    <a:gd name="T17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" h="7">
                      <a:moveTo>
                        <a:pt x="2" y="0"/>
                      </a:moveTo>
                      <a:lnTo>
                        <a:pt x="3" y="2"/>
                      </a:lnTo>
                      <a:lnTo>
                        <a:pt x="3" y="4"/>
                      </a:lnTo>
                      <a:lnTo>
                        <a:pt x="2" y="7"/>
                      </a:lnTo>
                      <a:lnTo>
                        <a:pt x="0" y="7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3" name="Freeform 1646">
                  <a:extLst>
                    <a:ext uri="{FF2B5EF4-FFF2-40B4-BE49-F238E27FC236}">
                      <a16:creationId xmlns:a16="http://schemas.microsoft.com/office/drawing/2014/main" id="{19960691-83E5-473E-BC92-DE9A6A2610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7967" y="6344125"/>
                  <a:ext cx="2240" cy="7957"/>
                </a:xfrm>
                <a:custGeom>
                  <a:avLst/>
                  <a:gdLst>
                    <a:gd name="T0" fmla="*/ 2 w 2"/>
                    <a:gd name="T1" fmla="*/ 6 h 6"/>
                    <a:gd name="T2" fmla="*/ 0 w 2"/>
                    <a:gd name="T3" fmla="*/ 0 h 6"/>
                    <a:gd name="T4" fmla="*/ 2 w 2"/>
                    <a:gd name="T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6">
                      <a:moveTo>
                        <a:pt x="2" y="6"/>
                      </a:moveTo>
                      <a:lnTo>
                        <a:pt x="0" y="0"/>
                      </a:lnTo>
                      <a:lnTo>
                        <a:pt x="2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4" name="Freeform 1647">
                  <a:extLst>
                    <a:ext uri="{FF2B5EF4-FFF2-40B4-BE49-F238E27FC236}">
                      <a16:creationId xmlns:a16="http://schemas.microsoft.com/office/drawing/2014/main" id="{96786B5B-5103-4286-B57F-F1B381AFEFB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90207" y="6370646"/>
                  <a:ext cx="6716" cy="10609"/>
                </a:xfrm>
                <a:custGeom>
                  <a:avLst/>
                  <a:gdLst>
                    <a:gd name="T0" fmla="*/ 6 w 7"/>
                    <a:gd name="T1" fmla="*/ 9 h 9"/>
                    <a:gd name="T2" fmla="*/ 1 w 7"/>
                    <a:gd name="T3" fmla="*/ 5 h 9"/>
                    <a:gd name="T4" fmla="*/ 0 w 7"/>
                    <a:gd name="T5" fmla="*/ 3 h 9"/>
                    <a:gd name="T6" fmla="*/ 0 w 7"/>
                    <a:gd name="T7" fmla="*/ 0 h 9"/>
                    <a:gd name="T8" fmla="*/ 4 w 7"/>
                    <a:gd name="T9" fmla="*/ 1 h 9"/>
                    <a:gd name="T10" fmla="*/ 6 w 7"/>
                    <a:gd name="T11" fmla="*/ 3 h 9"/>
                    <a:gd name="T12" fmla="*/ 7 w 7"/>
                    <a:gd name="T13" fmla="*/ 5 h 9"/>
                    <a:gd name="T14" fmla="*/ 6 w 7"/>
                    <a:gd name="T15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" h="9">
                      <a:moveTo>
                        <a:pt x="6" y="9"/>
                      </a:moveTo>
                      <a:lnTo>
                        <a:pt x="1" y="5"/>
                      </a:ln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4" y="1"/>
                      </a:lnTo>
                      <a:lnTo>
                        <a:pt x="6" y="3"/>
                      </a:lnTo>
                      <a:lnTo>
                        <a:pt x="7" y="5"/>
                      </a:lnTo>
                      <a:lnTo>
                        <a:pt x="6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5" name="Freeform 1648">
                  <a:extLst>
                    <a:ext uri="{FF2B5EF4-FFF2-40B4-BE49-F238E27FC236}">
                      <a16:creationId xmlns:a16="http://schemas.microsoft.com/office/drawing/2014/main" id="{3852DD29-BA33-4B0C-98E4-2C907B637B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59600" y="6434296"/>
                  <a:ext cx="4477" cy="10609"/>
                </a:xfrm>
                <a:custGeom>
                  <a:avLst/>
                  <a:gdLst>
                    <a:gd name="T0" fmla="*/ 1 w 4"/>
                    <a:gd name="T1" fmla="*/ 0 h 8"/>
                    <a:gd name="T2" fmla="*/ 4 w 4"/>
                    <a:gd name="T3" fmla="*/ 5 h 8"/>
                    <a:gd name="T4" fmla="*/ 4 w 4"/>
                    <a:gd name="T5" fmla="*/ 7 h 8"/>
                    <a:gd name="T6" fmla="*/ 1 w 4"/>
                    <a:gd name="T7" fmla="*/ 8 h 8"/>
                    <a:gd name="T8" fmla="*/ 0 w 4"/>
                    <a:gd name="T9" fmla="*/ 4 h 8"/>
                    <a:gd name="T10" fmla="*/ 0 w 4"/>
                    <a:gd name="T11" fmla="*/ 3 h 8"/>
                    <a:gd name="T12" fmla="*/ 1 w 4"/>
                    <a:gd name="T13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8">
                      <a:moveTo>
                        <a:pt x="1" y="0"/>
                      </a:moveTo>
                      <a:lnTo>
                        <a:pt x="4" y="5"/>
                      </a:lnTo>
                      <a:lnTo>
                        <a:pt x="4" y="7"/>
                      </a:lnTo>
                      <a:lnTo>
                        <a:pt x="1" y="8"/>
                      </a:lnTo>
                      <a:lnTo>
                        <a:pt x="0" y="4"/>
                      </a:lnTo>
                      <a:lnTo>
                        <a:pt x="0" y="3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6" name="Freeform 1649">
                  <a:extLst>
                    <a:ext uri="{FF2B5EF4-FFF2-40B4-BE49-F238E27FC236}">
                      <a16:creationId xmlns:a16="http://schemas.microsoft.com/office/drawing/2014/main" id="{FBADC394-CCAB-42E6-B0C4-A1193AC37A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73031" y="6365341"/>
                  <a:ext cx="4477" cy="5304"/>
                </a:xfrm>
                <a:custGeom>
                  <a:avLst/>
                  <a:gdLst>
                    <a:gd name="T0" fmla="*/ 2 w 4"/>
                    <a:gd name="T1" fmla="*/ 0 h 3"/>
                    <a:gd name="T2" fmla="*/ 4 w 4"/>
                    <a:gd name="T3" fmla="*/ 2 h 3"/>
                    <a:gd name="T4" fmla="*/ 2 w 4"/>
                    <a:gd name="T5" fmla="*/ 3 h 3"/>
                    <a:gd name="T6" fmla="*/ 0 w 4"/>
                    <a:gd name="T7" fmla="*/ 3 h 3"/>
                    <a:gd name="T8" fmla="*/ 1 w 4"/>
                    <a:gd name="T9" fmla="*/ 1 h 3"/>
                    <a:gd name="T10" fmla="*/ 2 w 4"/>
                    <a:gd name="T11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3">
                      <a:moveTo>
                        <a:pt x="2" y="0"/>
                      </a:moveTo>
                      <a:lnTo>
                        <a:pt x="4" y="2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1" y="1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7" name="Freeform 1650">
                  <a:extLst>
                    <a:ext uri="{FF2B5EF4-FFF2-40B4-BE49-F238E27FC236}">
                      <a16:creationId xmlns:a16="http://schemas.microsoft.com/office/drawing/2014/main" id="{E6514F9C-A76A-4A91-A558-D791950D4B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75270" y="6373297"/>
                  <a:ext cx="2240" cy="5304"/>
                </a:xfrm>
                <a:custGeom>
                  <a:avLst/>
                  <a:gdLst>
                    <a:gd name="T0" fmla="*/ 1 w 3"/>
                    <a:gd name="T1" fmla="*/ 4 h 4"/>
                    <a:gd name="T2" fmla="*/ 0 w 3"/>
                    <a:gd name="T3" fmla="*/ 0 h 4"/>
                    <a:gd name="T4" fmla="*/ 3 w 3"/>
                    <a:gd name="T5" fmla="*/ 1 h 4"/>
                    <a:gd name="T6" fmla="*/ 1 w 3"/>
                    <a:gd name="T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4">
                      <a:moveTo>
                        <a:pt x="1" y="4"/>
                      </a:moveTo>
                      <a:lnTo>
                        <a:pt x="0" y="0"/>
                      </a:lnTo>
                      <a:lnTo>
                        <a:pt x="3" y="1"/>
                      </a:lnTo>
                      <a:lnTo>
                        <a:pt x="1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8" name="Freeform 1651">
                  <a:extLst>
                    <a:ext uri="{FF2B5EF4-FFF2-40B4-BE49-F238E27FC236}">
                      <a16:creationId xmlns:a16="http://schemas.microsoft.com/office/drawing/2014/main" id="{A450551E-3886-4612-A273-B4A924D271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57363" y="6320257"/>
                  <a:ext cx="49248" cy="45086"/>
                </a:xfrm>
                <a:custGeom>
                  <a:avLst/>
                  <a:gdLst>
                    <a:gd name="T0" fmla="*/ 19 w 46"/>
                    <a:gd name="T1" fmla="*/ 19 h 34"/>
                    <a:gd name="T2" fmla="*/ 19 w 46"/>
                    <a:gd name="T3" fmla="*/ 16 h 34"/>
                    <a:gd name="T4" fmla="*/ 17 w 46"/>
                    <a:gd name="T5" fmla="*/ 14 h 34"/>
                    <a:gd name="T6" fmla="*/ 13 w 46"/>
                    <a:gd name="T7" fmla="*/ 9 h 34"/>
                    <a:gd name="T8" fmla="*/ 5 w 46"/>
                    <a:gd name="T9" fmla="*/ 5 h 34"/>
                    <a:gd name="T10" fmla="*/ 3 w 46"/>
                    <a:gd name="T11" fmla="*/ 5 h 34"/>
                    <a:gd name="T12" fmla="*/ 0 w 46"/>
                    <a:gd name="T13" fmla="*/ 7 h 34"/>
                    <a:gd name="T14" fmla="*/ 4 w 46"/>
                    <a:gd name="T15" fmla="*/ 3 h 34"/>
                    <a:gd name="T16" fmla="*/ 6 w 46"/>
                    <a:gd name="T17" fmla="*/ 0 h 34"/>
                    <a:gd name="T18" fmla="*/ 9 w 46"/>
                    <a:gd name="T19" fmla="*/ 0 h 34"/>
                    <a:gd name="T20" fmla="*/ 11 w 46"/>
                    <a:gd name="T21" fmla="*/ 0 h 34"/>
                    <a:gd name="T22" fmla="*/ 14 w 46"/>
                    <a:gd name="T23" fmla="*/ 3 h 34"/>
                    <a:gd name="T24" fmla="*/ 17 w 46"/>
                    <a:gd name="T25" fmla="*/ 8 h 34"/>
                    <a:gd name="T26" fmla="*/ 21 w 46"/>
                    <a:gd name="T27" fmla="*/ 9 h 34"/>
                    <a:gd name="T28" fmla="*/ 25 w 46"/>
                    <a:gd name="T29" fmla="*/ 10 h 34"/>
                    <a:gd name="T30" fmla="*/ 29 w 46"/>
                    <a:gd name="T31" fmla="*/ 10 h 34"/>
                    <a:gd name="T32" fmla="*/ 31 w 46"/>
                    <a:gd name="T33" fmla="*/ 11 h 34"/>
                    <a:gd name="T34" fmla="*/ 35 w 46"/>
                    <a:gd name="T35" fmla="*/ 14 h 34"/>
                    <a:gd name="T36" fmla="*/ 36 w 46"/>
                    <a:gd name="T37" fmla="*/ 18 h 34"/>
                    <a:gd name="T38" fmla="*/ 36 w 46"/>
                    <a:gd name="T39" fmla="*/ 21 h 34"/>
                    <a:gd name="T40" fmla="*/ 37 w 46"/>
                    <a:gd name="T41" fmla="*/ 25 h 34"/>
                    <a:gd name="T42" fmla="*/ 40 w 46"/>
                    <a:gd name="T43" fmla="*/ 27 h 34"/>
                    <a:gd name="T44" fmla="*/ 42 w 46"/>
                    <a:gd name="T45" fmla="*/ 27 h 34"/>
                    <a:gd name="T46" fmla="*/ 45 w 46"/>
                    <a:gd name="T47" fmla="*/ 29 h 34"/>
                    <a:gd name="T48" fmla="*/ 46 w 46"/>
                    <a:gd name="T49" fmla="*/ 31 h 34"/>
                    <a:gd name="T50" fmla="*/ 46 w 46"/>
                    <a:gd name="T51" fmla="*/ 34 h 34"/>
                    <a:gd name="T52" fmla="*/ 45 w 46"/>
                    <a:gd name="T53" fmla="*/ 34 h 34"/>
                    <a:gd name="T54" fmla="*/ 41 w 46"/>
                    <a:gd name="T55" fmla="*/ 32 h 34"/>
                    <a:gd name="T56" fmla="*/ 38 w 46"/>
                    <a:gd name="T57" fmla="*/ 31 h 34"/>
                    <a:gd name="T58" fmla="*/ 35 w 46"/>
                    <a:gd name="T59" fmla="*/ 26 h 34"/>
                    <a:gd name="T60" fmla="*/ 33 w 46"/>
                    <a:gd name="T61" fmla="*/ 22 h 34"/>
                    <a:gd name="T62" fmla="*/ 31 w 46"/>
                    <a:gd name="T63" fmla="*/ 21 h 34"/>
                    <a:gd name="T64" fmla="*/ 29 w 46"/>
                    <a:gd name="T65" fmla="*/ 20 h 34"/>
                    <a:gd name="T66" fmla="*/ 25 w 46"/>
                    <a:gd name="T67" fmla="*/ 21 h 34"/>
                    <a:gd name="T68" fmla="*/ 21 w 46"/>
                    <a:gd name="T69" fmla="*/ 20 h 34"/>
                    <a:gd name="T70" fmla="*/ 19 w 46"/>
                    <a:gd name="T71" fmla="*/ 19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46" h="34">
                      <a:moveTo>
                        <a:pt x="19" y="19"/>
                      </a:moveTo>
                      <a:lnTo>
                        <a:pt x="19" y="16"/>
                      </a:lnTo>
                      <a:lnTo>
                        <a:pt x="17" y="14"/>
                      </a:lnTo>
                      <a:lnTo>
                        <a:pt x="13" y="9"/>
                      </a:lnTo>
                      <a:lnTo>
                        <a:pt x="5" y="5"/>
                      </a:lnTo>
                      <a:lnTo>
                        <a:pt x="3" y="5"/>
                      </a:lnTo>
                      <a:lnTo>
                        <a:pt x="0" y="7"/>
                      </a:lnTo>
                      <a:lnTo>
                        <a:pt x="4" y="3"/>
                      </a:lnTo>
                      <a:lnTo>
                        <a:pt x="6" y="0"/>
                      </a:lnTo>
                      <a:lnTo>
                        <a:pt x="9" y="0"/>
                      </a:lnTo>
                      <a:lnTo>
                        <a:pt x="11" y="0"/>
                      </a:lnTo>
                      <a:lnTo>
                        <a:pt x="14" y="3"/>
                      </a:lnTo>
                      <a:lnTo>
                        <a:pt x="17" y="8"/>
                      </a:lnTo>
                      <a:lnTo>
                        <a:pt x="21" y="9"/>
                      </a:lnTo>
                      <a:lnTo>
                        <a:pt x="25" y="10"/>
                      </a:lnTo>
                      <a:lnTo>
                        <a:pt x="29" y="10"/>
                      </a:lnTo>
                      <a:lnTo>
                        <a:pt x="31" y="11"/>
                      </a:lnTo>
                      <a:lnTo>
                        <a:pt x="35" y="14"/>
                      </a:lnTo>
                      <a:lnTo>
                        <a:pt x="36" y="18"/>
                      </a:lnTo>
                      <a:lnTo>
                        <a:pt x="36" y="21"/>
                      </a:lnTo>
                      <a:lnTo>
                        <a:pt x="37" y="25"/>
                      </a:lnTo>
                      <a:lnTo>
                        <a:pt x="40" y="27"/>
                      </a:lnTo>
                      <a:lnTo>
                        <a:pt x="42" y="27"/>
                      </a:lnTo>
                      <a:lnTo>
                        <a:pt x="45" y="29"/>
                      </a:lnTo>
                      <a:lnTo>
                        <a:pt x="46" y="31"/>
                      </a:lnTo>
                      <a:lnTo>
                        <a:pt x="46" y="34"/>
                      </a:lnTo>
                      <a:lnTo>
                        <a:pt x="45" y="34"/>
                      </a:lnTo>
                      <a:lnTo>
                        <a:pt x="41" y="32"/>
                      </a:lnTo>
                      <a:lnTo>
                        <a:pt x="38" y="31"/>
                      </a:lnTo>
                      <a:lnTo>
                        <a:pt x="35" y="26"/>
                      </a:lnTo>
                      <a:lnTo>
                        <a:pt x="33" y="22"/>
                      </a:lnTo>
                      <a:lnTo>
                        <a:pt x="31" y="21"/>
                      </a:lnTo>
                      <a:lnTo>
                        <a:pt x="29" y="20"/>
                      </a:lnTo>
                      <a:lnTo>
                        <a:pt x="25" y="21"/>
                      </a:lnTo>
                      <a:lnTo>
                        <a:pt x="21" y="20"/>
                      </a:lnTo>
                      <a:lnTo>
                        <a:pt x="19" y="1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9" name="Freeform 1652">
                  <a:extLst>
                    <a:ext uri="{FF2B5EF4-FFF2-40B4-BE49-F238E27FC236}">
                      <a16:creationId xmlns:a16="http://schemas.microsoft.com/office/drawing/2014/main" id="{CD9C97E5-56A4-43D0-984B-42518636B8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77508" y="6314952"/>
                  <a:ext cx="2240" cy="5304"/>
                </a:xfrm>
                <a:custGeom>
                  <a:avLst/>
                  <a:gdLst>
                    <a:gd name="T0" fmla="*/ 2 w 2"/>
                    <a:gd name="T1" fmla="*/ 2 h 2"/>
                    <a:gd name="T2" fmla="*/ 0 w 2"/>
                    <a:gd name="T3" fmla="*/ 0 h 2"/>
                    <a:gd name="T4" fmla="*/ 2 w 2"/>
                    <a:gd name="T5" fmla="*/ 0 h 2"/>
                    <a:gd name="T6" fmla="*/ 2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2" y="2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0" name="Freeform 1653">
                  <a:extLst>
                    <a:ext uri="{FF2B5EF4-FFF2-40B4-BE49-F238E27FC236}">
                      <a16:creationId xmlns:a16="http://schemas.microsoft.com/office/drawing/2014/main" id="{E307727B-5F2C-484C-8C84-56F57D576B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81985" y="6466121"/>
                  <a:ext cx="85063" cy="34477"/>
                </a:xfrm>
                <a:custGeom>
                  <a:avLst/>
                  <a:gdLst>
                    <a:gd name="T0" fmla="*/ 18 w 77"/>
                    <a:gd name="T1" fmla="*/ 16 h 26"/>
                    <a:gd name="T2" fmla="*/ 14 w 77"/>
                    <a:gd name="T3" fmla="*/ 16 h 26"/>
                    <a:gd name="T4" fmla="*/ 10 w 77"/>
                    <a:gd name="T5" fmla="*/ 16 h 26"/>
                    <a:gd name="T6" fmla="*/ 5 w 77"/>
                    <a:gd name="T7" fmla="*/ 16 h 26"/>
                    <a:gd name="T8" fmla="*/ 3 w 77"/>
                    <a:gd name="T9" fmla="*/ 15 h 26"/>
                    <a:gd name="T10" fmla="*/ 0 w 77"/>
                    <a:gd name="T11" fmla="*/ 12 h 26"/>
                    <a:gd name="T12" fmla="*/ 0 w 77"/>
                    <a:gd name="T13" fmla="*/ 10 h 26"/>
                    <a:gd name="T14" fmla="*/ 2 w 77"/>
                    <a:gd name="T15" fmla="*/ 5 h 26"/>
                    <a:gd name="T16" fmla="*/ 4 w 77"/>
                    <a:gd name="T17" fmla="*/ 6 h 26"/>
                    <a:gd name="T18" fmla="*/ 5 w 77"/>
                    <a:gd name="T19" fmla="*/ 0 h 26"/>
                    <a:gd name="T20" fmla="*/ 8 w 77"/>
                    <a:gd name="T21" fmla="*/ 3 h 26"/>
                    <a:gd name="T22" fmla="*/ 10 w 77"/>
                    <a:gd name="T23" fmla="*/ 5 h 26"/>
                    <a:gd name="T24" fmla="*/ 14 w 77"/>
                    <a:gd name="T25" fmla="*/ 5 h 26"/>
                    <a:gd name="T26" fmla="*/ 18 w 77"/>
                    <a:gd name="T27" fmla="*/ 3 h 26"/>
                    <a:gd name="T28" fmla="*/ 15 w 77"/>
                    <a:gd name="T29" fmla="*/ 5 h 26"/>
                    <a:gd name="T30" fmla="*/ 16 w 77"/>
                    <a:gd name="T31" fmla="*/ 6 h 26"/>
                    <a:gd name="T32" fmla="*/ 18 w 77"/>
                    <a:gd name="T33" fmla="*/ 7 h 26"/>
                    <a:gd name="T34" fmla="*/ 19 w 77"/>
                    <a:gd name="T35" fmla="*/ 8 h 26"/>
                    <a:gd name="T36" fmla="*/ 21 w 77"/>
                    <a:gd name="T37" fmla="*/ 11 h 26"/>
                    <a:gd name="T38" fmla="*/ 24 w 77"/>
                    <a:gd name="T39" fmla="*/ 11 h 26"/>
                    <a:gd name="T40" fmla="*/ 29 w 77"/>
                    <a:gd name="T41" fmla="*/ 10 h 26"/>
                    <a:gd name="T42" fmla="*/ 36 w 77"/>
                    <a:gd name="T43" fmla="*/ 8 h 26"/>
                    <a:gd name="T44" fmla="*/ 42 w 77"/>
                    <a:gd name="T45" fmla="*/ 10 h 26"/>
                    <a:gd name="T46" fmla="*/ 48 w 77"/>
                    <a:gd name="T47" fmla="*/ 11 h 26"/>
                    <a:gd name="T48" fmla="*/ 55 w 77"/>
                    <a:gd name="T49" fmla="*/ 12 h 26"/>
                    <a:gd name="T50" fmla="*/ 58 w 77"/>
                    <a:gd name="T51" fmla="*/ 12 h 26"/>
                    <a:gd name="T52" fmla="*/ 61 w 77"/>
                    <a:gd name="T53" fmla="*/ 12 h 26"/>
                    <a:gd name="T54" fmla="*/ 61 w 77"/>
                    <a:gd name="T55" fmla="*/ 15 h 26"/>
                    <a:gd name="T56" fmla="*/ 61 w 77"/>
                    <a:gd name="T57" fmla="*/ 17 h 26"/>
                    <a:gd name="T58" fmla="*/ 61 w 77"/>
                    <a:gd name="T59" fmla="*/ 17 h 26"/>
                    <a:gd name="T60" fmla="*/ 62 w 77"/>
                    <a:gd name="T61" fmla="*/ 18 h 26"/>
                    <a:gd name="T62" fmla="*/ 68 w 77"/>
                    <a:gd name="T63" fmla="*/ 16 h 26"/>
                    <a:gd name="T64" fmla="*/ 72 w 77"/>
                    <a:gd name="T65" fmla="*/ 15 h 26"/>
                    <a:gd name="T66" fmla="*/ 74 w 77"/>
                    <a:gd name="T67" fmla="*/ 15 h 26"/>
                    <a:gd name="T68" fmla="*/ 75 w 77"/>
                    <a:gd name="T69" fmla="*/ 16 h 26"/>
                    <a:gd name="T70" fmla="*/ 77 w 77"/>
                    <a:gd name="T71" fmla="*/ 17 h 26"/>
                    <a:gd name="T72" fmla="*/ 75 w 77"/>
                    <a:gd name="T73" fmla="*/ 21 h 26"/>
                    <a:gd name="T74" fmla="*/ 73 w 77"/>
                    <a:gd name="T75" fmla="*/ 22 h 26"/>
                    <a:gd name="T76" fmla="*/ 69 w 77"/>
                    <a:gd name="T77" fmla="*/ 22 h 26"/>
                    <a:gd name="T78" fmla="*/ 58 w 77"/>
                    <a:gd name="T79" fmla="*/ 22 h 26"/>
                    <a:gd name="T80" fmla="*/ 46 w 77"/>
                    <a:gd name="T81" fmla="*/ 24 h 26"/>
                    <a:gd name="T82" fmla="*/ 41 w 77"/>
                    <a:gd name="T83" fmla="*/ 26 h 26"/>
                    <a:gd name="T84" fmla="*/ 36 w 77"/>
                    <a:gd name="T85" fmla="*/ 24 h 26"/>
                    <a:gd name="T86" fmla="*/ 35 w 77"/>
                    <a:gd name="T87" fmla="*/ 22 h 26"/>
                    <a:gd name="T88" fmla="*/ 32 w 77"/>
                    <a:gd name="T89" fmla="*/ 18 h 26"/>
                    <a:gd name="T90" fmla="*/ 25 w 77"/>
                    <a:gd name="T91" fmla="*/ 17 h 26"/>
                    <a:gd name="T92" fmla="*/ 18 w 77"/>
                    <a:gd name="T93" fmla="*/ 16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77" h="26">
                      <a:moveTo>
                        <a:pt x="18" y="16"/>
                      </a:moveTo>
                      <a:lnTo>
                        <a:pt x="14" y="16"/>
                      </a:lnTo>
                      <a:lnTo>
                        <a:pt x="10" y="16"/>
                      </a:lnTo>
                      <a:lnTo>
                        <a:pt x="5" y="16"/>
                      </a:lnTo>
                      <a:lnTo>
                        <a:pt x="3" y="15"/>
                      </a:lnTo>
                      <a:lnTo>
                        <a:pt x="0" y="12"/>
                      </a:lnTo>
                      <a:lnTo>
                        <a:pt x="0" y="10"/>
                      </a:lnTo>
                      <a:lnTo>
                        <a:pt x="2" y="5"/>
                      </a:lnTo>
                      <a:lnTo>
                        <a:pt x="4" y="6"/>
                      </a:lnTo>
                      <a:lnTo>
                        <a:pt x="5" y="0"/>
                      </a:lnTo>
                      <a:lnTo>
                        <a:pt x="8" y="3"/>
                      </a:lnTo>
                      <a:lnTo>
                        <a:pt x="10" y="5"/>
                      </a:lnTo>
                      <a:lnTo>
                        <a:pt x="14" y="5"/>
                      </a:lnTo>
                      <a:lnTo>
                        <a:pt x="18" y="3"/>
                      </a:lnTo>
                      <a:lnTo>
                        <a:pt x="15" y="5"/>
                      </a:lnTo>
                      <a:lnTo>
                        <a:pt x="16" y="6"/>
                      </a:lnTo>
                      <a:lnTo>
                        <a:pt x="18" y="7"/>
                      </a:lnTo>
                      <a:lnTo>
                        <a:pt x="19" y="8"/>
                      </a:lnTo>
                      <a:lnTo>
                        <a:pt x="21" y="11"/>
                      </a:lnTo>
                      <a:lnTo>
                        <a:pt x="24" y="11"/>
                      </a:lnTo>
                      <a:lnTo>
                        <a:pt x="29" y="10"/>
                      </a:lnTo>
                      <a:lnTo>
                        <a:pt x="36" y="8"/>
                      </a:lnTo>
                      <a:lnTo>
                        <a:pt x="42" y="10"/>
                      </a:lnTo>
                      <a:lnTo>
                        <a:pt x="48" y="11"/>
                      </a:lnTo>
                      <a:lnTo>
                        <a:pt x="55" y="12"/>
                      </a:lnTo>
                      <a:lnTo>
                        <a:pt x="58" y="12"/>
                      </a:lnTo>
                      <a:lnTo>
                        <a:pt x="61" y="12"/>
                      </a:lnTo>
                      <a:lnTo>
                        <a:pt x="61" y="15"/>
                      </a:lnTo>
                      <a:lnTo>
                        <a:pt x="61" y="17"/>
                      </a:lnTo>
                      <a:lnTo>
                        <a:pt x="61" y="17"/>
                      </a:lnTo>
                      <a:lnTo>
                        <a:pt x="62" y="18"/>
                      </a:lnTo>
                      <a:lnTo>
                        <a:pt x="68" y="16"/>
                      </a:lnTo>
                      <a:lnTo>
                        <a:pt x="72" y="15"/>
                      </a:lnTo>
                      <a:lnTo>
                        <a:pt x="74" y="15"/>
                      </a:lnTo>
                      <a:lnTo>
                        <a:pt x="75" y="16"/>
                      </a:lnTo>
                      <a:lnTo>
                        <a:pt x="77" y="17"/>
                      </a:lnTo>
                      <a:lnTo>
                        <a:pt x="75" y="21"/>
                      </a:lnTo>
                      <a:lnTo>
                        <a:pt x="73" y="22"/>
                      </a:lnTo>
                      <a:lnTo>
                        <a:pt x="69" y="22"/>
                      </a:lnTo>
                      <a:lnTo>
                        <a:pt x="58" y="22"/>
                      </a:lnTo>
                      <a:lnTo>
                        <a:pt x="46" y="24"/>
                      </a:lnTo>
                      <a:lnTo>
                        <a:pt x="41" y="26"/>
                      </a:lnTo>
                      <a:lnTo>
                        <a:pt x="36" y="24"/>
                      </a:lnTo>
                      <a:lnTo>
                        <a:pt x="35" y="22"/>
                      </a:lnTo>
                      <a:lnTo>
                        <a:pt x="32" y="18"/>
                      </a:lnTo>
                      <a:lnTo>
                        <a:pt x="25" y="17"/>
                      </a:lnTo>
                      <a:lnTo>
                        <a:pt x="18" y="1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1" name="Freeform 1654">
                  <a:extLst>
                    <a:ext uri="{FF2B5EF4-FFF2-40B4-BE49-F238E27FC236}">
                      <a16:creationId xmlns:a16="http://schemas.microsoft.com/office/drawing/2014/main" id="{D4F979ED-055E-4D0C-9F8C-2A868CFD4E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99893" y="6378601"/>
                  <a:ext cx="4477" cy="7957"/>
                </a:xfrm>
                <a:custGeom>
                  <a:avLst/>
                  <a:gdLst>
                    <a:gd name="T0" fmla="*/ 0 w 2"/>
                    <a:gd name="T1" fmla="*/ 5 h 5"/>
                    <a:gd name="T2" fmla="*/ 0 w 2"/>
                    <a:gd name="T3" fmla="*/ 2 h 5"/>
                    <a:gd name="T4" fmla="*/ 2 w 2"/>
                    <a:gd name="T5" fmla="*/ 0 h 5"/>
                    <a:gd name="T6" fmla="*/ 2 w 2"/>
                    <a:gd name="T7" fmla="*/ 2 h 5"/>
                    <a:gd name="T8" fmla="*/ 0 w 2"/>
                    <a:gd name="T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5">
                      <a:moveTo>
                        <a:pt x="0" y="5"/>
                      </a:move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2" name="Freeform 1655">
                  <a:extLst>
                    <a:ext uri="{FF2B5EF4-FFF2-40B4-BE49-F238E27FC236}">
                      <a16:creationId xmlns:a16="http://schemas.microsoft.com/office/drawing/2014/main" id="{6D012BB8-6C43-4689-9F30-162CEE5637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04370" y="6418383"/>
                  <a:ext cx="6716" cy="5304"/>
                </a:xfrm>
                <a:custGeom>
                  <a:avLst/>
                  <a:gdLst>
                    <a:gd name="T0" fmla="*/ 0 w 6"/>
                    <a:gd name="T1" fmla="*/ 4 h 4"/>
                    <a:gd name="T2" fmla="*/ 0 w 6"/>
                    <a:gd name="T3" fmla="*/ 1 h 4"/>
                    <a:gd name="T4" fmla="*/ 4 w 6"/>
                    <a:gd name="T5" fmla="*/ 3 h 4"/>
                    <a:gd name="T6" fmla="*/ 6 w 6"/>
                    <a:gd name="T7" fmla="*/ 0 h 4"/>
                    <a:gd name="T8" fmla="*/ 6 w 6"/>
                    <a:gd name="T9" fmla="*/ 3 h 4"/>
                    <a:gd name="T10" fmla="*/ 4 w 6"/>
                    <a:gd name="T11" fmla="*/ 4 h 4"/>
                    <a:gd name="T12" fmla="*/ 0 w 6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4">
                      <a:moveTo>
                        <a:pt x="0" y="4"/>
                      </a:moveTo>
                      <a:lnTo>
                        <a:pt x="0" y="1"/>
                      </a:lnTo>
                      <a:lnTo>
                        <a:pt x="4" y="3"/>
                      </a:lnTo>
                      <a:lnTo>
                        <a:pt x="6" y="0"/>
                      </a:lnTo>
                      <a:lnTo>
                        <a:pt x="6" y="3"/>
                      </a:lnTo>
                      <a:lnTo>
                        <a:pt x="4" y="4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3" name="Freeform 1656">
                  <a:extLst>
                    <a:ext uri="{FF2B5EF4-FFF2-40B4-BE49-F238E27FC236}">
                      <a16:creationId xmlns:a16="http://schemas.microsoft.com/office/drawing/2014/main" id="{CAF0FB2A-40BF-4A9B-9E4A-1CCBB930F8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02133" y="6243346"/>
                  <a:ext cx="6716" cy="10609"/>
                </a:xfrm>
                <a:custGeom>
                  <a:avLst/>
                  <a:gdLst>
                    <a:gd name="T0" fmla="*/ 2 w 6"/>
                    <a:gd name="T1" fmla="*/ 7 h 7"/>
                    <a:gd name="T2" fmla="*/ 0 w 6"/>
                    <a:gd name="T3" fmla="*/ 4 h 7"/>
                    <a:gd name="T4" fmla="*/ 0 w 6"/>
                    <a:gd name="T5" fmla="*/ 2 h 7"/>
                    <a:gd name="T6" fmla="*/ 0 w 6"/>
                    <a:gd name="T7" fmla="*/ 0 h 7"/>
                    <a:gd name="T8" fmla="*/ 4 w 6"/>
                    <a:gd name="T9" fmla="*/ 0 h 7"/>
                    <a:gd name="T10" fmla="*/ 6 w 6"/>
                    <a:gd name="T11" fmla="*/ 1 h 7"/>
                    <a:gd name="T12" fmla="*/ 6 w 6"/>
                    <a:gd name="T13" fmla="*/ 3 h 7"/>
                    <a:gd name="T14" fmla="*/ 5 w 6"/>
                    <a:gd name="T15" fmla="*/ 6 h 7"/>
                    <a:gd name="T16" fmla="*/ 2 w 6"/>
                    <a:gd name="T17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" h="7">
                      <a:moveTo>
                        <a:pt x="2" y="7"/>
                      </a:move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6" y="1"/>
                      </a:lnTo>
                      <a:lnTo>
                        <a:pt x="6" y="3"/>
                      </a:lnTo>
                      <a:lnTo>
                        <a:pt x="5" y="6"/>
                      </a:lnTo>
                      <a:lnTo>
                        <a:pt x="2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4" name="Freeform 1657">
                  <a:extLst>
                    <a:ext uri="{FF2B5EF4-FFF2-40B4-BE49-F238E27FC236}">
                      <a16:creationId xmlns:a16="http://schemas.microsoft.com/office/drawing/2014/main" id="{B08E02CE-6CD2-47E1-9BDA-6B857B9C84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02133" y="6322909"/>
                  <a:ext cx="6716" cy="7957"/>
                </a:xfrm>
                <a:custGeom>
                  <a:avLst/>
                  <a:gdLst>
                    <a:gd name="T0" fmla="*/ 4 w 6"/>
                    <a:gd name="T1" fmla="*/ 7 h 7"/>
                    <a:gd name="T2" fmla="*/ 4 w 6"/>
                    <a:gd name="T3" fmla="*/ 5 h 7"/>
                    <a:gd name="T4" fmla="*/ 2 w 6"/>
                    <a:gd name="T5" fmla="*/ 3 h 7"/>
                    <a:gd name="T6" fmla="*/ 1 w 6"/>
                    <a:gd name="T7" fmla="*/ 2 h 7"/>
                    <a:gd name="T8" fmla="*/ 0 w 6"/>
                    <a:gd name="T9" fmla="*/ 0 h 7"/>
                    <a:gd name="T10" fmla="*/ 2 w 6"/>
                    <a:gd name="T11" fmla="*/ 1 h 7"/>
                    <a:gd name="T12" fmla="*/ 5 w 6"/>
                    <a:gd name="T13" fmla="*/ 2 h 7"/>
                    <a:gd name="T14" fmla="*/ 6 w 6"/>
                    <a:gd name="T15" fmla="*/ 7 h 7"/>
                    <a:gd name="T16" fmla="*/ 4 w 6"/>
                    <a:gd name="T17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" h="7">
                      <a:moveTo>
                        <a:pt x="4" y="7"/>
                      </a:moveTo>
                      <a:lnTo>
                        <a:pt x="4" y="5"/>
                      </a:lnTo>
                      <a:lnTo>
                        <a:pt x="2" y="3"/>
                      </a:ln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2" y="1"/>
                      </a:lnTo>
                      <a:lnTo>
                        <a:pt x="5" y="2"/>
                      </a:lnTo>
                      <a:lnTo>
                        <a:pt x="6" y="7"/>
                      </a:lnTo>
                      <a:lnTo>
                        <a:pt x="4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5" name="Freeform 1658">
                  <a:extLst>
                    <a:ext uri="{FF2B5EF4-FFF2-40B4-BE49-F238E27FC236}">
                      <a16:creationId xmlns:a16="http://schemas.microsoft.com/office/drawing/2014/main" id="{675221E4-33E0-4EF2-87C3-CE074C821A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3324" y="6407775"/>
                  <a:ext cx="2240" cy="5304"/>
                </a:xfrm>
                <a:custGeom>
                  <a:avLst/>
                  <a:gdLst>
                    <a:gd name="T0" fmla="*/ 1 w 2"/>
                    <a:gd name="T1" fmla="*/ 2 h 2"/>
                    <a:gd name="T2" fmla="*/ 0 w 2"/>
                    <a:gd name="T3" fmla="*/ 0 h 2"/>
                    <a:gd name="T4" fmla="*/ 2 w 2"/>
                    <a:gd name="T5" fmla="*/ 1 h 2"/>
                    <a:gd name="T6" fmla="*/ 1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1" y="2"/>
                      </a:moveTo>
                      <a:lnTo>
                        <a:pt x="0" y="0"/>
                      </a:lnTo>
                      <a:lnTo>
                        <a:pt x="2" y="1"/>
                      </a:lnTo>
                      <a:lnTo>
                        <a:pt x="1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6" name="Freeform 1659">
                  <a:extLst>
                    <a:ext uri="{FF2B5EF4-FFF2-40B4-BE49-F238E27FC236}">
                      <a16:creationId xmlns:a16="http://schemas.microsoft.com/office/drawing/2014/main" id="{94E5147B-EA34-418E-9B5F-0FF566D5AD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7801" y="6277823"/>
                  <a:ext cx="11193" cy="7957"/>
                </a:xfrm>
                <a:custGeom>
                  <a:avLst/>
                  <a:gdLst>
                    <a:gd name="T0" fmla="*/ 1 w 9"/>
                    <a:gd name="T1" fmla="*/ 0 h 5"/>
                    <a:gd name="T2" fmla="*/ 6 w 9"/>
                    <a:gd name="T3" fmla="*/ 0 h 5"/>
                    <a:gd name="T4" fmla="*/ 8 w 9"/>
                    <a:gd name="T5" fmla="*/ 0 h 5"/>
                    <a:gd name="T6" fmla="*/ 9 w 9"/>
                    <a:gd name="T7" fmla="*/ 0 h 5"/>
                    <a:gd name="T8" fmla="*/ 8 w 9"/>
                    <a:gd name="T9" fmla="*/ 5 h 5"/>
                    <a:gd name="T10" fmla="*/ 5 w 9"/>
                    <a:gd name="T11" fmla="*/ 5 h 5"/>
                    <a:gd name="T12" fmla="*/ 2 w 9"/>
                    <a:gd name="T13" fmla="*/ 5 h 5"/>
                    <a:gd name="T14" fmla="*/ 0 w 9"/>
                    <a:gd name="T15" fmla="*/ 4 h 5"/>
                    <a:gd name="T16" fmla="*/ 1 w 9"/>
                    <a:gd name="T17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" h="5">
                      <a:moveTo>
                        <a:pt x="1" y="0"/>
                      </a:moveTo>
                      <a:lnTo>
                        <a:pt x="6" y="0"/>
                      </a:lnTo>
                      <a:lnTo>
                        <a:pt x="8" y="0"/>
                      </a:lnTo>
                      <a:lnTo>
                        <a:pt x="9" y="0"/>
                      </a:lnTo>
                      <a:lnTo>
                        <a:pt x="8" y="5"/>
                      </a:lnTo>
                      <a:lnTo>
                        <a:pt x="5" y="5"/>
                      </a:lnTo>
                      <a:lnTo>
                        <a:pt x="2" y="5"/>
                      </a:lnTo>
                      <a:lnTo>
                        <a:pt x="0" y="4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7" name="Freeform 1660">
                  <a:extLst>
                    <a:ext uri="{FF2B5EF4-FFF2-40B4-BE49-F238E27FC236}">
                      <a16:creationId xmlns:a16="http://schemas.microsoft.com/office/drawing/2014/main" id="{D8C8806F-803C-4AE4-A012-A377C47541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1086" y="6365341"/>
                  <a:ext cx="11193" cy="13261"/>
                </a:xfrm>
                <a:custGeom>
                  <a:avLst/>
                  <a:gdLst>
                    <a:gd name="T0" fmla="*/ 8 w 9"/>
                    <a:gd name="T1" fmla="*/ 11 h 11"/>
                    <a:gd name="T2" fmla="*/ 4 w 9"/>
                    <a:gd name="T3" fmla="*/ 6 h 11"/>
                    <a:gd name="T4" fmla="*/ 0 w 9"/>
                    <a:gd name="T5" fmla="*/ 2 h 11"/>
                    <a:gd name="T6" fmla="*/ 3 w 9"/>
                    <a:gd name="T7" fmla="*/ 0 h 11"/>
                    <a:gd name="T8" fmla="*/ 5 w 9"/>
                    <a:gd name="T9" fmla="*/ 3 h 11"/>
                    <a:gd name="T10" fmla="*/ 8 w 9"/>
                    <a:gd name="T11" fmla="*/ 4 h 11"/>
                    <a:gd name="T12" fmla="*/ 9 w 9"/>
                    <a:gd name="T13" fmla="*/ 7 h 11"/>
                    <a:gd name="T14" fmla="*/ 8 w 9"/>
                    <a:gd name="T15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9" h="11">
                      <a:moveTo>
                        <a:pt x="8" y="11"/>
                      </a:moveTo>
                      <a:lnTo>
                        <a:pt x="4" y="6"/>
                      </a:ln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5" y="3"/>
                      </a:lnTo>
                      <a:lnTo>
                        <a:pt x="8" y="4"/>
                      </a:lnTo>
                      <a:lnTo>
                        <a:pt x="9" y="7"/>
                      </a:lnTo>
                      <a:lnTo>
                        <a:pt x="8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8" name="Freeform 1661">
                  <a:extLst>
                    <a:ext uri="{FF2B5EF4-FFF2-40B4-BE49-F238E27FC236}">
                      <a16:creationId xmlns:a16="http://schemas.microsoft.com/office/drawing/2014/main" id="{B6CA4B45-0CC8-4CD7-BB0A-3FD7812511D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22278" y="6378601"/>
                  <a:ext cx="6716" cy="5304"/>
                </a:xfrm>
                <a:custGeom>
                  <a:avLst/>
                  <a:gdLst>
                    <a:gd name="T0" fmla="*/ 0 w 7"/>
                    <a:gd name="T1" fmla="*/ 0 h 3"/>
                    <a:gd name="T2" fmla="*/ 5 w 7"/>
                    <a:gd name="T3" fmla="*/ 1 h 3"/>
                    <a:gd name="T4" fmla="*/ 6 w 7"/>
                    <a:gd name="T5" fmla="*/ 2 h 3"/>
                    <a:gd name="T6" fmla="*/ 7 w 7"/>
                    <a:gd name="T7" fmla="*/ 3 h 3"/>
                    <a:gd name="T8" fmla="*/ 3 w 7"/>
                    <a:gd name="T9" fmla="*/ 3 h 3"/>
                    <a:gd name="T10" fmla="*/ 0 w 7"/>
                    <a:gd name="T11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" h="3">
                      <a:moveTo>
                        <a:pt x="0" y="0"/>
                      </a:moveTo>
                      <a:lnTo>
                        <a:pt x="5" y="1"/>
                      </a:lnTo>
                      <a:lnTo>
                        <a:pt x="6" y="2"/>
                      </a:lnTo>
                      <a:lnTo>
                        <a:pt x="7" y="3"/>
                      </a:lnTo>
                      <a:lnTo>
                        <a:pt x="3" y="3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9" name="Freeform 1662">
                  <a:extLst>
                    <a:ext uri="{FF2B5EF4-FFF2-40B4-BE49-F238E27FC236}">
                      <a16:creationId xmlns:a16="http://schemas.microsoft.com/office/drawing/2014/main" id="{B134A34C-4384-402E-9798-346BCB7109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20041" y="6426338"/>
                  <a:ext cx="2240" cy="0"/>
                </a:xfrm>
                <a:custGeom>
                  <a:avLst/>
                  <a:gdLst>
                    <a:gd name="T0" fmla="*/ 2 w 2"/>
                    <a:gd name="T1" fmla="*/ 1 h 1"/>
                    <a:gd name="T2" fmla="*/ 0 w 2"/>
                    <a:gd name="T3" fmla="*/ 0 h 1"/>
                    <a:gd name="T4" fmla="*/ 1 w 2"/>
                    <a:gd name="T5" fmla="*/ 0 h 1"/>
                    <a:gd name="T6" fmla="*/ 2 w 2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1">
                      <a:moveTo>
                        <a:pt x="2" y="1"/>
                      </a:move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2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0" name="Freeform 1663">
                  <a:extLst>
                    <a:ext uri="{FF2B5EF4-FFF2-40B4-BE49-F238E27FC236}">
                      <a16:creationId xmlns:a16="http://schemas.microsoft.com/office/drawing/2014/main" id="{83AF1520-B4D7-4085-967E-C0755EF5B3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26756" y="6402471"/>
                  <a:ext cx="4477" cy="7957"/>
                </a:xfrm>
                <a:custGeom>
                  <a:avLst/>
                  <a:gdLst>
                    <a:gd name="T0" fmla="*/ 2 w 4"/>
                    <a:gd name="T1" fmla="*/ 6 h 6"/>
                    <a:gd name="T2" fmla="*/ 0 w 4"/>
                    <a:gd name="T3" fmla="*/ 2 h 6"/>
                    <a:gd name="T4" fmla="*/ 2 w 4"/>
                    <a:gd name="T5" fmla="*/ 0 h 6"/>
                    <a:gd name="T6" fmla="*/ 4 w 4"/>
                    <a:gd name="T7" fmla="*/ 4 h 6"/>
                    <a:gd name="T8" fmla="*/ 2 w 4"/>
                    <a:gd name="T9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6">
                      <a:moveTo>
                        <a:pt x="2" y="6"/>
                      </a:move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4" y="4"/>
                      </a:lnTo>
                      <a:lnTo>
                        <a:pt x="2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1" name="Freeform 1664">
                  <a:extLst>
                    <a:ext uri="{FF2B5EF4-FFF2-40B4-BE49-F238E27FC236}">
                      <a16:creationId xmlns:a16="http://schemas.microsoft.com/office/drawing/2014/main" id="{7C5E9503-A6E5-4702-B2AE-6C14F3F1EC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31233" y="6386559"/>
                  <a:ext cx="4477" cy="5304"/>
                </a:xfrm>
                <a:custGeom>
                  <a:avLst/>
                  <a:gdLst>
                    <a:gd name="T0" fmla="*/ 1 w 2"/>
                    <a:gd name="T1" fmla="*/ 2 h 2"/>
                    <a:gd name="T2" fmla="*/ 0 w 2"/>
                    <a:gd name="T3" fmla="*/ 0 h 2"/>
                    <a:gd name="T4" fmla="*/ 2 w 2"/>
                    <a:gd name="T5" fmla="*/ 0 h 2"/>
                    <a:gd name="T6" fmla="*/ 1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1" y="2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1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2" name="Freeform 1665">
                  <a:extLst>
                    <a:ext uri="{FF2B5EF4-FFF2-40B4-BE49-F238E27FC236}">
                      <a16:creationId xmlns:a16="http://schemas.microsoft.com/office/drawing/2014/main" id="{07AC3D8B-9D97-477D-9E11-A046B9BE846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31233" y="6421035"/>
                  <a:ext cx="4477" cy="2653"/>
                </a:xfrm>
                <a:custGeom>
                  <a:avLst/>
                  <a:gdLst>
                    <a:gd name="T0" fmla="*/ 2 w 2"/>
                    <a:gd name="T1" fmla="*/ 3 h 3"/>
                    <a:gd name="T2" fmla="*/ 0 w 2"/>
                    <a:gd name="T3" fmla="*/ 2 h 3"/>
                    <a:gd name="T4" fmla="*/ 2 w 2"/>
                    <a:gd name="T5" fmla="*/ 0 h 3"/>
                    <a:gd name="T6" fmla="*/ 2 w 2"/>
                    <a:gd name="T7" fmla="*/ 2 h 3"/>
                    <a:gd name="T8" fmla="*/ 2 w 2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3">
                      <a:moveTo>
                        <a:pt x="2" y="3"/>
                      </a:move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3" name="Freeform 1666">
                  <a:extLst>
                    <a:ext uri="{FF2B5EF4-FFF2-40B4-BE49-F238E27FC236}">
                      <a16:creationId xmlns:a16="http://schemas.microsoft.com/office/drawing/2014/main" id="{CBFE3CC8-E16F-46D2-A8A9-1A8AB153AA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31233" y="6256606"/>
                  <a:ext cx="4477" cy="2653"/>
                </a:xfrm>
                <a:custGeom>
                  <a:avLst/>
                  <a:gdLst>
                    <a:gd name="T0" fmla="*/ 3 w 3"/>
                    <a:gd name="T1" fmla="*/ 1 h 4"/>
                    <a:gd name="T2" fmla="*/ 3 w 3"/>
                    <a:gd name="T3" fmla="*/ 4 h 4"/>
                    <a:gd name="T4" fmla="*/ 1 w 3"/>
                    <a:gd name="T5" fmla="*/ 4 h 4"/>
                    <a:gd name="T6" fmla="*/ 0 w 3"/>
                    <a:gd name="T7" fmla="*/ 0 h 4"/>
                    <a:gd name="T8" fmla="*/ 3 w 3"/>
                    <a:gd name="T9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4">
                      <a:moveTo>
                        <a:pt x="3" y="1"/>
                      </a:moveTo>
                      <a:lnTo>
                        <a:pt x="3" y="4"/>
                      </a:lnTo>
                      <a:lnTo>
                        <a:pt x="1" y="4"/>
                      </a:lnTo>
                      <a:lnTo>
                        <a:pt x="0" y="0"/>
                      </a:lnTo>
                      <a:lnTo>
                        <a:pt x="3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4" name="Freeform 1667">
                  <a:extLst>
                    <a:ext uri="{FF2B5EF4-FFF2-40B4-BE49-F238E27FC236}">
                      <a16:creationId xmlns:a16="http://schemas.microsoft.com/office/drawing/2014/main" id="{88FAFE5F-4AD6-4C5F-9A95-65E057F820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35709" y="6399818"/>
                  <a:ext cx="4477" cy="13261"/>
                </a:xfrm>
                <a:custGeom>
                  <a:avLst/>
                  <a:gdLst>
                    <a:gd name="T0" fmla="*/ 2 w 5"/>
                    <a:gd name="T1" fmla="*/ 8 h 8"/>
                    <a:gd name="T2" fmla="*/ 0 w 5"/>
                    <a:gd name="T3" fmla="*/ 6 h 8"/>
                    <a:gd name="T4" fmla="*/ 0 w 5"/>
                    <a:gd name="T5" fmla="*/ 5 h 8"/>
                    <a:gd name="T6" fmla="*/ 0 w 5"/>
                    <a:gd name="T7" fmla="*/ 2 h 8"/>
                    <a:gd name="T8" fmla="*/ 3 w 5"/>
                    <a:gd name="T9" fmla="*/ 1 h 8"/>
                    <a:gd name="T10" fmla="*/ 4 w 5"/>
                    <a:gd name="T11" fmla="*/ 0 h 8"/>
                    <a:gd name="T12" fmla="*/ 5 w 5"/>
                    <a:gd name="T13" fmla="*/ 0 h 8"/>
                    <a:gd name="T14" fmla="*/ 5 w 5"/>
                    <a:gd name="T15" fmla="*/ 2 h 8"/>
                    <a:gd name="T16" fmla="*/ 5 w 5"/>
                    <a:gd name="T17" fmla="*/ 5 h 8"/>
                    <a:gd name="T18" fmla="*/ 4 w 5"/>
                    <a:gd name="T19" fmla="*/ 7 h 8"/>
                    <a:gd name="T20" fmla="*/ 2 w 5"/>
                    <a:gd name="T21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" h="8">
                      <a:moveTo>
                        <a:pt x="2" y="8"/>
                      </a:moveTo>
                      <a:lnTo>
                        <a:pt x="0" y="6"/>
                      </a:lnTo>
                      <a:lnTo>
                        <a:pt x="0" y="5"/>
                      </a:lnTo>
                      <a:lnTo>
                        <a:pt x="0" y="2"/>
                      </a:lnTo>
                      <a:lnTo>
                        <a:pt x="3" y="1"/>
                      </a:lnTo>
                      <a:lnTo>
                        <a:pt x="4" y="0"/>
                      </a:lnTo>
                      <a:lnTo>
                        <a:pt x="5" y="0"/>
                      </a:lnTo>
                      <a:lnTo>
                        <a:pt x="5" y="2"/>
                      </a:lnTo>
                      <a:lnTo>
                        <a:pt x="5" y="5"/>
                      </a:lnTo>
                      <a:lnTo>
                        <a:pt x="4" y="7"/>
                      </a:lnTo>
                      <a:lnTo>
                        <a:pt x="2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5" name="Freeform 1668">
                  <a:extLst>
                    <a:ext uri="{FF2B5EF4-FFF2-40B4-BE49-F238E27FC236}">
                      <a16:creationId xmlns:a16="http://schemas.microsoft.com/office/drawing/2014/main" id="{01F29A54-A7E7-4A3E-8475-4099889B36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6903" y="6413080"/>
                  <a:ext cx="8954" cy="5304"/>
                </a:xfrm>
                <a:custGeom>
                  <a:avLst/>
                  <a:gdLst>
                    <a:gd name="T0" fmla="*/ 0 w 8"/>
                    <a:gd name="T1" fmla="*/ 4 h 4"/>
                    <a:gd name="T2" fmla="*/ 4 w 8"/>
                    <a:gd name="T3" fmla="*/ 0 h 4"/>
                    <a:gd name="T4" fmla="*/ 8 w 8"/>
                    <a:gd name="T5" fmla="*/ 0 h 4"/>
                    <a:gd name="T6" fmla="*/ 4 w 8"/>
                    <a:gd name="T7" fmla="*/ 2 h 4"/>
                    <a:gd name="T8" fmla="*/ 0 w 8"/>
                    <a:gd name="T9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4">
                      <a:moveTo>
                        <a:pt x="0" y="4"/>
                      </a:moveTo>
                      <a:lnTo>
                        <a:pt x="4" y="0"/>
                      </a:lnTo>
                      <a:lnTo>
                        <a:pt x="8" y="0"/>
                      </a:lnTo>
                      <a:lnTo>
                        <a:pt x="4" y="2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6" name="Freeform 1669">
                  <a:extLst>
                    <a:ext uri="{FF2B5EF4-FFF2-40B4-BE49-F238E27FC236}">
                      <a16:creationId xmlns:a16="http://schemas.microsoft.com/office/drawing/2014/main" id="{1C398EAD-A64B-4035-BB01-29FA887349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6903" y="6338821"/>
                  <a:ext cx="8954" cy="18565"/>
                </a:xfrm>
                <a:custGeom>
                  <a:avLst/>
                  <a:gdLst>
                    <a:gd name="T0" fmla="*/ 5 w 9"/>
                    <a:gd name="T1" fmla="*/ 15 h 15"/>
                    <a:gd name="T2" fmla="*/ 4 w 9"/>
                    <a:gd name="T3" fmla="*/ 13 h 15"/>
                    <a:gd name="T4" fmla="*/ 3 w 9"/>
                    <a:gd name="T5" fmla="*/ 12 h 15"/>
                    <a:gd name="T6" fmla="*/ 3 w 9"/>
                    <a:gd name="T7" fmla="*/ 8 h 15"/>
                    <a:gd name="T8" fmla="*/ 3 w 9"/>
                    <a:gd name="T9" fmla="*/ 5 h 15"/>
                    <a:gd name="T10" fmla="*/ 1 w 9"/>
                    <a:gd name="T11" fmla="*/ 4 h 15"/>
                    <a:gd name="T12" fmla="*/ 0 w 9"/>
                    <a:gd name="T13" fmla="*/ 2 h 15"/>
                    <a:gd name="T14" fmla="*/ 3 w 9"/>
                    <a:gd name="T15" fmla="*/ 1 h 15"/>
                    <a:gd name="T16" fmla="*/ 5 w 9"/>
                    <a:gd name="T17" fmla="*/ 0 h 15"/>
                    <a:gd name="T18" fmla="*/ 6 w 9"/>
                    <a:gd name="T19" fmla="*/ 1 h 15"/>
                    <a:gd name="T20" fmla="*/ 8 w 9"/>
                    <a:gd name="T21" fmla="*/ 4 h 15"/>
                    <a:gd name="T22" fmla="*/ 9 w 9"/>
                    <a:gd name="T23" fmla="*/ 10 h 15"/>
                    <a:gd name="T24" fmla="*/ 5 w 9"/>
                    <a:gd name="T25" fmla="*/ 1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" h="15">
                      <a:moveTo>
                        <a:pt x="5" y="15"/>
                      </a:moveTo>
                      <a:lnTo>
                        <a:pt x="4" y="13"/>
                      </a:lnTo>
                      <a:lnTo>
                        <a:pt x="3" y="12"/>
                      </a:lnTo>
                      <a:lnTo>
                        <a:pt x="3" y="8"/>
                      </a:lnTo>
                      <a:lnTo>
                        <a:pt x="3" y="5"/>
                      </a:lnTo>
                      <a:lnTo>
                        <a:pt x="1" y="4"/>
                      </a:lnTo>
                      <a:lnTo>
                        <a:pt x="0" y="2"/>
                      </a:lnTo>
                      <a:lnTo>
                        <a:pt x="3" y="1"/>
                      </a:lnTo>
                      <a:lnTo>
                        <a:pt x="5" y="0"/>
                      </a:lnTo>
                      <a:lnTo>
                        <a:pt x="6" y="1"/>
                      </a:lnTo>
                      <a:lnTo>
                        <a:pt x="8" y="4"/>
                      </a:lnTo>
                      <a:lnTo>
                        <a:pt x="9" y="10"/>
                      </a:lnTo>
                      <a:lnTo>
                        <a:pt x="5" y="1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7" name="Freeform 1670">
                  <a:extLst>
                    <a:ext uri="{FF2B5EF4-FFF2-40B4-BE49-F238E27FC236}">
                      <a16:creationId xmlns:a16="http://schemas.microsoft.com/office/drawing/2014/main" id="{FA19D88F-D19B-4EC7-8E86-D359738C09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51379" y="6378601"/>
                  <a:ext cx="11193" cy="7957"/>
                </a:xfrm>
                <a:custGeom>
                  <a:avLst/>
                  <a:gdLst>
                    <a:gd name="T0" fmla="*/ 0 w 10"/>
                    <a:gd name="T1" fmla="*/ 5 h 5"/>
                    <a:gd name="T2" fmla="*/ 1 w 10"/>
                    <a:gd name="T3" fmla="*/ 2 h 5"/>
                    <a:gd name="T4" fmla="*/ 4 w 10"/>
                    <a:gd name="T5" fmla="*/ 1 h 5"/>
                    <a:gd name="T6" fmla="*/ 10 w 10"/>
                    <a:gd name="T7" fmla="*/ 0 h 5"/>
                    <a:gd name="T8" fmla="*/ 6 w 10"/>
                    <a:gd name="T9" fmla="*/ 3 h 5"/>
                    <a:gd name="T10" fmla="*/ 0 w 10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" h="5">
                      <a:moveTo>
                        <a:pt x="0" y="5"/>
                      </a:moveTo>
                      <a:lnTo>
                        <a:pt x="1" y="2"/>
                      </a:lnTo>
                      <a:lnTo>
                        <a:pt x="4" y="1"/>
                      </a:lnTo>
                      <a:lnTo>
                        <a:pt x="10" y="0"/>
                      </a:lnTo>
                      <a:lnTo>
                        <a:pt x="6" y="3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8" name="Freeform 1671">
                  <a:extLst>
                    <a:ext uri="{FF2B5EF4-FFF2-40B4-BE49-F238E27FC236}">
                      <a16:creationId xmlns:a16="http://schemas.microsoft.com/office/drawing/2014/main" id="{877C2E29-3E63-414E-A203-1F0DE0CCE9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4664" y="6306997"/>
                  <a:ext cx="22385" cy="15912"/>
                </a:xfrm>
                <a:custGeom>
                  <a:avLst/>
                  <a:gdLst>
                    <a:gd name="T0" fmla="*/ 16 w 21"/>
                    <a:gd name="T1" fmla="*/ 11 h 11"/>
                    <a:gd name="T2" fmla="*/ 11 w 21"/>
                    <a:gd name="T3" fmla="*/ 9 h 11"/>
                    <a:gd name="T4" fmla="*/ 7 w 21"/>
                    <a:gd name="T5" fmla="*/ 8 h 11"/>
                    <a:gd name="T6" fmla="*/ 10 w 21"/>
                    <a:gd name="T7" fmla="*/ 6 h 11"/>
                    <a:gd name="T8" fmla="*/ 6 w 21"/>
                    <a:gd name="T9" fmla="*/ 6 h 11"/>
                    <a:gd name="T10" fmla="*/ 1 w 21"/>
                    <a:gd name="T11" fmla="*/ 6 h 11"/>
                    <a:gd name="T12" fmla="*/ 0 w 21"/>
                    <a:gd name="T13" fmla="*/ 3 h 11"/>
                    <a:gd name="T14" fmla="*/ 1 w 21"/>
                    <a:gd name="T15" fmla="*/ 2 h 11"/>
                    <a:gd name="T16" fmla="*/ 2 w 21"/>
                    <a:gd name="T17" fmla="*/ 1 h 11"/>
                    <a:gd name="T18" fmla="*/ 5 w 21"/>
                    <a:gd name="T19" fmla="*/ 1 h 11"/>
                    <a:gd name="T20" fmla="*/ 10 w 21"/>
                    <a:gd name="T21" fmla="*/ 0 h 11"/>
                    <a:gd name="T22" fmla="*/ 15 w 21"/>
                    <a:gd name="T23" fmla="*/ 1 h 11"/>
                    <a:gd name="T24" fmla="*/ 17 w 21"/>
                    <a:gd name="T25" fmla="*/ 4 h 11"/>
                    <a:gd name="T26" fmla="*/ 21 w 21"/>
                    <a:gd name="T27" fmla="*/ 9 h 11"/>
                    <a:gd name="T28" fmla="*/ 17 w 21"/>
                    <a:gd name="T29" fmla="*/ 9 h 11"/>
                    <a:gd name="T30" fmla="*/ 16 w 21"/>
                    <a:gd name="T31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1" h="11">
                      <a:moveTo>
                        <a:pt x="16" y="11"/>
                      </a:moveTo>
                      <a:lnTo>
                        <a:pt x="11" y="9"/>
                      </a:lnTo>
                      <a:lnTo>
                        <a:pt x="7" y="8"/>
                      </a:lnTo>
                      <a:lnTo>
                        <a:pt x="10" y="6"/>
                      </a:lnTo>
                      <a:lnTo>
                        <a:pt x="6" y="6"/>
                      </a:lnTo>
                      <a:lnTo>
                        <a:pt x="1" y="6"/>
                      </a:lnTo>
                      <a:lnTo>
                        <a:pt x="0" y="3"/>
                      </a:lnTo>
                      <a:lnTo>
                        <a:pt x="1" y="2"/>
                      </a:lnTo>
                      <a:lnTo>
                        <a:pt x="2" y="1"/>
                      </a:lnTo>
                      <a:lnTo>
                        <a:pt x="5" y="1"/>
                      </a:lnTo>
                      <a:lnTo>
                        <a:pt x="10" y="0"/>
                      </a:lnTo>
                      <a:lnTo>
                        <a:pt x="15" y="1"/>
                      </a:lnTo>
                      <a:lnTo>
                        <a:pt x="17" y="4"/>
                      </a:lnTo>
                      <a:lnTo>
                        <a:pt x="21" y="9"/>
                      </a:lnTo>
                      <a:lnTo>
                        <a:pt x="17" y="9"/>
                      </a:lnTo>
                      <a:lnTo>
                        <a:pt x="16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9" name="Freeform 1672">
                  <a:extLst>
                    <a:ext uri="{FF2B5EF4-FFF2-40B4-BE49-F238E27FC236}">
                      <a16:creationId xmlns:a16="http://schemas.microsoft.com/office/drawing/2014/main" id="{B5482EA5-AE1F-4820-9FF4-85015CF6DA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71526" y="6373297"/>
                  <a:ext cx="11193" cy="7957"/>
                </a:xfrm>
                <a:custGeom>
                  <a:avLst/>
                  <a:gdLst>
                    <a:gd name="T0" fmla="*/ 6 w 11"/>
                    <a:gd name="T1" fmla="*/ 5 h 5"/>
                    <a:gd name="T2" fmla="*/ 4 w 11"/>
                    <a:gd name="T3" fmla="*/ 4 h 5"/>
                    <a:gd name="T4" fmla="*/ 2 w 11"/>
                    <a:gd name="T5" fmla="*/ 2 h 5"/>
                    <a:gd name="T6" fmla="*/ 0 w 11"/>
                    <a:gd name="T7" fmla="*/ 1 h 5"/>
                    <a:gd name="T8" fmla="*/ 0 w 11"/>
                    <a:gd name="T9" fmla="*/ 0 h 5"/>
                    <a:gd name="T10" fmla="*/ 2 w 11"/>
                    <a:gd name="T11" fmla="*/ 0 h 5"/>
                    <a:gd name="T12" fmla="*/ 4 w 11"/>
                    <a:gd name="T13" fmla="*/ 0 h 5"/>
                    <a:gd name="T14" fmla="*/ 6 w 11"/>
                    <a:gd name="T15" fmla="*/ 0 h 5"/>
                    <a:gd name="T16" fmla="*/ 9 w 11"/>
                    <a:gd name="T17" fmla="*/ 0 h 5"/>
                    <a:gd name="T18" fmla="*/ 11 w 11"/>
                    <a:gd name="T19" fmla="*/ 0 h 5"/>
                    <a:gd name="T20" fmla="*/ 9 w 11"/>
                    <a:gd name="T21" fmla="*/ 4 h 5"/>
                    <a:gd name="T22" fmla="*/ 6 w 11"/>
                    <a:gd name="T23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1" h="5">
                      <a:moveTo>
                        <a:pt x="6" y="5"/>
                      </a:moveTo>
                      <a:lnTo>
                        <a:pt x="4" y="4"/>
                      </a:lnTo>
                      <a:lnTo>
                        <a:pt x="2" y="2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9" y="0"/>
                      </a:lnTo>
                      <a:lnTo>
                        <a:pt x="11" y="0"/>
                      </a:lnTo>
                      <a:lnTo>
                        <a:pt x="9" y="4"/>
                      </a:lnTo>
                      <a:lnTo>
                        <a:pt x="6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0" name="Freeform 1673">
                  <a:extLst>
                    <a:ext uri="{FF2B5EF4-FFF2-40B4-BE49-F238E27FC236}">
                      <a16:creationId xmlns:a16="http://schemas.microsoft.com/office/drawing/2014/main" id="{B2A4D5AC-5EBE-4391-A9C6-6F9985EE57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76003" y="6399818"/>
                  <a:ext cx="4477" cy="5304"/>
                </a:xfrm>
                <a:custGeom>
                  <a:avLst/>
                  <a:gdLst>
                    <a:gd name="T0" fmla="*/ 4 w 4"/>
                    <a:gd name="T1" fmla="*/ 2 h 2"/>
                    <a:gd name="T2" fmla="*/ 0 w 4"/>
                    <a:gd name="T3" fmla="*/ 0 h 2"/>
                    <a:gd name="T4" fmla="*/ 3 w 4"/>
                    <a:gd name="T5" fmla="*/ 1 h 2"/>
                    <a:gd name="T6" fmla="*/ 4 w 4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4" y="2"/>
                      </a:moveTo>
                      <a:lnTo>
                        <a:pt x="0" y="0"/>
                      </a:lnTo>
                      <a:lnTo>
                        <a:pt x="3" y="1"/>
                      </a:lnTo>
                      <a:lnTo>
                        <a:pt x="4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1" name="Freeform 1674">
                  <a:extLst>
                    <a:ext uri="{FF2B5EF4-FFF2-40B4-BE49-F238E27FC236}">
                      <a16:creationId xmlns:a16="http://schemas.microsoft.com/office/drawing/2014/main" id="{F3163CE5-8A07-4C51-A0B9-0A9B16C5C11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82719" y="6407775"/>
                  <a:ext cx="2240" cy="5304"/>
                </a:xfrm>
                <a:custGeom>
                  <a:avLst/>
                  <a:gdLst>
                    <a:gd name="T0" fmla="*/ 1 w 4"/>
                    <a:gd name="T1" fmla="*/ 2 h 2"/>
                    <a:gd name="T2" fmla="*/ 0 w 4"/>
                    <a:gd name="T3" fmla="*/ 0 h 2"/>
                    <a:gd name="T4" fmla="*/ 4 w 4"/>
                    <a:gd name="T5" fmla="*/ 0 h 2"/>
                    <a:gd name="T6" fmla="*/ 1 w 4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1" y="2"/>
                      </a:move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1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2" name="Freeform 1675">
                  <a:extLst>
                    <a:ext uri="{FF2B5EF4-FFF2-40B4-BE49-F238E27FC236}">
                      <a16:creationId xmlns:a16="http://schemas.microsoft.com/office/drawing/2014/main" id="{860CF231-AE63-4875-8133-BEC53C0507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91672" y="6458164"/>
                  <a:ext cx="2240" cy="21216"/>
                </a:xfrm>
                <a:custGeom>
                  <a:avLst/>
                  <a:gdLst>
                    <a:gd name="T0" fmla="*/ 0 w 2"/>
                    <a:gd name="T1" fmla="*/ 15 h 15"/>
                    <a:gd name="T2" fmla="*/ 0 w 2"/>
                    <a:gd name="T3" fmla="*/ 7 h 15"/>
                    <a:gd name="T4" fmla="*/ 1 w 2"/>
                    <a:gd name="T5" fmla="*/ 0 h 15"/>
                    <a:gd name="T6" fmla="*/ 2 w 2"/>
                    <a:gd name="T7" fmla="*/ 4 h 15"/>
                    <a:gd name="T8" fmla="*/ 2 w 2"/>
                    <a:gd name="T9" fmla="*/ 8 h 15"/>
                    <a:gd name="T10" fmla="*/ 2 w 2"/>
                    <a:gd name="T11" fmla="*/ 12 h 15"/>
                    <a:gd name="T12" fmla="*/ 0 w 2"/>
                    <a:gd name="T13" fmla="*/ 1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15">
                      <a:moveTo>
                        <a:pt x="0" y="15"/>
                      </a:moveTo>
                      <a:lnTo>
                        <a:pt x="0" y="7"/>
                      </a:lnTo>
                      <a:lnTo>
                        <a:pt x="1" y="0"/>
                      </a:lnTo>
                      <a:lnTo>
                        <a:pt x="2" y="4"/>
                      </a:lnTo>
                      <a:lnTo>
                        <a:pt x="2" y="8"/>
                      </a:lnTo>
                      <a:lnTo>
                        <a:pt x="2" y="12"/>
                      </a:lnTo>
                      <a:lnTo>
                        <a:pt x="0" y="1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3" name="Freeform 1676">
                  <a:extLst>
                    <a:ext uri="{FF2B5EF4-FFF2-40B4-BE49-F238E27FC236}">
                      <a16:creationId xmlns:a16="http://schemas.microsoft.com/office/drawing/2014/main" id="{33F877CA-EE67-4F85-A359-9AE032D1FA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07342" y="6434296"/>
                  <a:ext cx="15670" cy="21216"/>
                </a:xfrm>
                <a:custGeom>
                  <a:avLst/>
                  <a:gdLst>
                    <a:gd name="T0" fmla="*/ 6 w 13"/>
                    <a:gd name="T1" fmla="*/ 15 h 17"/>
                    <a:gd name="T2" fmla="*/ 4 w 13"/>
                    <a:gd name="T3" fmla="*/ 16 h 17"/>
                    <a:gd name="T4" fmla="*/ 3 w 13"/>
                    <a:gd name="T5" fmla="*/ 17 h 17"/>
                    <a:gd name="T6" fmla="*/ 2 w 13"/>
                    <a:gd name="T7" fmla="*/ 16 h 17"/>
                    <a:gd name="T8" fmla="*/ 1 w 13"/>
                    <a:gd name="T9" fmla="*/ 14 h 17"/>
                    <a:gd name="T10" fmla="*/ 0 w 13"/>
                    <a:gd name="T11" fmla="*/ 11 h 17"/>
                    <a:gd name="T12" fmla="*/ 1 w 13"/>
                    <a:gd name="T13" fmla="*/ 6 h 17"/>
                    <a:gd name="T14" fmla="*/ 4 w 13"/>
                    <a:gd name="T15" fmla="*/ 4 h 17"/>
                    <a:gd name="T16" fmla="*/ 8 w 13"/>
                    <a:gd name="T17" fmla="*/ 1 h 17"/>
                    <a:gd name="T18" fmla="*/ 13 w 13"/>
                    <a:gd name="T19" fmla="*/ 0 h 17"/>
                    <a:gd name="T20" fmla="*/ 12 w 13"/>
                    <a:gd name="T21" fmla="*/ 5 h 17"/>
                    <a:gd name="T22" fmla="*/ 11 w 13"/>
                    <a:gd name="T23" fmla="*/ 10 h 17"/>
                    <a:gd name="T24" fmla="*/ 9 w 13"/>
                    <a:gd name="T25" fmla="*/ 12 h 17"/>
                    <a:gd name="T26" fmla="*/ 8 w 13"/>
                    <a:gd name="T27" fmla="*/ 12 h 17"/>
                    <a:gd name="T28" fmla="*/ 7 w 13"/>
                    <a:gd name="T29" fmla="*/ 12 h 17"/>
                    <a:gd name="T30" fmla="*/ 6 w 13"/>
                    <a:gd name="T31" fmla="*/ 15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3" h="17">
                      <a:moveTo>
                        <a:pt x="6" y="15"/>
                      </a:moveTo>
                      <a:lnTo>
                        <a:pt x="4" y="16"/>
                      </a:lnTo>
                      <a:lnTo>
                        <a:pt x="3" y="17"/>
                      </a:lnTo>
                      <a:lnTo>
                        <a:pt x="2" y="16"/>
                      </a:lnTo>
                      <a:lnTo>
                        <a:pt x="1" y="14"/>
                      </a:lnTo>
                      <a:lnTo>
                        <a:pt x="0" y="11"/>
                      </a:lnTo>
                      <a:lnTo>
                        <a:pt x="1" y="6"/>
                      </a:lnTo>
                      <a:lnTo>
                        <a:pt x="4" y="4"/>
                      </a:lnTo>
                      <a:lnTo>
                        <a:pt x="8" y="1"/>
                      </a:lnTo>
                      <a:lnTo>
                        <a:pt x="13" y="0"/>
                      </a:lnTo>
                      <a:lnTo>
                        <a:pt x="12" y="5"/>
                      </a:lnTo>
                      <a:lnTo>
                        <a:pt x="11" y="10"/>
                      </a:lnTo>
                      <a:lnTo>
                        <a:pt x="9" y="12"/>
                      </a:lnTo>
                      <a:lnTo>
                        <a:pt x="8" y="12"/>
                      </a:lnTo>
                      <a:lnTo>
                        <a:pt x="7" y="12"/>
                      </a:lnTo>
                      <a:lnTo>
                        <a:pt x="6" y="1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4" name="Freeform 1689">
                  <a:extLst>
                    <a:ext uri="{FF2B5EF4-FFF2-40B4-BE49-F238E27FC236}">
                      <a16:creationId xmlns:a16="http://schemas.microsoft.com/office/drawing/2014/main" id="{76E91187-9E41-4769-A437-A80B2886A5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64116" y="5980791"/>
                  <a:ext cx="91779" cy="63650"/>
                </a:xfrm>
                <a:custGeom>
                  <a:avLst/>
                  <a:gdLst>
                    <a:gd name="T0" fmla="*/ 4 w 82"/>
                    <a:gd name="T1" fmla="*/ 25 h 46"/>
                    <a:gd name="T2" fmla="*/ 0 w 82"/>
                    <a:gd name="T3" fmla="*/ 19 h 46"/>
                    <a:gd name="T4" fmla="*/ 3 w 82"/>
                    <a:gd name="T5" fmla="*/ 12 h 46"/>
                    <a:gd name="T6" fmla="*/ 9 w 82"/>
                    <a:gd name="T7" fmla="*/ 11 h 46"/>
                    <a:gd name="T8" fmla="*/ 13 w 82"/>
                    <a:gd name="T9" fmla="*/ 12 h 46"/>
                    <a:gd name="T10" fmla="*/ 27 w 82"/>
                    <a:gd name="T11" fmla="*/ 14 h 46"/>
                    <a:gd name="T12" fmla="*/ 30 w 82"/>
                    <a:gd name="T13" fmla="*/ 14 h 46"/>
                    <a:gd name="T14" fmla="*/ 41 w 82"/>
                    <a:gd name="T15" fmla="*/ 7 h 46"/>
                    <a:gd name="T16" fmla="*/ 51 w 82"/>
                    <a:gd name="T17" fmla="*/ 7 h 46"/>
                    <a:gd name="T18" fmla="*/ 56 w 82"/>
                    <a:gd name="T19" fmla="*/ 7 h 46"/>
                    <a:gd name="T20" fmla="*/ 67 w 82"/>
                    <a:gd name="T21" fmla="*/ 6 h 46"/>
                    <a:gd name="T22" fmla="*/ 67 w 82"/>
                    <a:gd name="T23" fmla="*/ 1 h 46"/>
                    <a:gd name="T24" fmla="*/ 73 w 82"/>
                    <a:gd name="T25" fmla="*/ 0 h 46"/>
                    <a:gd name="T26" fmla="*/ 78 w 82"/>
                    <a:gd name="T27" fmla="*/ 6 h 46"/>
                    <a:gd name="T28" fmla="*/ 78 w 82"/>
                    <a:gd name="T29" fmla="*/ 12 h 46"/>
                    <a:gd name="T30" fmla="*/ 73 w 82"/>
                    <a:gd name="T31" fmla="*/ 12 h 46"/>
                    <a:gd name="T32" fmla="*/ 75 w 82"/>
                    <a:gd name="T33" fmla="*/ 16 h 46"/>
                    <a:gd name="T34" fmla="*/ 70 w 82"/>
                    <a:gd name="T35" fmla="*/ 16 h 46"/>
                    <a:gd name="T36" fmla="*/ 67 w 82"/>
                    <a:gd name="T37" fmla="*/ 18 h 46"/>
                    <a:gd name="T38" fmla="*/ 61 w 82"/>
                    <a:gd name="T39" fmla="*/ 21 h 46"/>
                    <a:gd name="T40" fmla="*/ 57 w 82"/>
                    <a:gd name="T41" fmla="*/ 23 h 46"/>
                    <a:gd name="T42" fmla="*/ 59 w 82"/>
                    <a:gd name="T43" fmla="*/ 28 h 46"/>
                    <a:gd name="T44" fmla="*/ 57 w 82"/>
                    <a:gd name="T45" fmla="*/ 33 h 46"/>
                    <a:gd name="T46" fmla="*/ 51 w 82"/>
                    <a:gd name="T47" fmla="*/ 35 h 46"/>
                    <a:gd name="T48" fmla="*/ 50 w 82"/>
                    <a:gd name="T49" fmla="*/ 38 h 46"/>
                    <a:gd name="T50" fmla="*/ 50 w 82"/>
                    <a:gd name="T51" fmla="*/ 40 h 46"/>
                    <a:gd name="T52" fmla="*/ 49 w 82"/>
                    <a:gd name="T53" fmla="*/ 45 h 46"/>
                    <a:gd name="T54" fmla="*/ 43 w 82"/>
                    <a:gd name="T55" fmla="*/ 44 h 46"/>
                    <a:gd name="T56" fmla="*/ 34 w 82"/>
                    <a:gd name="T57" fmla="*/ 41 h 46"/>
                    <a:gd name="T58" fmla="*/ 28 w 82"/>
                    <a:gd name="T59" fmla="*/ 41 h 46"/>
                    <a:gd name="T60" fmla="*/ 22 w 82"/>
                    <a:gd name="T61" fmla="*/ 45 h 46"/>
                    <a:gd name="T62" fmla="*/ 16 w 82"/>
                    <a:gd name="T63" fmla="*/ 44 h 46"/>
                    <a:gd name="T64" fmla="*/ 12 w 82"/>
                    <a:gd name="T65" fmla="*/ 46 h 46"/>
                    <a:gd name="T66" fmla="*/ 4 w 82"/>
                    <a:gd name="T67" fmla="*/ 44 h 46"/>
                    <a:gd name="T68" fmla="*/ 12 w 82"/>
                    <a:gd name="T69" fmla="*/ 39 h 46"/>
                    <a:gd name="T70" fmla="*/ 9 w 82"/>
                    <a:gd name="T71" fmla="*/ 35 h 46"/>
                    <a:gd name="T72" fmla="*/ 4 w 82"/>
                    <a:gd name="T73" fmla="*/ 33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82" h="46">
                      <a:moveTo>
                        <a:pt x="3" y="29"/>
                      </a:moveTo>
                      <a:lnTo>
                        <a:pt x="4" y="25"/>
                      </a:lnTo>
                      <a:lnTo>
                        <a:pt x="7" y="22"/>
                      </a:lnTo>
                      <a:lnTo>
                        <a:pt x="0" y="19"/>
                      </a:lnTo>
                      <a:lnTo>
                        <a:pt x="2" y="14"/>
                      </a:lnTo>
                      <a:lnTo>
                        <a:pt x="3" y="12"/>
                      </a:lnTo>
                      <a:lnTo>
                        <a:pt x="6" y="9"/>
                      </a:lnTo>
                      <a:lnTo>
                        <a:pt x="9" y="11"/>
                      </a:lnTo>
                      <a:lnTo>
                        <a:pt x="11" y="11"/>
                      </a:lnTo>
                      <a:lnTo>
                        <a:pt x="13" y="12"/>
                      </a:lnTo>
                      <a:lnTo>
                        <a:pt x="20" y="13"/>
                      </a:lnTo>
                      <a:lnTo>
                        <a:pt x="27" y="14"/>
                      </a:lnTo>
                      <a:lnTo>
                        <a:pt x="29" y="16"/>
                      </a:lnTo>
                      <a:lnTo>
                        <a:pt x="30" y="14"/>
                      </a:lnTo>
                      <a:lnTo>
                        <a:pt x="38" y="9"/>
                      </a:lnTo>
                      <a:lnTo>
                        <a:pt x="41" y="7"/>
                      </a:lnTo>
                      <a:lnTo>
                        <a:pt x="45" y="7"/>
                      </a:lnTo>
                      <a:lnTo>
                        <a:pt x="51" y="7"/>
                      </a:lnTo>
                      <a:lnTo>
                        <a:pt x="54" y="7"/>
                      </a:lnTo>
                      <a:lnTo>
                        <a:pt x="56" y="7"/>
                      </a:lnTo>
                      <a:lnTo>
                        <a:pt x="62" y="5"/>
                      </a:lnTo>
                      <a:lnTo>
                        <a:pt x="67" y="6"/>
                      </a:lnTo>
                      <a:lnTo>
                        <a:pt x="66" y="3"/>
                      </a:lnTo>
                      <a:lnTo>
                        <a:pt x="67" y="1"/>
                      </a:lnTo>
                      <a:lnTo>
                        <a:pt x="70" y="0"/>
                      </a:lnTo>
                      <a:lnTo>
                        <a:pt x="73" y="0"/>
                      </a:lnTo>
                      <a:lnTo>
                        <a:pt x="76" y="2"/>
                      </a:lnTo>
                      <a:lnTo>
                        <a:pt x="78" y="6"/>
                      </a:lnTo>
                      <a:lnTo>
                        <a:pt x="82" y="12"/>
                      </a:lnTo>
                      <a:lnTo>
                        <a:pt x="78" y="12"/>
                      </a:lnTo>
                      <a:lnTo>
                        <a:pt x="75" y="11"/>
                      </a:lnTo>
                      <a:lnTo>
                        <a:pt x="73" y="12"/>
                      </a:lnTo>
                      <a:lnTo>
                        <a:pt x="73" y="13"/>
                      </a:lnTo>
                      <a:lnTo>
                        <a:pt x="75" y="16"/>
                      </a:lnTo>
                      <a:lnTo>
                        <a:pt x="71" y="14"/>
                      </a:lnTo>
                      <a:lnTo>
                        <a:pt x="70" y="16"/>
                      </a:lnTo>
                      <a:lnTo>
                        <a:pt x="68" y="17"/>
                      </a:lnTo>
                      <a:lnTo>
                        <a:pt x="67" y="18"/>
                      </a:lnTo>
                      <a:lnTo>
                        <a:pt x="64" y="19"/>
                      </a:lnTo>
                      <a:lnTo>
                        <a:pt x="61" y="21"/>
                      </a:lnTo>
                      <a:lnTo>
                        <a:pt x="57" y="22"/>
                      </a:lnTo>
                      <a:lnTo>
                        <a:pt x="57" y="23"/>
                      </a:lnTo>
                      <a:lnTo>
                        <a:pt x="59" y="25"/>
                      </a:lnTo>
                      <a:lnTo>
                        <a:pt x="59" y="28"/>
                      </a:lnTo>
                      <a:lnTo>
                        <a:pt x="59" y="30"/>
                      </a:lnTo>
                      <a:lnTo>
                        <a:pt x="57" y="33"/>
                      </a:lnTo>
                      <a:lnTo>
                        <a:pt x="55" y="34"/>
                      </a:lnTo>
                      <a:lnTo>
                        <a:pt x="51" y="35"/>
                      </a:lnTo>
                      <a:lnTo>
                        <a:pt x="48" y="37"/>
                      </a:lnTo>
                      <a:lnTo>
                        <a:pt x="50" y="38"/>
                      </a:lnTo>
                      <a:lnTo>
                        <a:pt x="51" y="39"/>
                      </a:lnTo>
                      <a:lnTo>
                        <a:pt x="50" y="40"/>
                      </a:lnTo>
                      <a:lnTo>
                        <a:pt x="50" y="44"/>
                      </a:lnTo>
                      <a:lnTo>
                        <a:pt x="49" y="45"/>
                      </a:lnTo>
                      <a:lnTo>
                        <a:pt x="46" y="45"/>
                      </a:lnTo>
                      <a:lnTo>
                        <a:pt x="43" y="44"/>
                      </a:lnTo>
                      <a:lnTo>
                        <a:pt x="38" y="43"/>
                      </a:lnTo>
                      <a:lnTo>
                        <a:pt x="34" y="41"/>
                      </a:lnTo>
                      <a:lnTo>
                        <a:pt x="30" y="39"/>
                      </a:lnTo>
                      <a:lnTo>
                        <a:pt x="28" y="41"/>
                      </a:lnTo>
                      <a:lnTo>
                        <a:pt x="25" y="44"/>
                      </a:lnTo>
                      <a:lnTo>
                        <a:pt x="22" y="45"/>
                      </a:lnTo>
                      <a:lnTo>
                        <a:pt x="18" y="44"/>
                      </a:lnTo>
                      <a:lnTo>
                        <a:pt x="16" y="44"/>
                      </a:lnTo>
                      <a:lnTo>
                        <a:pt x="14" y="45"/>
                      </a:lnTo>
                      <a:lnTo>
                        <a:pt x="12" y="46"/>
                      </a:lnTo>
                      <a:lnTo>
                        <a:pt x="9" y="45"/>
                      </a:lnTo>
                      <a:lnTo>
                        <a:pt x="4" y="44"/>
                      </a:lnTo>
                      <a:lnTo>
                        <a:pt x="11" y="41"/>
                      </a:lnTo>
                      <a:lnTo>
                        <a:pt x="12" y="39"/>
                      </a:lnTo>
                      <a:lnTo>
                        <a:pt x="12" y="37"/>
                      </a:lnTo>
                      <a:lnTo>
                        <a:pt x="9" y="35"/>
                      </a:lnTo>
                      <a:lnTo>
                        <a:pt x="7" y="34"/>
                      </a:lnTo>
                      <a:lnTo>
                        <a:pt x="4" y="33"/>
                      </a:lnTo>
                      <a:lnTo>
                        <a:pt x="6" y="29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5" name="Freeform 1690">
                  <a:extLst>
                    <a:ext uri="{FF2B5EF4-FFF2-40B4-BE49-F238E27FC236}">
                      <a16:creationId xmlns:a16="http://schemas.microsoft.com/office/drawing/2014/main" id="{CE1672FC-55CC-4C5B-868F-820C3728AB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79052" y="4750228"/>
                  <a:ext cx="31340" cy="18565"/>
                </a:xfrm>
                <a:custGeom>
                  <a:avLst/>
                  <a:gdLst>
                    <a:gd name="T0" fmla="*/ 27 w 30"/>
                    <a:gd name="T1" fmla="*/ 13 h 15"/>
                    <a:gd name="T2" fmla="*/ 23 w 30"/>
                    <a:gd name="T3" fmla="*/ 11 h 15"/>
                    <a:gd name="T4" fmla="*/ 20 w 30"/>
                    <a:gd name="T5" fmla="*/ 10 h 15"/>
                    <a:gd name="T6" fmla="*/ 16 w 30"/>
                    <a:gd name="T7" fmla="*/ 9 h 15"/>
                    <a:gd name="T8" fmla="*/ 12 w 30"/>
                    <a:gd name="T9" fmla="*/ 6 h 15"/>
                    <a:gd name="T10" fmla="*/ 6 w 30"/>
                    <a:gd name="T11" fmla="*/ 1 h 15"/>
                    <a:gd name="T12" fmla="*/ 4 w 30"/>
                    <a:gd name="T13" fmla="*/ 0 h 15"/>
                    <a:gd name="T14" fmla="*/ 0 w 30"/>
                    <a:gd name="T15" fmla="*/ 0 h 15"/>
                    <a:gd name="T16" fmla="*/ 1 w 30"/>
                    <a:gd name="T17" fmla="*/ 4 h 15"/>
                    <a:gd name="T18" fmla="*/ 5 w 30"/>
                    <a:gd name="T19" fmla="*/ 6 h 15"/>
                    <a:gd name="T20" fmla="*/ 12 w 30"/>
                    <a:gd name="T21" fmla="*/ 10 h 15"/>
                    <a:gd name="T22" fmla="*/ 16 w 30"/>
                    <a:gd name="T23" fmla="*/ 11 h 15"/>
                    <a:gd name="T24" fmla="*/ 21 w 30"/>
                    <a:gd name="T25" fmla="*/ 14 h 15"/>
                    <a:gd name="T26" fmla="*/ 26 w 30"/>
                    <a:gd name="T27" fmla="*/ 15 h 15"/>
                    <a:gd name="T28" fmla="*/ 30 w 30"/>
                    <a:gd name="T29" fmla="*/ 15 h 15"/>
                    <a:gd name="T30" fmla="*/ 27 w 30"/>
                    <a:gd name="T31" fmla="*/ 13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0" h="15">
                      <a:moveTo>
                        <a:pt x="27" y="13"/>
                      </a:moveTo>
                      <a:lnTo>
                        <a:pt x="23" y="11"/>
                      </a:lnTo>
                      <a:lnTo>
                        <a:pt x="20" y="10"/>
                      </a:lnTo>
                      <a:lnTo>
                        <a:pt x="16" y="9"/>
                      </a:lnTo>
                      <a:lnTo>
                        <a:pt x="12" y="6"/>
                      </a:lnTo>
                      <a:lnTo>
                        <a:pt x="6" y="1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1" y="4"/>
                      </a:lnTo>
                      <a:lnTo>
                        <a:pt x="5" y="6"/>
                      </a:lnTo>
                      <a:lnTo>
                        <a:pt x="12" y="10"/>
                      </a:lnTo>
                      <a:lnTo>
                        <a:pt x="16" y="11"/>
                      </a:lnTo>
                      <a:lnTo>
                        <a:pt x="21" y="14"/>
                      </a:lnTo>
                      <a:lnTo>
                        <a:pt x="26" y="15"/>
                      </a:lnTo>
                      <a:lnTo>
                        <a:pt x="30" y="15"/>
                      </a:lnTo>
                      <a:lnTo>
                        <a:pt x="27" y="1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6" name="Freeform 1691">
                  <a:extLst>
                    <a:ext uri="{FF2B5EF4-FFF2-40B4-BE49-F238E27FC236}">
                      <a16:creationId xmlns:a16="http://schemas.microsoft.com/office/drawing/2014/main" id="{BAD3B4B6-3610-483C-B541-939F3FE630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79052" y="4721057"/>
                  <a:ext cx="6716" cy="0"/>
                </a:xfrm>
                <a:custGeom>
                  <a:avLst/>
                  <a:gdLst>
                    <a:gd name="T0" fmla="*/ 6 w 6"/>
                    <a:gd name="T1" fmla="*/ 1 h 1"/>
                    <a:gd name="T2" fmla="*/ 3 w 6"/>
                    <a:gd name="T3" fmla="*/ 0 h 1"/>
                    <a:gd name="T4" fmla="*/ 0 w 6"/>
                    <a:gd name="T5" fmla="*/ 1 h 1"/>
                    <a:gd name="T6" fmla="*/ 6 w 6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6" y="1"/>
                      </a:move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6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9" name="Freeform 1694">
                  <a:extLst>
                    <a:ext uri="{FF2B5EF4-FFF2-40B4-BE49-F238E27FC236}">
                      <a16:creationId xmlns:a16="http://schemas.microsoft.com/office/drawing/2014/main" id="{110418B6-78E4-4499-9F34-6AF88A8FAB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29034" y="4702491"/>
                  <a:ext cx="8954" cy="5304"/>
                </a:xfrm>
                <a:custGeom>
                  <a:avLst/>
                  <a:gdLst>
                    <a:gd name="T0" fmla="*/ 7 w 9"/>
                    <a:gd name="T1" fmla="*/ 2 h 2"/>
                    <a:gd name="T2" fmla="*/ 9 w 9"/>
                    <a:gd name="T3" fmla="*/ 0 h 2"/>
                    <a:gd name="T4" fmla="*/ 4 w 9"/>
                    <a:gd name="T5" fmla="*/ 0 h 2"/>
                    <a:gd name="T6" fmla="*/ 2 w 9"/>
                    <a:gd name="T7" fmla="*/ 0 h 2"/>
                    <a:gd name="T8" fmla="*/ 0 w 9"/>
                    <a:gd name="T9" fmla="*/ 1 h 2"/>
                    <a:gd name="T10" fmla="*/ 7 w 9"/>
                    <a:gd name="T1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2">
                      <a:moveTo>
                        <a:pt x="7" y="2"/>
                      </a:moveTo>
                      <a:lnTo>
                        <a:pt x="9" y="0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7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0" name="Freeform 1695">
                  <a:extLst>
                    <a:ext uri="{FF2B5EF4-FFF2-40B4-BE49-F238E27FC236}">
                      <a16:creationId xmlns:a16="http://schemas.microsoft.com/office/drawing/2014/main" id="{DEAB0162-8767-4F5F-A691-2B2F43840F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60373" y="4890789"/>
                  <a:ext cx="8954" cy="7957"/>
                </a:xfrm>
                <a:custGeom>
                  <a:avLst/>
                  <a:gdLst>
                    <a:gd name="T0" fmla="*/ 7 w 9"/>
                    <a:gd name="T1" fmla="*/ 5 h 5"/>
                    <a:gd name="T2" fmla="*/ 8 w 9"/>
                    <a:gd name="T3" fmla="*/ 4 h 5"/>
                    <a:gd name="T4" fmla="*/ 9 w 9"/>
                    <a:gd name="T5" fmla="*/ 1 h 5"/>
                    <a:gd name="T6" fmla="*/ 4 w 9"/>
                    <a:gd name="T7" fmla="*/ 0 h 5"/>
                    <a:gd name="T8" fmla="*/ 0 w 9"/>
                    <a:gd name="T9" fmla="*/ 1 h 5"/>
                    <a:gd name="T10" fmla="*/ 7 w 9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5">
                      <a:moveTo>
                        <a:pt x="7" y="5"/>
                      </a:moveTo>
                      <a:lnTo>
                        <a:pt x="8" y="4"/>
                      </a:lnTo>
                      <a:lnTo>
                        <a:pt x="9" y="1"/>
                      </a:ln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7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1" name="Freeform 1696">
                  <a:extLst>
                    <a:ext uri="{FF2B5EF4-FFF2-40B4-BE49-F238E27FC236}">
                      <a16:creationId xmlns:a16="http://schemas.microsoft.com/office/drawing/2014/main" id="{1EDE6348-4DB8-4730-9129-2F7AD12F04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64850" y="4731664"/>
                  <a:ext cx="8954" cy="2653"/>
                </a:xfrm>
                <a:custGeom>
                  <a:avLst/>
                  <a:gdLst>
                    <a:gd name="T0" fmla="*/ 6 w 9"/>
                    <a:gd name="T1" fmla="*/ 0 h 1"/>
                    <a:gd name="T2" fmla="*/ 9 w 9"/>
                    <a:gd name="T3" fmla="*/ 0 h 1"/>
                    <a:gd name="T4" fmla="*/ 4 w 9"/>
                    <a:gd name="T5" fmla="*/ 0 h 1"/>
                    <a:gd name="T6" fmla="*/ 0 w 9"/>
                    <a:gd name="T7" fmla="*/ 1 h 1"/>
                    <a:gd name="T8" fmla="*/ 6 w 9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1">
                      <a:moveTo>
                        <a:pt x="6" y="0"/>
                      </a:moveTo>
                      <a:lnTo>
                        <a:pt x="9" y="0"/>
                      </a:ln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2" name="Freeform 1697">
                  <a:extLst>
                    <a:ext uri="{FF2B5EF4-FFF2-40B4-BE49-F238E27FC236}">
                      <a16:creationId xmlns:a16="http://schemas.microsoft.com/office/drawing/2014/main" id="{43C713A4-6890-4150-AF60-B8A61FC42A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3804" y="4742273"/>
                  <a:ext cx="13431" cy="2653"/>
                </a:xfrm>
                <a:custGeom>
                  <a:avLst/>
                  <a:gdLst>
                    <a:gd name="T0" fmla="*/ 4 w 11"/>
                    <a:gd name="T1" fmla="*/ 3 h 3"/>
                    <a:gd name="T2" fmla="*/ 11 w 11"/>
                    <a:gd name="T3" fmla="*/ 1 h 3"/>
                    <a:gd name="T4" fmla="*/ 6 w 11"/>
                    <a:gd name="T5" fmla="*/ 0 h 3"/>
                    <a:gd name="T6" fmla="*/ 2 w 11"/>
                    <a:gd name="T7" fmla="*/ 0 h 3"/>
                    <a:gd name="T8" fmla="*/ 0 w 11"/>
                    <a:gd name="T9" fmla="*/ 3 h 3"/>
                    <a:gd name="T10" fmla="*/ 4 w 11"/>
                    <a:gd name="T11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" h="3">
                      <a:moveTo>
                        <a:pt x="4" y="3"/>
                      </a:moveTo>
                      <a:lnTo>
                        <a:pt x="11" y="1"/>
                      </a:ln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3"/>
                      </a:lnTo>
                      <a:lnTo>
                        <a:pt x="4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3" name="Freeform 1698">
                  <a:extLst>
                    <a:ext uri="{FF2B5EF4-FFF2-40B4-BE49-F238E27FC236}">
                      <a16:creationId xmlns:a16="http://schemas.microsoft.com/office/drawing/2014/main" id="{CD276BD6-78BE-421C-A55D-C6C5E22C3E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6042" y="4691883"/>
                  <a:ext cx="8954" cy="2653"/>
                </a:xfrm>
                <a:custGeom>
                  <a:avLst/>
                  <a:gdLst>
                    <a:gd name="T0" fmla="*/ 6 w 9"/>
                    <a:gd name="T1" fmla="*/ 1 h 1"/>
                    <a:gd name="T2" fmla="*/ 9 w 9"/>
                    <a:gd name="T3" fmla="*/ 1 h 1"/>
                    <a:gd name="T4" fmla="*/ 0 w 9"/>
                    <a:gd name="T5" fmla="*/ 0 h 1"/>
                    <a:gd name="T6" fmla="*/ 6 w 9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9" h="1">
                      <a:moveTo>
                        <a:pt x="6" y="1"/>
                      </a:moveTo>
                      <a:lnTo>
                        <a:pt x="9" y="1"/>
                      </a:lnTo>
                      <a:lnTo>
                        <a:pt x="0" y="0"/>
                      </a:lnTo>
                      <a:lnTo>
                        <a:pt x="6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4" name="Freeform 1699">
                  <a:extLst>
                    <a:ext uri="{FF2B5EF4-FFF2-40B4-BE49-F238E27FC236}">
                      <a16:creationId xmlns:a16="http://schemas.microsoft.com/office/drawing/2014/main" id="{8A21CBF4-A70E-455D-A6CD-4A07D6FA9E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6042" y="4755533"/>
                  <a:ext cx="44770" cy="15912"/>
                </a:xfrm>
                <a:custGeom>
                  <a:avLst/>
                  <a:gdLst>
                    <a:gd name="T0" fmla="*/ 0 w 41"/>
                    <a:gd name="T1" fmla="*/ 4 h 11"/>
                    <a:gd name="T2" fmla="*/ 8 w 41"/>
                    <a:gd name="T3" fmla="*/ 6 h 11"/>
                    <a:gd name="T4" fmla="*/ 14 w 41"/>
                    <a:gd name="T5" fmla="*/ 9 h 11"/>
                    <a:gd name="T6" fmla="*/ 16 w 41"/>
                    <a:gd name="T7" fmla="*/ 10 h 11"/>
                    <a:gd name="T8" fmla="*/ 19 w 41"/>
                    <a:gd name="T9" fmla="*/ 11 h 11"/>
                    <a:gd name="T10" fmla="*/ 25 w 41"/>
                    <a:gd name="T11" fmla="*/ 10 h 11"/>
                    <a:gd name="T12" fmla="*/ 27 w 41"/>
                    <a:gd name="T13" fmla="*/ 10 h 11"/>
                    <a:gd name="T14" fmla="*/ 30 w 41"/>
                    <a:gd name="T15" fmla="*/ 10 h 11"/>
                    <a:gd name="T16" fmla="*/ 36 w 41"/>
                    <a:gd name="T17" fmla="*/ 10 h 11"/>
                    <a:gd name="T18" fmla="*/ 38 w 41"/>
                    <a:gd name="T19" fmla="*/ 9 h 11"/>
                    <a:gd name="T20" fmla="*/ 40 w 41"/>
                    <a:gd name="T21" fmla="*/ 8 h 11"/>
                    <a:gd name="T22" fmla="*/ 41 w 41"/>
                    <a:gd name="T23" fmla="*/ 6 h 11"/>
                    <a:gd name="T24" fmla="*/ 38 w 41"/>
                    <a:gd name="T25" fmla="*/ 4 h 11"/>
                    <a:gd name="T26" fmla="*/ 36 w 41"/>
                    <a:gd name="T27" fmla="*/ 3 h 11"/>
                    <a:gd name="T28" fmla="*/ 31 w 41"/>
                    <a:gd name="T29" fmla="*/ 1 h 11"/>
                    <a:gd name="T30" fmla="*/ 20 w 41"/>
                    <a:gd name="T31" fmla="*/ 0 h 11"/>
                    <a:gd name="T32" fmla="*/ 9 w 41"/>
                    <a:gd name="T33" fmla="*/ 3 h 11"/>
                    <a:gd name="T34" fmla="*/ 4 w 41"/>
                    <a:gd name="T35" fmla="*/ 3 h 11"/>
                    <a:gd name="T36" fmla="*/ 0 w 41"/>
                    <a:gd name="T37" fmla="*/ 4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41" h="11">
                      <a:moveTo>
                        <a:pt x="0" y="4"/>
                      </a:moveTo>
                      <a:lnTo>
                        <a:pt x="8" y="6"/>
                      </a:lnTo>
                      <a:lnTo>
                        <a:pt x="14" y="9"/>
                      </a:lnTo>
                      <a:lnTo>
                        <a:pt x="16" y="10"/>
                      </a:lnTo>
                      <a:lnTo>
                        <a:pt x="19" y="11"/>
                      </a:lnTo>
                      <a:lnTo>
                        <a:pt x="25" y="10"/>
                      </a:lnTo>
                      <a:lnTo>
                        <a:pt x="27" y="10"/>
                      </a:lnTo>
                      <a:lnTo>
                        <a:pt x="30" y="10"/>
                      </a:lnTo>
                      <a:lnTo>
                        <a:pt x="36" y="10"/>
                      </a:lnTo>
                      <a:lnTo>
                        <a:pt x="38" y="9"/>
                      </a:lnTo>
                      <a:lnTo>
                        <a:pt x="40" y="8"/>
                      </a:lnTo>
                      <a:lnTo>
                        <a:pt x="41" y="6"/>
                      </a:lnTo>
                      <a:lnTo>
                        <a:pt x="38" y="4"/>
                      </a:lnTo>
                      <a:lnTo>
                        <a:pt x="36" y="3"/>
                      </a:lnTo>
                      <a:lnTo>
                        <a:pt x="31" y="1"/>
                      </a:lnTo>
                      <a:lnTo>
                        <a:pt x="20" y="0"/>
                      </a:lnTo>
                      <a:lnTo>
                        <a:pt x="9" y="3"/>
                      </a:lnTo>
                      <a:lnTo>
                        <a:pt x="4" y="3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5" name="Freeform 1700">
                  <a:extLst>
                    <a:ext uri="{FF2B5EF4-FFF2-40B4-BE49-F238E27FC236}">
                      <a16:creationId xmlns:a16="http://schemas.microsoft.com/office/drawing/2014/main" id="{2796DF73-662F-4BA2-A8D2-A56644856D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8281" y="4694536"/>
                  <a:ext cx="2240" cy="0"/>
                </a:xfrm>
                <a:custGeom>
                  <a:avLst/>
                  <a:gdLst>
                    <a:gd name="T0" fmla="*/ 3 w 3"/>
                    <a:gd name="T1" fmla="*/ 2 w 3"/>
                    <a:gd name="T2" fmla="*/ 0 w 3"/>
                    <a:gd name="T3" fmla="*/ 3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3">
                      <a:moveTo>
                        <a:pt x="3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7" name="Freeform 1702">
                  <a:extLst>
                    <a:ext uri="{FF2B5EF4-FFF2-40B4-BE49-F238E27FC236}">
                      <a16:creationId xmlns:a16="http://schemas.microsoft.com/office/drawing/2014/main" id="{7C4C9F10-B010-4604-B608-B8B805E6FB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05875" y="4750228"/>
                  <a:ext cx="11193" cy="5304"/>
                </a:xfrm>
                <a:custGeom>
                  <a:avLst/>
                  <a:gdLst>
                    <a:gd name="T0" fmla="*/ 6 w 9"/>
                    <a:gd name="T1" fmla="*/ 4 h 4"/>
                    <a:gd name="T2" fmla="*/ 9 w 9"/>
                    <a:gd name="T3" fmla="*/ 3 h 4"/>
                    <a:gd name="T4" fmla="*/ 4 w 9"/>
                    <a:gd name="T5" fmla="*/ 2 h 4"/>
                    <a:gd name="T6" fmla="*/ 2 w 9"/>
                    <a:gd name="T7" fmla="*/ 0 h 4"/>
                    <a:gd name="T8" fmla="*/ 0 w 9"/>
                    <a:gd name="T9" fmla="*/ 2 h 4"/>
                    <a:gd name="T10" fmla="*/ 6 w 9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4">
                      <a:moveTo>
                        <a:pt x="6" y="4"/>
                      </a:moveTo>
                      <a:lnTo>
                        <a:pt x="9" y="3"/>
                      </a:lnTo>
                      <a:lnTo>
                        <a:pt x="4" y="2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6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8" name="Freeform 1703">
                  <a:extLst>
                    <a:ext uri="{FF2B5EF4-FFF2-40B4-BE49-F238E27FC236}">
                      <a16:creationId xmlns:a16="http://schemas.microsoft.com/office/drawing/2014/main" id="{57064A14-4985-4CA0-98B5-8D3E85E5D5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23784" y="4707796"/>
                  <a:ext cx="6716" cy="2653"/>
                </a:xfrm>
                <a:custGeom>
                  <a:avLst/>
                  <a:gdLst>
                    <a:gd name="T0" fmla="*/ 3 w 6"/>
                    <a:gd name="T1" fmla="*/ 0 h 1"/>
                    <a:gd name="T2" fmla="*/ 0 w 6"/>
                    <a:gd name="T3" fmla="*/ 1 h 1"/>
                    <a:gd name="T4" fmla="*/ 6 w 6"/>
                    <a:gd name="T5" fmla="*/ 0 h 1"/>
                    <a:gd name="T6" fmla="*/ 3 w 6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3" y="0"/>
                      </a:moveTo>
                      <a:lnTo>
                        <a:pt x="0" y="1"/>
                      </a:lnTo>
                      <a:lnTo>
                        <a:pt x="6" y="0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9" name="Freeform 1704">
                  <a:extLst>
                    <a:ext uri="{FF2B5EF4-FFF2-40B4-BE49-F238E27FC236}">
                      <a16:creationId xmlns:a16="http://schemas.microsoft.com/office/drawing/2014/main" id="{A0D26369-A9DC-4787-8A5B-65F3E5ADE1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34977" y="4744924"/>
                  <a:ext cx="35816" cy="5304"/>
                </a:xfrm>
                <a:custGeom>
                  <a:avLst/>
                  <a:gdLst>
                    <a:gd name="T0" fmla="*/ 4 w 31"/>
                    <a:gd name="T1" fmla="*/ 3 h 3"/>
                    <a:gd name="T2" fmla="*/ 11 w 31"/>
                    <a:gd name="T3" fmla="*/ 2 h 3"/>
                    <a:gd name="T4" fmla="*/ 17 w 31"/>
                    <a:gd name="T5" fmla="*/ 2 h 3"/>
                    <a:gd name="T6" fmla="*/ 24 w 31"/>
                    <a:gd name="T7" fmla="*/ 2 h 3"/>
                    <a:gd name="T8" fmla="*/ 31 w 31"/>
                    <a:gd name="T9" fmla="*/ 1 h 3"/>
                    <a:gd name="T10" fmla="*/ 23 w 31"/>
                    <a:gd name="T11" fmla="*/ 1 h 3"/>
                    <a:gd name="T12" fmla="*/ 15 w 31"/>
                    <a:gd name="T13" fmla="*/ 0 h 3"/>
                    <a:gd name="T14" fmla="*/ 7 w 31"/>
                    <a:gd name="T15" fmla="*/ 0 h 3"/>
                    <a:gd name="T16" fmla="*/ 0 w 31"/>
                    <a:gd name="T17" fmla="*/ 2 h 3"/>
                    <a:gd name="T18" fmla="*/ 4 w 31"/>
                    <a:gd name="T1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1" h="3">
                      <a:moveTo>
                        <a:pt x="4" y="3"/>
                      </a:moveTo>
                      <a:lnTo>
                        <a:pt x="11" y="2"/>
                      </a:lnTo>
                      <a:lnTo>
                        <a:pt x="17" y="2"/>
                      </a:lnTo>
                      <a:lnTo>
                        <a:pt x="24" y="2"/>
                      </a:lnTo>
                      <a:lnTo>
                        <a:pt x="31" y="1"/>
                      </a:lnTo>
                      <a:lnTo>
                        <a:pt x="23" y="1"/>
                      </a:lnTo>
                      <a:lnTo>
                        <a:pt x="15" y="0"/>
                      </a:lnTo>
                      <a:lnTo>
                        <a:pt x="7" y="0"/>
                      </a:lnTo>
                      <a:lnTo>
                        <a:pt x="0" y="2"/>
                      </a:lnTo>
                      <a:lnTo>
                        <a:pt x="4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0" name="Freeform 1705">
                  <a:extLst>
                    <a:ext uri="{FF2B5EF4-FFF2-40B4-BE49-F238E27FC236}">
                      <a16:creationId xmlns:a16="http://schemas.microsoft.com/office/drawing/2014/main" id="{1E1DF9AC-1446-42EC-B33F-8D5567034E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02133" y="4707796"/>
                  <a:ext cx="40293" cy="2653"/>
                </a:xfrm>
                <a:custGeom>
                  <a:avLst/>
                  <a:gdLst>
                    <a:gd name="T0" fmla="*/ 0 w 37"/>
                    <a:gd name="T1" fmla="*/ 4 h 4"/>
                    <a:gd name="T2" fmla="*/ 18 w 37"/>
                    <a:gd name="T3" fmla="*/ 3 h 4"/>
                    <a:gd name="T4" fmla="*/ 37 w 37"/>
                    <a:gd name="T5" fmla="*/ 0 h 4"/>
                    <a:gd name="T6" fmla="*/ 18 w 37"/>
                    <a:gd name="T7" fmla="*/ 0 h 4"/>
                    <a:gd name="T8" fmla="*/ 8 w 37"/>
                    <a:gd name="T9" fmla="*/ 2 h 4"/>
                    <a:gd name="T10" fmla="*/ 0 w 37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7" h="4">
                      <a:moveTo>
                        <a:pt x="0" y="4"/>
                      </a:moveTo>
                      <a:lnTo>
                        <a:pt x="18" y="3"/>
                      </a:lnTo>
                      <a:lnTo>
                        <a:pt x="37" y="0"/>
                      </a:lnTo>
                      <a:lnTo>
                        <a:pt x="18" y="0"/>
                      </a:lnTo>
                      <a:lnTo>
                        <a:pt x="8" y="2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1" name="Freeform 1706">
                  <a:extLst>
                    <a:ext uri="{FF2B5EF4-FFF2-40B4-BE49-F238E27FC236}">
                      <a16:creationId xmlns:a16="http://schemas.microsoft.com/office/drawing/2014/main" id="{E2E3076D-47B1-4FA5-BBEB-DDC423C62C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5788" y="5389379"/>
                  <a:ext cx="2240" cy="2653"/>
                </a:xfrm>
                <a:custGeom>
                  <a:avLst/>
                  <a:gdLst>
                    <a:gd name="T0" fmla="*/ 4 w 4"/>
                    <a:gd name="T1" fmla="*/ 3 h 3"/>
                    <a:gd name="T2" fmla="*/ 0 w 4"/>
                    <a:gd name="T3" fmla="*/ 0 h 3"/>
                    <a:gd name="T4" fmla="*/ 0 w 4"/>
                    <a:gd name="T5" fmla="*/ 3 h 3"/>
                    <a:gd name="T6" fmla="*/ 4 w 4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3">
                      <a:moveTo>
                        <a:pt x="4" y="3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2" name="Freeform 1707">
                  <a:extLst>
                    <a:ext uri="{FF2B5EF4-FFF2-40B4-BE49-F238E27FC236}">
                      <a16:creationId xmlns:a16="http://schemas.microsoft.com/office/drawing/2014/main" id="{F2F1521B-07D0-47C8-9043-72125BD700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5788" y="5418551"/>
                  <a:ext cx="4477" cy="7957"/>
                </a:xfrm>
                <a:custGeom>
                  <a:avLst/>
                  <a:gdLst>
                    <a:gd name="T0" fmla="*/ 4 w 4"/>
                    <a:gd name="T1" fmla="*/ 4 h 6"/>
                    <a:gd name="T2" fmla="*/ 0 w 4"/>
                    <a:gd name="T3" fmla="*/ 0 h 6"/>
                    <a:gd name="T4" fmla="*/ 2 w 4"/>
                    <a:gd name="T5" fmla="*/ 6 h 6"/>
                    <a:gd name="T6" fmla="*/ 4 w 4"/>
                    <a:gd name="T7" fmla="*/ 6 h 6"/>
                    <a:gd name="T8" fmla="*/ 4 w 4"/>
                    <a:gd name="T9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6">
                      <a:moveTo>
                        <a:pt x="4" y="4"/>
                      </a:moveTo>
                      <a:lnTo>
                        <a:pt x="0" y="0"/>
                      </a:lnTo>
                      <a:lnTo>
                        <a:pt x="2" y="6"/>
                      </a:lnTo>
                      <a:lnTo>
                        <a:pt x="4" y="6"/>
                      </a:lnTo>
                      <a:lnTo>
                        <a:pt x="4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3" name="Freeform 1708">
                  <a:extLst>
                    <a:ext uri="{FF2B5EF4-FFF2-40B4-BE49-F238E27FC236}">
                      <a16:creationId xmlns:a16="http://schemas.microsoft.com/office/drawing/2014/main" id="{E7A8D406-1DF1-43EC-AF39-F9C4946828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8027" y="5413246"/>
                  <a:ext cx="2240" cy="5304"/>
                </a:xfrm>
                <a:custGeom>
                  <a:avLst/>
                  <a:gdLst>
                    <a:gd name="T0" fmla="*/ 0 w 2"/>
                    <a:gd name="T1" fmla="*/ 0 h 2"/>
                    <a:gd name="T2" fmla="*/ 2 w 2"/>
                    <a:gd name="T3" fmla="*/ 2 h 2"/>
                    <a:gd name="T4" fmla="*/ 0 w 2"/>
                    <a:gd name="T5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2" y="2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4" name="Freeform 1709">
                  <a:extLst>
                    <a:ext uri="{FF2B5EF4-FFF2-40B4-BE49-F238E27FC236}">
                      <a16:creationId xmlns:a16="http://schemas.microsoft.com/office/drawing/2014/main" id="{B7A4C3C9-2DB8-4BC0-AF08-FAF541FA22F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8027" y="5410595"/>
                  <a:ext cx="2240" cy="2653"/>
                </a:xfrm>
                <a:custGeom>
                  <a:avLst/>
                  <a:gdLst>
                    <a:gd name="T0" fmla="*/ 0 w 2"/>
                    <a:gd name="T1" fmla="*/ 2 h 2"/>
                    <a:gd name="T2" fmla="*/ 2 w 2"/>
                    <a:gd name="T3" fmla="*/ 0 h 2"/>
                    <a:gd name="T4" fmla="*/ 0 w 2"/>
                    <a:gd name="T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2">
                      <a:moveTo>
                        <a:pt x="0" y="2"/>
                      </a:moveTo>
                      <a:lnTo>
                        <a:pt x="2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5" name="Freeform 1710">
                  <a:extLst>
                    <a:ext uri="{FF2B5EF4-FFF2-40B4-BE49-F238E27FC236}">
                      <a16:creationId xmlns:a16="http://schemas.microsoft.com/office/drawing/2014/main" id="{4F542402-C4F6-458B-AA29-FA418C7D64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8027" y="5354902"/>
                  <a:ext cx="4477" cy="2653"/>
                </a:xfrm>
                <a:custGeom>
                  <a:avLst/>
                  <a:gdLst>
                    <a:gd name="T0" fmla="*/ 4 w 4"/>
                    <a:gd name="T1" fmla="*/ 1 h 1"/>
                    <a:gd name="T2" fmla="*/ 2 w 4"/>
                    <a:gd name="T3" fmla="*/ 0 h 1"/>
                    <a:gd name="T4" fmla="*/ 0 w 4"/>
                    <a:gd name="T5" fmla="*/ 0 h 1"/>
                    <a:gd name="T6" fmla="*/ 4 w 4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1">
                      <a:moveTo>
                        <a:pt x="4" y="1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4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6" name="Freeform 1711">
                  <a:extLst>
                    <a:ext uri="{FF2B5EF4-FFF2-40B4-BE49-F238E27FC236}">
                      <a16:creationId xmlns:a16="http://schemas.microsoft.com/office/drawing/2014/main" id="{6689ED2B-DB5E-449B-AD0B-B7C533EB02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0265" y="5460985"/>
                  <a:ext cx="2240" cy="7957"/>
                </a:xfrm>
                <a:custGeom>
                  <a:avLst/>
                  <a:gdLst>
                    <a:gd name="T0" fmla="*/ 0 w 3"/>
                    <a:gd name="T1" fmla="*/ 3 h 8"/>
                    <a:gd name="T2" fmla="*/ 0 w 3"/>
                    <a:gd name="T3" fmla="*/ 5 h 8"/>
                    <a:gd name="T4" fmla="*/ 3 w 3"/>
                    <a:gd name="T5" fmla="*/ 8 h 8"/>
                    <a:gd name="T6" fmla="*/ 3 w 3"/>
                    <a:gd name="T7" fmla="*/ 4 h 8"/>
                    <a:gd name="T8" fmla="*/ 1 w 3"/>
                    <a:gd name="T9" fmla="*/ 0 h 8"/>
                    <a:gd name="T10" fmla="*/ 0 w 3"/>
                    <a:gd name="T11" fmla="*/ 3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8">
                      <a:moveTo>
                        <a:pt x="0" y="3"/>
                      </a:moveTo>
                      <a:lnTo>
                        <a:pt x="0" y="5"/>
                      </a:lnTo>
                      <a:lnTo>
                        <a:pt x="3" y="8"/>
                      </a:lnTo>
                      <a:lnTo>
                        <a:pt x="3" y="4"/>
                      </a:lnTo>
                      <a:lnTo>
                        <a:pt x="1" y="0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7" name="Freeform 1712">
                  <a:extLst>
                    <a:ext uri="{FF2B5EF4-FFF2-40B4-BE49-F238E27FC236}">
                      <a16:creationId xmlns:a16="http://schemas.microsoft.com/office/drawing/2014/main" id="{A40DFD6F-D5C0-4916-B5E1-2121CCC3B0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0265" y="5442420"/>
                  <a:ext cx="6716" cy="10609"/>
                </a:xfrm>
                <a:custGeom>
                  <a:avLst/>
                  <a:gdLst>
                    <a:gd name="T0" fmla="*/ 3 w 5"/>
                    <a:gd name="T1" fmla="*/ 0 h 7"/>
                    <a:gd name="T2" fmla="*/ 0 w 5"/>
                    <a:gd name="T3" fmla="*/ 1 h 7"/>
                    <a:gd name="T4" fmla="*/ 0 w 5"/>
                    <a:gd name="T5" fmla="*/ 2 h 7"/>
                    <a:gd name="T6" fmla="*/ 0 w 5"/>
                    <a:gd name="T7" fmla="*/ 7 h 7"/>
                    <a:gd name="T8" fmla="*/ 1 w 5"/>
                    <a:gd name="T9" fmla="*/ 5 h 7"/>
                    <a:gd name="T10" fmla="*/ 5 w 5"/>
                    <a:gd name="T11" fmla="*/ 5 h 7"/>
                    <a:gd name="T12" fmla="*/ 3 w 5"/>
                    <a:gd name="T13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7">
                      <a:moveTo>
                        <a:pt x="3" y="0"/>
                      </a:move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7"/>
                      </a:lnTo>
                      <a:lnTo>
                        <a:pt x="1" y="5"/>
                      </a:lnTo>
                      <a:lnTo>
                        <a:pt x="5" y="5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8" name="Freeform 1713">
                  <a:extLst>
                    <a:ext uri="{FF2B5EF4-FFF2-40B4-BE49-F238E27FC236}">
                      <a16:creationId xmlns:a16="http://schemas.microsoft.com/office/drawing/2014/main" id="{7D697ECE-6477-4DBC-868D-353D367B2F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4742" y="5437116"/>
                  <a:ext cx="4477" cy="10609"/>
                </a:xfrm>
                <a:custGeom>
                  <a:avLst/>
                  <a:gdLst>
                    <a:gd name="T0" fmla="*/ 1 w 5"/>
                    <a:gd name="T1" fmla="*/ 0 h 7"/>
                    <a:gd name="T2" fmla="*/ 0 w 5"/>
                    <a:gd name="T3" fmla="*/ 4 h 7"/>
                    <a:gd name="T4" fmla="*/ 1 w 5"/>
                    <a:gd name="T5" fmla="*/ 6 h 7"/>
                    <a:gd name="T6" fmla="*/ 2 w 5"/>
                    <a:gd name="T7" fmla="*/ 7 h 7"/>
                    <a:gd name="T8" fmla="*/ 5 w 5"/>
                    <a:gd name="T9" fmla="*/ 6 h 7"/>
                    <a:gd name="T10" fmla="*/ 5 w 5"/>
                    <a:gd name="T11" fmla="*/ 4 h 7"/>
                    <a:gd name="T12" fmla="*/ 2 w 5"/>
                    <a:gd name="T13" fmla="*/ 1 h 7"/>
                    <a:gd name="T14" fmla="*/ 1 w 5"/>
                    <a:gd name="T15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" h="7">
                      <a:moveTo>
                        <a:pt x="1" y="0"/>
                      </a:moveTo>
                      <a:lnTo>
                        <a:pt x="0" y="4"/>
                      </a:lnTo>
                      <a:lnTo>
                        <a:pt x="1" y="6"/>
                      </a:lnTo>
                      <a:lnTo>
                        <a:pt x="2" y="7"/>
                      </a:lnTo>
                      <a:lnTo>
                        <a:pt x="5" y="6"/>
                      </a:lnTo>
                      <a:lnTo>
                        <a:pt x="5" y="4"/>
                      </a:lnTo>
                      <a:lnTo>
                        <a:pt x="2" y="1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9" name="Freeform 1714">
                  <a:extLst>
                    <a:ext uri="{FF2B5EF4-FFF2-40B4-BE49-F238E27FC236}">
                      <a16:creationId xmlns:a16="http://schemas.microsoft.com/office/drawing/2014/main" id="{9CEBCAF5-25A2-4875-A31D-E8F3AB0D7D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6981" y="5434464"/>
                  <a:ext cx="6716" cy="5304"/>
                </a:xfrm>
                <a:custGeom>
                  <a:avLst/>
                  <a:gdLst>
                    <a:gd name="T0" fmla="*/ 2 w 7"/>
                    <a:gd name="T1" fmla="*/ 1 h 3"/>
                    <a:gd name="T2" fmla="*/ 0 w 7"/>
                    <a:gd name="T3" fmla="*/ 1 h 3"/>
                    <a:gd name="T4" fmla="*/ 4 w 7"/>
                    <a:gd name="T5" fmla="*/ 3 h 3"/>
                    <a:gd name="T6" fmla="*/ 6 w 7"/>
                    <a:gd name="T7" fmla="*/ 3 h 3"/>
                    <a:gd name="T8" fmla="*/ 7 w 7"/>
                    <a:gd name="T9" fmla="*/ 2 h 3"/>
                    <a:gd name="T10" fmla="*/ 7 w 7"/>
                    <a:gd name="T11" fmla="*/ 0 h 3"/>
                    <a:gd name="T12" fmla="*/ 6 w 7"/>
                    <a:gd name="T13" fmla="*/ 0 h 3"/>
                    <a:gd name="T14" fmla="*/ 5 w 7"/>
                    <a:gd name="T15" fmla="*/ 0 h 3"/>
                    <a:gd name="T16" fmla="*/ 2 w 7"/>
                    <a:gd name="T17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" h="3">
                      <a:moveTo>
                        <a:pt x="2" y="1"/>
                      </a:moveTo>
                      <a:lnTo>
                        <a:pt x="0" y="1"/>
                      </a:lnTo>
                      <a:lnTo>
                        <a:pt x="4" y="3"/>
                      </a:lnTo>
                      <a:lnTo>
                        <a:pt x="6" y="3"/>
                      </a:lnTo>
                      <a:lnTo>
                        <a:pt x="7" y="2"/>
                      </a:lnTo>
                      <a:lnTo>
                        <a:pt x="7" y="0"/>
                      </a:lnTo>
                      <a:lnTo>
                        <a:pt x="6" y="0"/>
                      </a:lnTo>
                      <a:lnTo>
                        <a:pt x="5" y="0"/>
                      </a:lnTo>
                      <a:lnTo>
                        <a:pt x="2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0" name="Freeform 1715">
                  <a:extLst>
                    <a:ext uri="{FF2B5EF4-FFF2-40B4-BE49-F238E27FC236}">
                      <a16:creationId xmlns:a16="http://schemas.microsoft.com/office/drawing/2014/main" id="{778DB2F8-EBC1-41B5-BFBA-80D19EEFB4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53696" y="5344293"/>
                  <a:ext cx="6716" cy="2653"/>
                </a:xfrm>
                <a:custGeom>
                  <a:avLst/>
                  <a:gdLst>
                    <a:gd name="T0" fmla="*/ 5 w 5"/>
                    <a:gd name="T1" fmla="*/ 0 h 2"/>
                    <a:gd name="T2" fmla="*/ 3 w 5"/>
                    <a:gd name="T3" fmla="*/ 0 h 2"/>
                    <a:gd name="T4" fmla="*/ 0 w 5"/>
                    <a:gd name="T5" fmla="*/ 0 h 2"/>
                    <a:gd name="T6" fmla="*/ 0 w 5"/>
                    <a:gd name="T7" fmla="*/ 2 h 2"/>
                    <a:gd name="T8" fmla="*/ 3 w 5"/>
                    <a:gd name="T9" fmla="*/ 2 h 2"/>
                    <a:gd name="T10" fmla="*/ 4 w 5"/>
                    <a:gd name="T11" fmla="*/ 2 h 2"/>
                    <a:gd name="T12" fmla="*/ 5 w 5"/>
                    <a:gd name="T13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5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1" name="Freeform 1716">
                  <a:extLst>
                    <a:ext uri="{FF2B5EF4-FFF2-40B4-BE49-F238E27FC236}">
                      <a16:creationId xmlns:a16="http://schemas.microsoft.com/office/drawing/2014/main" id="{68D6138E-BAE9-4F31-BE63-BEDA8C1BC44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2650" y="5338988"/>
                  <a:ext cx="2240" cy="7957"/>
                </a:xfrm>
                <a:custGeom>
                  <a:avLst/>
                  <a:gdLst>
                    <a:gd name="T0" fmla="*/ 2 w 2"/>
                    <a:gd name="T1" fmla="*/ 2 h 6"/>
                    <a:gd name="T2" fmla="*/ 0 w 2"/>
                    <a:gd name="T3" fmla="*/ 0 h 6"/>
                    <a:gd name="T4" fmla="*/ 0 w 2"/>
                    <a:gd name="T5" fmla="*/ 6 h 6"/>
                    <a:gd name="T6" fmla="*/ 2 w 2"/>
                    <a:gd name="T7" fmla="*/ 4 h 6"/>
                    <a:gd name="T8" fmla="*/ 2 w 2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6">
                      <a:moveTo>
                        <a:pt x="2" y="2"/>
                      </a:move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2" y="4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2" name="Freeform 1717">
                  <a:extLst>
                    <a:ext uri="{FF2B5EF4-FFF2-40B4-BE49-F238E27FC236}">
                      <a16:creationId xmlns:a16="http://schemas.microsoft.com/office/drawing/2014/main" id="{42A9283F-B34B-406D-AEBC-AC61897B16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9366" y="5338988"/>
                  <a:ext cx="2240" cy="0"/>
                </a:xfrm>
                <a:custGeom>
                  <a:avLst/>
                  <a:gdLst>
                    <a:gd name="T0" fmla="*/ 2 w 2"/>
                    <a:gd name="T1" fmla="*/ 0 w 2"/>
                    <a:gd name="T2" fmla="*/ 2 w 2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3" name="Freeform 1718">
                  <a:extLst>
                    <a:ext uri="{FF2B5EF4-FFF2-40B4-BE49-F238E27FC236}">
                      <a16:creationId xmlns:a16="http://schemas.microsoft.com/office/drawing/2014/main" id="{4488E0C1-90A6-4ADD-9863-14A12DD272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9366" y="5338988"/>
                  <a:ext cx="4477" cy="2653"/>
                </a:xfrm>
                <a:custGeom>
                  <a:avLst/>
                  <a:gdLst>
                    <a:gd name="T0" fmla="*/ 0 w 4"/>
                    <a:gd name="T1" fmla="*/ 0 h 2"/>
                    <a:gd name="T2" fmla="*/ 4 w 4"/>
                    <a:gd name="T3" fmla="*/ 2 h 2"/>
                    <a:gd name="T4" fmla="*/ 2 w 4"/>
                    <a:gd name="T5" fmla="*/ 0 h 2"/>
                    <a:gd name="T6" fmla="*/ 0 w 4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0" y="0"/>
                      </a:moveTo>
                      <a:lnTo>
                        <a:pt x="4" y="2"/>
                      </a:ln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4" name="Freeform 1719">
                  <a:extLst>
                    <a:ext uri="{FF2B5EF4-FFF2-40B4-BE49-F238E27FC236}">
                      <a16:creationId xmlns:a16="http://schemas.microsoft.com/office/drawing/2014/main" id="{62CFE008-2F07-48CC-8C9F-D114D17F7BF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82797" y="5328381"/>
                  <a:ext cx="4477" cy="0"/>
                </a:xfrm>
                <a:custGeom>
                  <a:avLst/>
                  <a:gdLst>
                    <a:gd name="T0" fmla="*/ 4 w 4"/>
                    <a:gd name="T1" fmla="*/ 0 h 1"/>
                    <a:gd name="T2" fmla="*/ 0 w 4"/>
                    <a:gd name="T3" fmla="*/ 0 h 1"/>
                    <a:gd name="T4" fmla="*/ 4 w 4"/>
                    <a:gd name="T5" fmla="*/ 1 h 1"/>
                    <a:gd name="T6" fmla="*/ 4 w 4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4" y="1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5" name="Freeform 1720">
                  <a:extLst>
                    <a:ext uri="{FF2B5EF4-FFF2-40B4-BE49-F238E27FC236}">
                      <a16:creationId xmlns:a16="http://schemas.microsoft.com/office/drawing/2014/main" id="{37AAF7F2-D95F-457B-89ED-414C184114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85035" y="5323076"/>
                  <a:ext cx="4477" cy="0"/>
                </a:xfrm>
                <a:custGeom>
                  <a:avLst/>
                  <a:gdLst>
                    <a:gd name="T0" fmla="*/ 3 w 3"/>
                    <a:gd name="T1" fmla="*/ 0 w 3"/>
                    <a:gd name="T2" fmla="*/ 2 w 3"/>
                    <a:gd name="T3" fmla="*/ 3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6" name="Freeform 1721">
                  <a:extLst>
                    <a:ext uri="{FF2B5EF4-FFF2-40B4-BE49-F238E27FC236}">
                      <a16:creationId xmlns:a16="http://schemas.microsoft.com/office/drawing/2014/main" id="{339C091C-0C28-4D49-B277-FB27469427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02943" y="5312468"/>
                  <a:ext cx="6716" cy="5304"/>
                </a:xfrm>
                <a:custGeom>
                  <a:avLst/>
                  <a:gdLst>
                    <a:gd name="T0" fmla="*/ 4 w 7"/>
                    <a:gd name="T1" fmla="*/ 5 h 5"/>
                    <a:gd name="T2" fmla="*/ 7 w 7"/>
                    <a:gd name="T3" fmla="*/ 4 h 5"/>
                    <a:gd name="T4" fmla="*/ 4 w 7"/>
                    <a:gd name="T5" fmla="*/ 0 h 5"/>
                    <a:gd name="T6" fmla="*/ 4 w 7"/>
                    <a:gd name="T7" fmla="*/ 4 h 5"/>
                    <a:gd name="T8" fmla="*/ 0 w 7"/>
                    <a:gd name="T9" fmla="*/ 3 h 5"/>
                    <a:gd name="T10" fmla="*/ 2 w 7"/>
                    <a:gd name="T11" fmla="*/ 5 h 5"/>
                    <a:gd name="T12" fmla="*/ 4 w 7"/>
                    <a:gd name="T13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" h="5">
                      <a:moveTo>
                        <a:pt x="4" y="5"/>
                      </a:moveTo>
                      <a:lnTo>
                        <a:pt x="7" y="4"/>
                      </a:lnTo>
                      <a:lnTo>
                        <a:pt x="4" y="0"/>
                      </a:lnTo>
                      <a:lnTo>
                        <a:pt x="4" y="4"/>
                      </a:lnTo>
                      <a:lnTo>
                        <a:pt x="0" y="3"/>
                      </a:lnTo>
                      <a:lnTo>
                        <a:pt x="2" y="5"/>
                      </a:lnTo>
                      <a:lnTo>
                        <a:pt x="4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7" name="Freeform 1722">
                  <a:extLst>
                    <a:ext uri="{FF2B5EF4-FFF2-40B4-BE49-F238E27FC236}">
                      <a16:creationId xmlns:a16="http://schemas.microsoft.com/office/drawing/2014/main" id="{D0FAE0B3-AB11-4049-8AA3-B47DA4BD2F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11897" y="5299208"/>
                  <a:ext cx="8954" cy="5304"/>
                </a:xfrm>
                <a:custGeom>
                  <a:avLst/>
                  <a:gdLst>
                    <a:gd name="T0" fmla="*/ 9 w 9"/>
                    <a:gd name="T1" fmla="*/ 3 h 3"/>
                    <a:gd name="T2" fmla="*/ 6 w 9"/>
                    <a:gd name="T3" fmla="*/ 1 h 3"/>
                    <a:gd name="T4" fmla="*/ 4 w 9"/>
                    <a:gd name="T5" fmla="*/ 0 h 3"/>
                    <a:gd name="T6" fmla="*/ 1 w 9"/>
                    <a:gd name="T7" fmla="*/ 1 h 3"/>
                    <a:gd name="T8" fmla="*/ 0 w 9"/>
                    <a:gd name="T9" fmla="*/ 2 h 3"/>
                    <a:gd name="T10" fmla="*/ 4 w 9"/>
                    <a:gd name="T11" fmla="*/ 3 h 3"/>
                    <a:gd name="T12" fmla="*/ 9 w 9"/>
                    <a:gd name="T13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3">
                      <a:moveTo>
                        <a:pt x="9" y="3"/>
                      </a:moveTo>
                      <a:lnTo>
                        <a:pt x="6" y="1"/>
                      </a:lnTo>
                      <a:lnTo>
                        <a:pt x="4" y="0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4" y="3"/>
                      </a:lnTo>
                      <a:lnTo>
                        <a:pt x="9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8" name="Freeform 1723">
                  <a:extLst>
                    <a:ext uri="{FF2B5EF4-FFF2-40B4-BE49-F238E27FC236}">
                      <a16:creationId xmlns:a16="http://schemas.microsoft.com/office/drawing/2014/main" id="{53EE4CD5-7682-4021-9312-0FCAC224B8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14137" y="5307163"/>
                  <a:ext cx="6716" cy="5304"/>
                </a:xfrm>
                <a:custGeom>
                  <a:avLst/>
                  <a:gdLst>
                    <a:gd name="T0" fmla="*/ 2 w 6"/>
                    <a:gd name="T1" fmla="*/ 2 h 2"/>
                    <a:gd name="T2" fmla="*/ 6 w 6"/>
                    <a:gd name="T3" fmla="*/ 1 h 2"/>
                    <a:gd name="T4" fmla="*/ 3 w 6"/>
                    <a:gd name="T5" fmla="*/ 0 h 2"/>
                    <a:gd name="T6" fmla="*/ 0 w 6"/>
                    <a:gd name="T7" fmla="*/ 1 h 2"/>
                    <a:gd name="T8" fmla="*/ 2 w 6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2">
                      <a:moveTo>
                        <a:pt x="2" y="2"/>
                      </a:moveTo>
                      <a:lnTo>
                        <a:pt x="6" y="1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9" name="Freeform 1724">
                  <a:extLst>
                    <a:ext uri="{FF2B5EF4-FFF2-40B4-BE49-F238E27FC236}">
                      <a16:creationId xmlns:a16="http://schemas.microsoft.com/office/drawing/2014/main" id="{D48E0549-4D57-4968-8870-63D9089527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3091" y="5307163"/>
                  <a:ext cx="6716" cy="2653"/>
                </a:xfrm>
                <a:custGeom>
                  <a:avLst/>
                  <a:gdLst>
                    <a:gd name="T0" fmla="*/ 0 w 6"/>
                    <a:gd name="T1" fmla="*/ 1 h 2"/>
                    <a:gd name="T2" fmla="*/ 4 w 6"/>
                    <a:gd name="T3" fmla="*/ 2 h 2"/>
                    <a:gd name="T4" fmla="*/ 6 w 6"/>
                    <a:gd name="T5" fmla="*/ 2 h 2"/>
                    <a:gd name="T6" fmla="*/ 5 w 6"/>
                    <a:gd name="T7" fmla="*/ 0 h 2"/>
                    <a:gd name="T8" fmla="*/ 4 w 6"/>
                    <a:gd name="T9" fmla="*/ 0 h 2"/>
                    <a:gd name="T10" fmla="*/ 0 w 6"/>
                    <a:gd name="T11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2">
                      <a:moveTo>
                        <a:pt x="0" y="1"/>
                      </a:moveTo>
                      <a:lnTo>
                        <a:pt x="4" y="2"/>
                      </a:lnTo>
                      <a:lnTo>
                        <a:pt x="6" y="2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0" name="Freeform 1725">
                  <a:extLst>
                    <a:ext uri="{FF2B5EF4-FFF2-40B4-BE49-F238E27FC236}">
                      <a16:creationId xmlns:a16="http://schemas.microsoft.com/office/drawing/2014/main" id="{2D525B5E-3668-42AD-B471-0B665C5F04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5329" y="5291251"/>
                  <a:ext cx="17908" cy="7957"/>
                </a:xfrm>
                <a:custGeom>
                  <a:avLst/>
                  <a:gdLst>
                    <a:gd name="T0" fmla="*/ 0 w 17"/>
                    <a:gd name="T1" fmla="*/ 5 h 6"/>
                    <a:gd name="T2" fmla="*/ 4 w 17"/>
                    <a:gd name="T3" fmla="*/ 6 h 6"/>
                    <a:gd name="T4" fmla="*/ 10 w 17"/>
                    <a:gd name="T5" fmla="*/ 6 h 6"/>
                    <a:gd name="T6" fmla="*/ 15 w 17"/>
                    <a:gd name="T7" fmla="*/ 3 h 6"/>
                    <a:gd name="T8" fmla="*/ 17 w 17"/>
                    <a:gd name="T9" fmla="*/ 1 h 6"/>
                    <a:gd name="T10" fmla="*/ 15 w 17"/>
                    <a:gd name="T11" fmla="*/ 0 h 6"/>
                    <a:gd name="T12" fmla="*/ 11 w 17"/>
                    <a:gd name="T13" fmla="*/ 0 h 6"/>
                    <a:gd name="T14" fmla="*/ 9 w 17"/>
                    <a:gd name="T15" fmla="*/ 0 h 6"/>
                    <a:gd name="T16" fmla="*/ 6 w 17"/>
                    <a:gd name="T17" fmla="*/ 1 h 6"/>
                    <a:gd name="T18" fmla="*/ 6 w 17"/>
                    <a:gd name="T19" fmla="*/ 1 h 6"/>
                    <a:gd name="T20" fmla="*/ 8 w 17"/>
                    <a:gd name="T21" fmla="*/ 2 h 6"/>
                    <a:gd name="T22" fmla="*/ 9 w 17"/>
                    <a:gd name="T23" fmla="*/ 2 h 6"/>
                    <a:gd name="T24" fmla="*/ 4 w 17"/>
                    <a:gd name="T25" fmla="*/ 2 h 6"/>
                    <a:gd name="T26" fmla="*/ 3 w 17"/>
                    <a:gd name="T27" fmla="*/ 3 h 6"/>
                    <a:gd name="T28" fmla="*/ 0 w 17"/>
                    <a:gd name="T2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7" h="6">
                      <a:moveTo>
                        <a:pt x="0" y="5"/>
                      </a:moveTo>
                      <a:lnTo>
                        <a:pt x="4" y="6"/>
                      </a:lnTo>
                      <a:lnTo>
                        <a:pt x="10" y="6"/>
                      </a:lnTo>
                      <a:lnTo>
                        <a:pt x="15" y="3"/>
                      </a:lnTo>
                      <a:lnTo>
                        <a:pt x="17" y="1"/>
                      </a:lnTo>
                      <a:lnTo>
                        <a:pt x="15" y="0"/>
                      </a:lnTo>
                      <a:lnTo>
                        <a:pt x="11" y="0"/>
                      </a:lnTo>
                      <a:lnTo>
                        <a:pt x="9" y="0"/>
                      </a:lnTo>
                      <a:lnTo>
                        <a:pt x="6" y="1"/>
                      </a:lnTo>
                      <a:lnTo>
                        <a:pt x="6" y="1"/>
                      </a:lnTo>
                      <a:lnTo>
                        <a:pt x="8" y="2"/>
                      </a:lnTo>
                      <a:lnTo>
                        <a:pt x="9" y="2"/>
                      </a:lnTo>
                      <a:lnTo>
                        <a:pt x="4" y="2"/>
                      </a:lnTo>
                      <a:lnTo>
                        <a:pt x="3" y="3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1" name="Freeform 1726">
                  <a:extLst>
                    <a:ext uri="{FF2B5EF4-FFF2-40B4-BE49-F238E27FC236}">
                      <a16:creationId xmlns:a16="http://schemas.microsoft.com/office/drawing/2014/main" id="{70B3BE74-108B-49FA-8C71-FCE9B26C1D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5329" y="5285947"/>
                  <a:ext cx="13431" cy="5304"/>
                </a:xfrm>
                <a:custGeom>
                  <a:avLst/>
                  <a:gdLst>
                    <a:gd name="T0" fmla="*/ 11 w 11"/>
                    <a:gd name="T1" fmla="*/ 0 h 2"/>
                    <a:gd name="T2" fmla="*/ 9 w 11"/>
                    <a:gd name="T3" fmla="*/ 0 h 2"/>
                    <a:gd name="T4" fmla="*/ 5 w 11"/>
                    <a:gd name="T5" fmla="*/ 0 h 2"/>
                    <a:gd name="T6" fmla="*/ 0 w 11"/>
                    <a:gd name="T7" fmla="*/ 2 h 2"/>
                    <a:gd name="T8" fmla="*/ 5 w 11"/>
                    <a:gd name="T9" fmla="*/ 2 h 2"/>
                    <a:gd name="T10" fmla="*/ 9 w 11"/>
                    <a:gd name="T11" fmla="*/ 2 h 2"/>
                    <a:gd name="T12" fmla="*/ 11 w 11"/>
                    <a:gd name="T13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2">
                      <a:moveTo>
                        <a:pt x="11" y="0"/>
                      </a:moveTo>
                      <a:lnTo>
                        <a:pt x="9" y="0"/>
                      </a:lnTo>
                      <a:lnTo>
                        <a:pt x="5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9" y="2"/>
                      </a:lnTo>
                      <a:lnTo>
                        <a:pt x="1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2" name="Freeform 1727">
                  <a:extLst>
                    <a:ext uri="{FF2B5EF4-FFF2-40B4-BE49-F238E27FC236}">
                      <a16:creationId xmlns:a16="http://schemas.microsoft.com/office/drawing/2014/main" id="{0035FC18-104A-4618-8B4F-964ECE313A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7567" y="5301860"/>
                  <a:ext cx="4477" cy="2653"/>
                </a:xfrm>
                <a:custGeom>
                  <a:avLst/>
                  <a:gdLst>
                    <a:gd name="T0" fmla="*/ 4 w 4"/>
                    <a:gd name="T1" fmla="*/ 0 h 1"/>
                    <a:gd name="T2" fmla="*/ 0 w 4"/>
                    <a:gd name="T3" fmla="*/ 0 h 1"/>
                    <a:gd name="T4" fmla="*/ 4 w 4"/>
                    <a:gd name="T5" fmla="*/ 1 h 1"/>
                    <a:gd name="T6" fmla="*/ 4 w 4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4" y="1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3" name="Freeform 1728">
                  <a:extLst>
                    <a:ext uri="{FF2B5EF4-FFF2-40B4-BE49-F238E27FC236}">
                      <a16:creationId xmlns:a16="http://schemas.microsoft.com/office/drawing/2014/main" id="{0757215D-060B-48D5-9ED7-4678E6861F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85769" y="5240863"/>
                  <a:ext cx="6716" cy="2653"/>
                </a:xfrm>
                <a:custGeom>
                  <a:avLst/>
                  <a:gdLst>
                    <a:gd name="T0" fmla="*/ 4 w 7"/>
                    <a:gd name="T1" fmla="*/ 0 h 1"/>
                    <a:gd name="T2" fmla="*/ 0 w 7"/>
                    <a:gd name="T3" fmla="*/ 1 h 1"/>
                    <a:gd name="T4" fmla="*/ 7 w 7"/>
                    <a:gd name="T5" fmla="*/ 0 h 1"/>
                    <a:gd name="T6" fmla="*/ 4 w 7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1">
                      <a:moveTo>
                        <a:pt x="4" y="0"/>
                      </a:moveTo>
                      <a:lnTo>
                        <a:pt x="0" y="1"/>
                      </a:lnTo>
                      <a:lnTo>
                        <a:pt x="7" y="0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4" name="Freeform 1729">
                  <a:extLst>
                    <a:ext uri="{FF2B5EF4-FFF2-40B4-BE49-F238E27FC236}">
                      <a16:creationId xmlns:a16="http://schemas.microsoft.com/office/drawing/2014/main" id="{07D0380F-72B6-4EDD-9EBF-11F290EEB3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88007" y="5240863"/>
                  <a:ext cx="11193" cy="2653"/>
                </a:xfrm>
                <a:custGeom>
                  <a:avLst/>
                  <a:gdLst>
                    <a:gd name="T0" fmla="*/ 0 w 9"/>
                    <a:gd name="T1" fmla="*/ 1 h 2"/>
                    <a:gd name="T2" fmla="*/ 2 w 9"/>
                    <a:gd name="T3" fmla="*/ 1 h 2"/>
                    <a:gd name="T4" fmla="*/ 5 w 9"/>
                    <a:gd name="T5" fmla="*/ 1 h 2"/>
                    <a:gd name="T6" fmla="*/ 7 w 9"/>
                    <a:gd name="T7" fmla="*/ 2 h 2"/>
                    <a:gd name="T8" fmla="*/ 9 w 9"/>
                    <a:gd name="T9" fmla="*/ 0 h 2"/>
                    <a:gd name="T10" fmla="*/ 5 w 9"/>
                    <a:gd name="T11" fmla="*/ 0 h 2"/>
                    <a:gd name="T12" fmla="*/ 0 w 9"/>
                    <a:gd name="T13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2">
                      <a:moveTo>
                        <a:pt x="0" y="1"/>
                      </a:moveTo>
                      <a:lnTo>
                        <a:pt x="2" y="1"/>
                      </a:lnTo>
                      <a:lnTo>
                        <a:pt x="5" y="1"/>
                      </a:lnTo>
                      <a:lnTo>
                        <a:pt x="7" y="2"/>
                      </a:lnTo>
                      <a:lnTo>
                        <a:pt x="9" y="0"/>
                      </a:lnTo>
                      <a:lnTo>
                        <a:pt x="5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5" name="Freeform 1730">
                  <a:extLst>
                    <a:ext uri="{FF2B5EF4-FFF2-40B4-BE49-F238E27FC236}">
                      <a16:creationId xmlns:a16="http://schemas.microsoft.com/office/drawing/2014/main" id="{0FAB533D-05D7-4F5E-B63C-D1EDFB1461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6961" y="5254123"/>
                  <a:ext cx="6716" cy="5304"/>
                </a:xfrm>
                <a:custGeom>
                  <a:avLst/>
                  <a:gdLst>
                    <a:gd name="T0" fmla="*/ 3 w 6"/>
                    <a:gd name="T1" fmla="*/ 5 h 5"/>
                    <a:gd name="T2" fmla="*/ 6 w 6"/>
                    <a:gd name="T3" fmla="*/ 4 h 5"/>
                    <a:gd name="T4" fmla="*/ 0 w 6"/>
                    <a:gd name="T5" fmla="*/ 0 h 5"/>
                    <a:gd name="T6" fmla="*/ 0 w 6"/>
                    <a:gd name="T7" fmla="*/ 4 h 5"/>
                    <a:gd name="T8" fmla="*/ 3 w 6"/>
                    <a:gd name="T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5">
                      <a:moveTo>
                        <a:pt x="3" y="5"/>
                      </a:moveTo>
                      <a:lnTo>
                        <a:pt x="6" y="4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3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6" name="Freeform 1731">
                  <a:extLst>
                    <a:ext uri="{FF2B5EF4-FFF2-40B4-BE49-F238E27FC236}">
                      <a16:creationId xmlns:a16="http://schemas.microsoft.com/office/drawing/2014/main" id="{16785EF6-B019-46D3-A67D-040F2B4415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6961" y="5251471"/>
                  <a:ext cx="2240" cy="2653"/>
                </a:xfrm>
                <a:custGeom>
                  <a:avLst/>
                  <a:gdLst>
                    <a:gd name="T0" fmla="*/ 4 w 4"/>
                    <a:gd name="T1" fmla="*/ 0 h 2"/>
                    <a:gd name="T2" fmla="*/ 0 w 4"/>
                    <a:gd name="T3" fmla="*/ 0 h 2"/>
                    <a:gd name="T4" fmla="*/ 4 w 4"/>
                    <a:gd name="T5" fmla="*/ 2 h 2"/>
                    <a:gd name="T6" fmla="*/ 4 w 4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4" y="2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7" name="Freeform 1732">
                  <a:extLst>
                    <a:ext uri="{FF2B5EF4-FFF2-40B4-BE49-F238E27FC236}">
                      <a16:creationId xmlns:a16="http://schemas.microsoft.com/office/drawing/2014/main" id="{D4030E40-6D89-477B-A82D-F43BDE3A30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01437" y="5254123"/>
                  <a:ext cx="2240" cy="2653"/>
                </a:xfrm>
                <a:custGeom>
                  <a:avLst/>
                  <a:gdLst>
                    <a:gd name="T0" fmla="*/ 0 w 2"/>
                    <a:gd name="T1" fmla="*/ 0 h 2"/>
                    <a:gd name="T2" fmla="*/ 0 w 2"/>
                    <a:gd name="T3" fmla="*/ 2 h 2"/>
                    <a:gd name="T4" fmla="*/ 2 w 2"/>
                    <a:gd name="T5" fmla="*/ 2 h 2"/>
                    <a:gd name="T6" fmla="*/ 0 w 2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8" name="Freeform 1733">
                  <a:extLst>
                    <a:ext uri="{FF2B5EF4-FFF2-40B4-BE49-F238E27FC236}">
                      <a16:creationId xmlns:a16="http://schemas.microsoft.com/office/drawing/2014/main" id="{751101BF-BF4C-40DB-916D-69DC4FA7CF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05915" y="5235559"/>
                  <a:ext cx="4477" cy="0"/>
                </a:xfrm>
                <a:custGeom>
                  <a:avLst/>
                  <a:gdLst>
                    <a:gd name="T0" fmla="*/ 5 w 5"/>
                    <a:gd name="T1" fmla="*/ 0 h 1"/>
                    <a:gd name="T2" fmla="*/ 2 w 5"/>
                    <a:gd name="T3" fmla="*/ 0 h 1"/>
                    <a:gd name="T4" fmla="*/ 0 w 5"/>
                    <a:gd name="T5" fmla="*/ 1 h 1"/>
                    <a:gd name="T6" fmla="*/ 5 w 5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5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9" name="Freeform 1734">
                  <a:extLst>
                    <a:ext uri="{FF2B5EF4-FFF2-40B4-BE49-F238E27FC236}">
                      <a16:creationId xmlns:a16="http://schemas.microsoft.com/office/drawing/2014/main" id="{65A252C5-2139-466C-BE38-571ADE87F8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10392" y="5211689"/>
                  <a:ext cx="4477" cy="2653"/>
                </a:xfrm>
                <a:custGeom>
                  <a:avLst/>
                  <a:gdLst>
                    <a:gd name="T0" fmla="*/ 0 w 3"/>
                    <a:gd name="T1" fmla="*/ 3 h 3"/>
                    <a:gd name="T2" fmla="*/ 3 w 3"/>
                    <a:gd name="T3" fmla="*/ 3 h 3"/>
                    <a:gd name="T4" fmla="*/ 3 w 3"/>
                    <a:gd name="T5" fmla="*/ 2 h 3"/>
                    <a:gd name="T6" fmla="*/ 2 w 3"/>
                    <a:gd name="T7" fmla="*/ 0 h 3"/>
                    <a:gd name="T8" fmla="*/ 0 w 3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0" y="3"/>
                      </a:move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2" y="0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0" name="Freeform 1735">
                  <a:extLst>
                    <a:ext uri="{FF2B5EF4-FFF2-40B4-BE49-F238E27FC236}">
                      <a16:creationId xmlns:a16="http://schemas.microsoft.com/office/drawing/2014/main" id="{4C9A855C-4101-4F88-8A4E-FECF40A451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26062" y="5201081"/>
                  <a:ext cx="11193" cy="5304"/>
                </a:xfrm>
                <a:custGeom>
                  <a:avLst/>
                  <a:gdLst>
                    <a:gd name="T0" fmla="*/ 3 w 10"/>
                    <a:gd name="T1" fmla="*/ 3 h 3"/>
                    <a:gd name="T2" fmla="*/ 10 w 10"/>
                    <a:gd name="T3" fmla="*/ 0 h 3"/>
                    <a:gd name="T4" fmla="*/ 4 w 10"/>
                    <a:gd name="T5" fmla="*/ 0 h 3"/>
                    <a:gd name="T6" fmla="*/ 1 w 10"/>
                    <a:gd name="T7" fmla="*/ 1 h 3"/>
                    <a:gd name="T8" fmla="*/ 0 w 10"/>
                    <a:gd name="T9" fmla="*/ 3 h 3"/>
                    <a:gd name="T10" fmla="*/ 3 w 10"/>
                    <a:gd name="T11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" h="3">
                      <a:moveTo>
                        <a:pt x="3" y="3"/>
                      </a:moveTo>
                      <a:lnTo>
                        <a:pt x="10" y="0"/>
                      </a:lnTo>
                      <a:lnTo>
                        <a:pt x="4" y="0"/>
                      </a:lnTo>
                      <a:lnTo>
                        <a:pt x="1" y="1"/>
                      </a:lnTo>
                      <a:lnTo>
                        <a:pt x="0" y="3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1" name="Freeform 1736">
                  <a:extLst>
                    <a:ext uri="{FF2B5EF4-FFF2-40B4-BE49-F238E27FC236}">
                      <a16:creationId xmlns:a16="http://schemas.microsoft.com/office/drawing/2014/main" id="{B4F78F30-00E6-49CE-9BF4-30A504B7D6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28300" y="5193126"/>
                  <a:ext cx="4477" cy="5304"/>
                </a:xfrm>
                <a:custGeom>
                  <a:avLst/>
                  <a:gdLst>
                    <a:gd name="T0" fmla="*/ 4 w 5"/>
                    <a:gd name="T1" fmla="*/ 0 h 4"/>
                    <a:gd name="T2" fmla="*/ 2 w 5"/>
                    <a:gd name="T3" fmla="*/ 0 h 4"/>
                    <a:gd name="T4" fmla="*/ 0 w 5"/>
                    <a:gd name="T5" fmla="*/ 0 h 4"/>
                    <a:gd name="T6" fmla="*/ 0 w 5"/>
                    <a:gd name="T7" fmla="*/ 1 h 4"/>
                    <a:gd name="T8" fmla="*/ 2 w 5"/>
                    <a:gd name="T9" fmla="*/ 4 h 4"/>
                    <a:gd name="T10" fmla="*/ 3 w 5"/>
                    <a:gd name="T11" fmla="*/ 4 h 4"/>
                    <a:gd name="T12" fmla="*/ 5 w 5"/>
                    <a:gd name="T13" fmla="*/ 2 h 4"/>
                    <a:gd name="T14" fmla="*/ 4 w 5"/>
                    <a:gd name="T15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" h="4">
                      <a:moveTo>
                        <a:pt x="4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5" y="2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2" name="Freeform 1737">
                  <a:extLst>
                    <a:ext uri="{FF2B5EF4-FFF2-40B4-BE49-F238E27FC236}">
                      <a16:creationId xmlns:a16="http://schemas.microsoft.com/office/drawing/2014/main" id="{B77DBC85-5EA8-46DA-A634-7DF18F4759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5016" y="5121519"/>
                  <a:ext cx="6716" cy="7957"/>
                </a:xfrm>
                <a:custGeom>
                  <a:avLst/>
                  <a:gdLst>
                    <a:gd name="T0" fmla="*/ 2 w 6"/>
                    <a:gd name="T1" fmla="*/ 3 h 6"/>
                    <a:gd name="T2" fmla="*/ 0 w 6"/>
                    <a:gd name="T3" fmla="*/ 6 h 6"/>
                    <a:gd name="T4" fmla="*/ 2 w 6"/>
                    <a:gd name="T5" fmla="*/ 6 h 6"/>
                    <a:gd name="T6" fmla="*/ 5 w 6"/>
                    <a:gd name="T7" fmla="*/ 4 h 6"/>
                    <a:gd name="T8" fmla="*/ 6 w 6"/>
                    <a:gd name="T9" fmla="*/ 3 h 6"/>
                    <a:gd name="T10" fmla="*/ 6 w 6"/>
                    <a:gd name="T11" fmla="*/ 0 h 6"/>
                    <a:gd name="T12" fmla="*/ 2 w 6"/>
                    <a:gd name="T13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6">
                      <a:moveTo>
                        <a:pt x="2" y="3"/>
                      </a:move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5" y="4"/>
                      </a:lnTo>
                      <a:lnTo>
                        <a:pt x="6" y="3"/>
                      </a:lnTo>
                      <a:lnTo>
                        <a:pt x="6" y="0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3" name="Freeform 1738">
                  <a:extLst>
                    <a:ext uri="{FF2B5EF4-FFF2-40B4-BE49-F238E27FC236}">
                      <a16:creationId xmlns:a16="http://schemas.microsoft.com/office/drawing/2014/main" id="{1D027A5D-61A7-4A4F-B72F-E4871D015A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7254" y="5193126"/>
                  <a:ext cx="2240" cy="0"/>
                </a:xfrm>
                <a:custGeom>
                  <a:avLst/>
                  <a:gdLst>
                    <a:gd name="T0" fmla="*/ 2 w 2"/>
                    <a:gd name="T1" fmla="*/ 0 h 1"/>
                    <a:gd name="T2" fmla="*/ 0 w 2"/>
                    <a:gd name="T3" fmla="*/ 1 h 1"/>
                    <a:gd name="T4" fmla="*/ 2 w 2"/>
                    <a:gd name="T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lnTo>
                        <a:pt x="0" y="1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4" name="Freeform 1739">
                  <a:extLst>
                    <a:ext uri="{FF2B5EF4-FFF2-40B4-BE49-F238E27FC236}">
                      <a16:creationId xmlns:a16="http://schemas.microsoft.com/office/drawing/2014/main" id="{4A098B76-DA37-4384-8B34-2A35CBEEAD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9493" y="5190473"/>
                  <a:ext cx="2240" cy="2653"/>
                </a:xfrm>
                <a:custGeom>
                  <a:avLst/>
                  <a:gdLst>
                    <a:gd name="T0" fmla="*/ 4 w 4"/>
                    <a:gd name="T1" fmla="*/ 0 h 2"/>
                    <a:gd name="T2" fmla="*/ 1 w 4"/>
                    <a:gd name="T3" fmla="*/ 0 h 2"/>
                    <a:gd name="T4" fmla="*/ 0 w 4"/>
                    <a:gd name="T5" fmla="*/ 2 h 2"/>
                    <a:gd name="T6" fmla="*/ 4 w 4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5" name="Freeform 1740">
                  <a:extLst>
                    <a:ext uri="{FF2B5EF4-FFF2-40B4-BE49-F238E27FC236}">
                      <a16:creationId xmlns:a16="http://schemas.microsoft.com/office/drawing/2014/main" id="{D2E7EFC7-C607-4489-95B0-64B068B834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43970" y="5121519"/>
                  <a:ext cx="6716" cy="2653"/>
                </a:xfrm>
                <a:custGeom>
                  <a:avLst/>
                  <a:gdLst>
                    <a:gd name="T0" fmla="*/ 0 w 5"/>
                    <a:gd name="T1" fmla="*/ 2 h 2"/>
                    <a:gd name="T2" fmla="*/ 4 w 5"/>
                    <a:gd name="T3" fmla="*/ 2 h 2"/>
                    <a:gd name="T4" fmla="*/ 5 w 5"/>
                    <a:gd name="T5" fmla="*/ 0 h 2"/>
                    <a:gd name="T6" fmla="*/ 1 w 5"/>
                    <a:gd name="T7" fmla="*/ 0 h 2"/>
                    <a:gd name="T8" fmla="*/ 0 w 5"/>
                    <a:gd name="T9" fmla="*/ 1 h 2"/>
                    <a:gd name="T10" fmla="*/ 0 w 5"/>
                    <a:gd name="T1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2">
                      <a:moveTo>
                        <a:pt x="0" y="2"/>
                      </a:moveTo>
                      <a:lnTo>
                        <a:pt x="4" y="2"/>
                      </a:lnTo>
                      <a:lnTo>
                        <a:pt x="5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6" name="Freeform 1741">
                  <a:extLst>
                    <a:ext uri="{FF2B5EF4-FFF2-40B4-BE49-F238E27FC236}">
                      <a16:creationId xmlns:a16="http://schemas.microsoft.com/office/drawing/2014/main" id="{2E58BADF-A791-4DB8-BFD7-BC6C96EB2B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48447" y="5169256"/>
                  <a:ext cx="6716" cy="0"/>
                </a:xfrm>
                <a:custGeom>
                  <a:avLst/>
                  <a:gdLst>
                    <a:gd name="T0" fmla="*/ 0 w 6"/>
                    <a:gd name="T1" fmla="*/ 6 w 6"/>
                    <a:gd name="T2" fmla="*/ 2 w 6"/>
                    <a:gd name="T3" fmla="*/ 0 w 6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6">
                      <a:moveTo>
                        <a:pt x="0" y="0"/>
                      </a:move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7" name="Freeform 1742">
                  <a:extLst>
                    <a:ext uri="{FF2B5EF4-FFF2-40B4-BE49-F238E27FC236}">
                      <a16:creationId xmlns:a16="http://schemas.microsoft.com/office/drawing/2014/main" id="{2D852EF1-7BEB-4446-9AB3-AA53EB61119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50685" y="5113564"/>
                  <a:ext cx="15670" cy="7957"/>
                </a:xfrm>
                <a:custGeom>
                  <a:avLst/>
                  <a:gdLst>
                    <a:gd name="T0" fmla="*/ 1 w 14"/>
                    <a:gd name="T1" fmla="*/ 5 h 8"/>
                    <a:gd name="T2" fmla="*/ 0 w 14"/>
                    <a:gd name="T3" fmla="*/ 8 h 8"/>
                    <a:gd name="T4" fmla="*/ 4 w 14"/>
                    <a:gd name="T5" fmla="*/ 7 h 8"/>
                    <a:gd name="T6" fmla="*/ 8 w 14"/>
                    <a:gd name="T7" fmla="*/ 5 h 8"/>
                    <a:gd name="T8" fmla="*/ 11 w 14"/>
                    <a:gd name="T9" fmla="*/ 5 h 8"/>
                    <a:gd name="T10" fmla="*/ 14 w 14"/>
                    <a:gd name="T11" fmla="*/ 3 h 8"/>
                    <a:gd name="T12" fmla="*/ 11 w 14"/>
                    <a:gd name="T13" fmla="*/ 2 h 8"/>
                    <a:gd name="T14" fmla="*/ 9 w 14"/>
                    <a:gd name="T15" fmla="*/ 0 h 8"/>
                    <a:gd name="T16" fmla="*/ 5 w 14"/>
                    <a:gd name="T17" fmla="*/ 2 h 8"/>
                    <a:gd name="T18" fmla="*/ 3 w 14"/>
                    <a:gd name="T19" fmla="*/ 2 h 8"/>
                    <a:gd name="T20" fmla="*/ 3 w 14"/>
                    <a:gd name="T21" fmla="*/ 4 h 8"/>
                    <a:gd name="T22" fmla="*/ 0 w 14"/>
                    <a:gd name="T23" fmla="*/ 4 h 8"/>
                    <a:gd name="T24" fmla="*/ 1 w 14"/>
                    <a:gd name="T25" fmla="*/ 5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4" h="8">
                      <a:moveTo>
                        <a:pt x="1" y="5"/>
                      </a:moveTo>
                      <a:lnTo>
                        <a:pt x="0" y="8"/>
                      </a:lnTo>
                      <a:lnTo>
                        <a:pt x="4" y="7"/>
                      </a:lnTo>
                      <a:lnTo>
                        <a:pt x="8" y="5"/>
                      </a:lnTo>
                      <a:lnTo>
                        <a:pt x="11" y="5"/>
                      </a:lnTo>
                      <a:lnTo>
                        <a:pt x="14" y="3"/>
                      </a:lnTo>
                      <a:lnTo>
                        <a:pt x="11" y="2"/>
                      </a:lnTo>
                      <a:lnTo>
                        <a:pt x="9" y="0"/>
                      </a:lnTo>
                      <a:lnTo>
                        <a:pt x="5" y="2"/>
                      </a:lnTo>
                      <a:lnTo>
                        <a:pt x="3" y="2"/>
                      </a:lnTo>
                      <a:lnTo>
                        <a:pt x="3" y="4"/>
                      </a:lnTo>
                      <a:lnTo>
                        <a:pt x="0" y="4"/>
                      </a:lnTo>
                      <a:lnTo>
                        <a:pt x="1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8" name="Freeform 1743">
                  <a:extLst>
                    <a:ext uri="{FF2B5EF4-FFF2-40B4-BE49-F238E27FC236}">
                      <a16:creationId xmlns:a16="http://schemas.microsoft.com/office/drawing/2014/main" id="{1FF78557-9ADD-4283-9510-D1B7966EAB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64116" y="5113564"/>
                  <a:ext cx="4477" cy="2653"/>
                </a:xfrm>
                <a:custGeom>
                  <a:avLst/>
                  <a:gdLst>
                    <a:gd name="T0" fmla="*/ 2 w 2"/>
                    <a:gd name="T1" fmla="*/ 3 h 3"/>
                    <a:gd name="T2" fmla="*/ 2 w 2"/>
                    <a:gd name="T3" fmla="*/ 2 h 3"/>
                    <a:gd name="T4" fmla="*/ 2 w 2"/>
                    <a:gd name="T5" fmla="*/ 0 h 3"/>
                    <a:gd name="T6" fmla="*/ 0 w 2"/>
                    <a:gd name="T7" fmla="*/ 0 h 3"/>
                    <a:gd name="T8" fmla="*/ 2 w 2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3">
                      <a:moveTo>
                        <a:pt x="2" y="3"/>
                      </a:move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9" name="Freeform 1744">
                  <a:extLst>
                    <a:ext uri="{FF2B5EF4-FFF2-40B4-BE49-F238E27FC236}">
                      <a16:creationId xmlns:a16="http://schemas.microsoft.com/office/drawing/2014/main" id="{D909542D-C158-4384-81F1-A24DEB3194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66355" y="5155996"/>
                  <a:ext cx="2240" cy="5304"/>
                </a:xfrm>
                <a:custGeom>
                  <a:avLst/>
                  <a:gdLst>
                    <a:gd name="T0" fmla="*/ 0 w 2"/>
                    <a:gd name="T1" fmla="*/ 0 h 2"/>
                    <a:gd name="T2" fmla="*/ 1 w 2"/>
                    <a:gd name="T3" fmla="*/ 2 h 2"/>
                    <a:gd name="T4" fmla="*/ 1 w 2"/>
                    <a:gd name="T5" fmla="*/ 2 h 2"/>
                    <a:gd name="T6" fmla="*/ 2 w 2"/>
                    <a:gd name="T7" fmla="*/ 2 h 2"/>
                    <a:gd name="T8" fmla="*/ 2 w 2"/>
                    <a:gd name="T9" fmla="*/ 0 h 2"/>
                    <a:gd name="T10" fmla="*/ 0 w 2"/>
                    <a:gd name="T1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0" name="Freeform 1745">
                  <a:extLst>
                    <a:ext uri="{FF2B5EF4-FFF2-40B4-BE49-F238E27FC236}">
                      <a16:creationId xmlns:a16="http://schemas.microsoft.com/office/drawing/2014/main" id="{13431692-3F7A-4304-9D21-F5561FBD68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68593" y="5108259"/>
                  <a:ext cx="20148" cy="10609"/>
                </a:xfrm>
                <a:custGeom>
                  <a:avLst/>
                  <a:gdLst>
                    <a:gd name="T0" fmla="*/ 0 w 17"/>
                    <a:gd name="T1" fmla="*/ 6 h 7"/>
                    <a:gd name="T2" fmla="*/ 5 w 17"/>
                    <a:gd name="T3" fmla="*/ 7 h 7"/>
                    <a:gd name="T4" fmla="*/ 10 w 17"/>
                    <a:gd name="T5" fmla="*/ 6 h 7"/>
                    <a:gd name="T6" fmla="*/ 15 w 17"/>
                    <a:gd name="T7" fmla="*/ 3 h 7"/>
                    <a:gd name="T8" fmla="*/ 17 w 17"/>
                    <a:gd name="T9" fmla="*/ 0 h 7"/>
                    <a:gd name="T10" fmla="*/ 15 w 17"/>
                    <a:gd name="T11" fmla="*/ 1 h 7"/>
                    <a:gd name="T12" fmla="*/ 11 w 17"/>
                    <a:gd name="T13" fmla="*/ 2 h 7"/>
                    <a:gd name="T14" fmla="*/ 11 w 17"/>
                    <a:gd name="T15" fmla="*/ 1 h 7"/>
                    <a:gd name="T16" fmla="*/ 10 w 17"/>
                    <a:gd name="T17" fmla="*/ 1 h 7"/>
                    <a:gd name="T18" fmla="*/ 6 w 17"/>
                    <a:gd name="T19" fmla="*/ 2 h 7"/>
                    <a:gd name="T20" fmla="*/ 3 w 17"/>
                    <a:gd name="T21" fmla="*/ 5 h 7"/>
                    <a:gd name="T22" fmla="*/ 0 w 17"/>
                    <a:gd name="T23" fmla="*/ 6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7" h="7">
                      <a:moveTo>
                        <a:pt x="0" y="6"/>
                      </a:moveTo>
                      <a:lnTo>
                        <a:pt x="5" y="7"/>
                      </a:lnTo>
                      <a:lnTo>
                        <a:pt x="10" y="6"/>
                      </a:lnTo>
                      <a:lnTo>
                        <a:pt x="15" y="3"/>
                      </a:lnTo>
                      <a:lnTo>
                        <a:pt x="17" y="0"/>
                      </a:lnTo>
                      <a:lnTo>
                        <a:pt x="15" y="1"/>
                      </a:lnTo>
                      <a:lnTo>
                        <a:pt x="11" y="2"/>
                      </a:lnTo>
                      <a:lnTo>
                        <a:pt x="11" y="1"/>
                      </a:lnTo>
                      <a:lnTo>
                        <a:pt x="10" y="1"/>
                      </a:lnTo>
                      <a:lnTo>
                        <a:pt x="6" y="2"/>
                      </a:lnTo>
                      <a:lnTo>
                        <a:pt x="3" y="5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1" name="Freeform 1746">
                  <a:extLst>
                    <a:ext uri="{FF2B5EF4-FFF2-40B4-BE49-F238E27FC236}">
                      <a16:creationId xmlns:a16="http://schemas.microsoft.com/office/drawing/2014/main" id="{11BDCF4F-6591-4A15-975C-064C18183E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70833" y="5087043"/>
                  <a:ext cx="24625" cy="15912"/>
                </a:xfrm>
                <a:custGeom>
                  <a:avLst/>
                  <a:gdLst>
                    <a:gd name="T0" fmla="*/ 11 w 21"/>
                    <a:gd name="T1" fmla="*/ 11 h 11"/>
                    <a:gd name="T2" fmla="*/ 16 w 21"/>
                    <a:gd name="T3" fmla="*/ 11 h 11"/>
                    <a:gd name="T4" fmla="*/ 21 w 21"/>
                    <a:gd name="T5" fmla="*/ 9 h 11"/>
                    <a:gd name="T6" fmla="*/ 19 w 21"/>
                    <a:gd name="T7" fmla="*/ 7 h 11"/>
                    <a:gd name="T8" fmla="*/ 19 w 21"/>
                    <a:gd name="T9" fmla="*/ 5 h 11"/>
                    <a:gd name="T10" fmla="*/ 19 w 21"/>
                    <a:gd name="T11" fmla="*/ 4 h 11"/>
                    <a:gd name="T12" fmla="*/ 17 w 21"/>
                    <a:gd name="T13" fmla="*/ 2 h 11"/>
                    <a:gd name="T14" fmla="*/ 16 w 21"/>
                    <a:gd name="T15" fmla="*/ 1 h 11"/>
                    <a:gd name="T16" fmla="*/ 13 w 21"/>
                    <a:gd name="T17" fmla="*/ 0 h 11"/>
                    <a:gd name="T18" fmla="*/ 13 w 21"/>
                    <a:gd name="T19" fmla="*/ 6 h 11"/>
                    <a:gd name="T20" fmla="*/ 10 w 21"/>
                    <a:gd name="T21" fmla="*/ 5 h 11"/>
                    <a:gd name="T22" fmla="*/ 7 w 21"/>
                    <a:gd name="T23" fmla="*/ 5 h 11"/>
                    <a:gd name="T24" fmla="*/ 3 w 21"/>
                    <a:gd name="T25" fmla="*/ 7 h 11"/>
                    <a:gd name="T26" fmla="*/ 0 w 21"/>
                    <a:gd name="T27" fmla="*/ 10 h 11"/>
                    <a:gd name="T28" fmla="*/ 3 w 21"/>
                    <a:gd name="T29" fmla="*/ 11 h 11"/>
                    <a:gd name="T30" fmla="*/ 7 w 21"/>
                    <a:gd name="T31" fmla="*/ 10 h 11"/>
                    <a:gd name="T32" fmla="*/ 11 w 21"/>
                    <a:gd name="T33" fmla="*/ 7 h 11"/>
                    <a:gd name="T34" fmla="*/ 14 w 21"/>
                    <a:gd name="T35" fmla="*/ 9 h 11"/>
                    <a:gd name="T36" fmla="*/ 8 w 21"/>
                    <a:gd name="T37" fmla="*/ 10 h 11"/>
                    <a:gd name="T38" fmla="*/ 11 w 21"/>
                    <a:gd name="T39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21" h="11">
                      <a:moveTo>
                        <a:pt x="11" y="11"/>
                      </a:moveTo>
                      <a:lnTo>
                        <a:pt x="16" y="11"/>
                      </a:lnTo>
                      <a:lnTo>
                        <a:pt x="21" y="9"/>
                      </a:lnTo>
                      <a:lnTo>
                        <a:pt x="19" y="7"/>
                      </a:lnTo>
                      <a:lnTo>
                        <a:pt x="19" y="5"/>
                      </a:lnTo>
                      <a:lnTo>
                        <a:pt x="19" y="4"/>
                      </a:lnTo>
                      <a:lnTo>
                        <a:pt x="17" y="2"/>
                      </a:lnTo>
                      <a:lnTo>
                        <a:pt x="16" y="1"/>
                      </a:lnTo>
                      <a:lnTo>
                        <a:pt x="13" y="0"/>
                      </a:lnTo>
                      <a:lnTo>
                        <a:pt x="13" y="6"/>
                      </a:lnTo>
                      <a:lnTo>
                        <a:pt x="10" y="5"/>
                      </a:lnTo>
                      <a:lnTo>
                        <a:pt x="7" y="5"/>
                      </a:lnTo>
                      <a:lnTo>
                        <a:pt x="3" y="7"/>
                      </a:lnTo>
                      <a:lnTo>
                        <a:pt x="0" y="10"/>
                      </a:lnTo>
                      <a:lnTo>
                        <a:pt x="3" y="11"/>
                      </a:lnTo>
                      <a:lnTo>
                        <a:pt x="7" y="10"/>
                      </a:lnTo>
                      <a:lnTo>
                        <a:pt x="11" y="7"/>
                      </a:lnTo>
                      <a:lnTo>
                        <a:pt x="14" y="9"/>
                      </a:lnTo>
                      <a:lnTo>
                        <a:pt x="8" y="10"/>
                      </a:lnTo>
                      <a:lnTo>
                        <a:pt x="11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2" name="Freeform 1747">
                  <a:extLst>
                    <a:ext uri="{FF2B5EF4-FFF2-40B4-BE49-F238E27FC236}">
                      <a16:creationId xmlns:a16="http://schemas.microsoft.com/office/drawing/2014/main" id="{2B32CD19-F2EF-4809-839F-4767E16B6F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75310" y="5105606"/>
                  <a:ext cx="11193" cy="0"/>
                </a:xfrm>
                <a:custGeom>
                  <a:avLst/>
                  <a:gdLst>
                    <a:gd name="T0" fmla="*/ 4 w 9"/>
                    <a:gd name="T1" fmla="*/ 1 h 1"/>
                    <a:gd name="T2" fmla="*/ 7 w 9"/>
                    <a:gd name="T3" fmla="*/ 1 h 1"/>
                    <a:gd name="T4" fmla="*/ 9 w 9"/>
                    <a:gd name="T5" fmla="*/ 0 h 1"/>
                    <a:gd name="T6" fmla="*/ 5 w 9"/>
                    <a:gd name="T7" fmla="*/ 0 h 1"/>
                    <a:gd name="T8" fmla="*/ 0 w 9"/>
                    <a:gd name="T9" fmla="*/ 0 h 1"/>
                    <a:gd name="T10" fmla="*/ 4 w 9"/>
                    <a:gd name="T11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1">
                      <a:moveTo>
                        <a:pt x="4" y="1"/>
                      </a:move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5" y="0"/>
                      </a:lnTo>
                      <a:lnTo>
                        <a:pt x="0" y="0"/>
                      </a:lnTo>
                      <a:lnTo>
                        <a:pt x="4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3" name="Freeform 1748">
                  <a:extLst>
                    <a:ext uri="{FF2B5EF4-FFF2-40B4-BE49-F238E27FC236}">
                      <a16:creationId xmlns:a16="http://schemas.microsoft.com/office/drawing/2014/main" id="{A74476C7-4A42-46A8-B91E-BF2CF82945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82025" y="5089694"/>
                  <a:ext cx="2240" cy="2653"/>
                </a:xfrm>
                <a:custGeom>
                  <a:avLst/>
                  <a:gdLst>
                    <a:gd name="T0" fmla="*/ 3 w 3"/>
                    <a:gd name="T1" fmla="*/ 3 h 3"/>
                    <a:gd name="T2" fmla="*/ 3 w 3"/>
                    <a:gd name="T3" fmla="*/ 0 h 3"/>
                    <a:gd name="T4" fmla="*/ 0 w 3"/>
                    <a:gd name="T5" fmla="*/ 3 h 3"/>
                    <a:gd name="T6" fmla="*/ 3 w 3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3">
                      <a:moveTo>
                        <a:pt x="3" y="3"/>
                      </a:moveTo>
                      <a:lnTo>
                        <a:pt x="3" y="0"/>
                      </a:lnTo>
                      <a:lnTo>
                        <a:pt x="0" y="3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4" name="Freeform 1749">
                  <a:extLst>
                    <a:ext uri="{FF2B5EF4-FFF2-40B4-BE49-F238E27FC236}">
                      <a16:creationId xmlns:a16="http://schemas.microsoft.com/office/drawing/2014/main" id="{13C7BE79-1520-404C-A7EA-E881F376ECE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82025" y="5113564"/>
                  <a:ext cx="4477" cy="2653"/>
                </a:xfrm>
                <a:custGeom>
                  <a:avLst/>
                  <a:gdLst>
                    <a:gd name="T0" fmla="*/ 0 w 4"/>
                    <a:gd name="T1" fmla="*/ 1 h 1"/>
                    <a:gd name="T2" fmla="*/ 4 w 4"/>
                    <a:gd name="T3" fmla="*/ 0 h 1"/>
                    <a:gd name="T4" fmla="*/ 0 w 4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1">
                      <a:moveTo>
                        <a:pt x="0" y="1"/>
                      </a:moveTo>
                      <a:lnTo>
                        <a:pt x="4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5" name="Freeform 1750">
                  <a:extLst>
                    <a:ext uri="{FF2B5EF4-FFF2-40B4-BE49-F238E27FC236}">
                      <a16:creationId xmlns:a16="http://schemas.microsoft.com/office/drawing/2014/main" id="{10BEC2B1-61C3-438B-BC88-01D991F85E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86501" y="5126822"/>
                  <a:ext cx="6716" cy="2653"/>
                </a:xfrm>
                <a:custGeom>
                  <a:avLst/>
                  <a:gdLst>
                    <a:gd name="T0" fmla="*/ 0 w 6"/>
                    <a:gd name="T1" fmla="*/ 3 h 3"/>
                    <a:gd name="T2" fmla="*/ 6 w 6"/>
                    <a:gd name="T3" fmla="*/ 1 h 3"/>
                    <a:gd name="T4" fmla="*/ 2 w 6"/>
                    <a:gd name="T5" fmla="*/ 0 h 3"/>
                    <a:gd name="T6" fmla="*/ 0 w 6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3">
                      <a:moveTo>
                        <a:pt x="0" y="3"/>
                      </a:moveTo>
                      <a:lnTo>
                        <a:pt x="6" y="1"/>
                      </a:lnTo>
                      <a:lnTo>
                        <a:pt x="2" y="0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6" name="Freeform 1751">
                  <a:extLst>
                    <a:ext uri="{FF2B5EF4-FFF2-40B4-BE49-F238E27FC236}">
                      <a16:creationId xmlns:a16="http://schemas.microsoft.com/office/drawing/2014/main" id="{6EE6809F-61EE-4DF0-B30C-92666F5C60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88741" y="5089694"/>
                  <a:ext cx="35816" cy="23870"/>
                </a:xfrm>
                <a:custGeom>
                  <a:avLst/>
                  <a:gdLst>
                    <a:gd name="T0" fmla="*/ 8 w 32"/>
                    <a:gd name="T1" fmla="*/ 8 h 19"/>
                    <a:gd name="T2" fmla="*/ 8 w 32"/>
                    <a:gd name="T3" fmla="*/ 10 h 19"/>
                    <a:gd name="T4" fmla="*/ 3 w 32"/>
                    <a:gd name="T5" fmla="*/ 11 h 19"/>
                    <a:gd name="T6" fmla="*/ 4 w 32"/>
                    <a:gd name="T7" fmla="*/ 14 h 19"/>
                    <a:gd name="T8" fmla="*/ 3 w 32"/>
                    <a:gd name="T9" fmla="*/ 15 h 19"/>
                    <a:gd name="T10" fmla="*/ 2 w 32"/>
                    <a:gd name="T11" fmla="*/ 16 h 19"/>
                    <a:gd name="T12" fmla="*/ 0 w 32"/>
                    <a:gd name="T13" fmla="*/ 19 h 19"/>
                    <a:gd name="T14" fmla="*/ 5 w 32"/>
                    <a:gd name="T15" fmla="*/ 16 h 19"/>
                    <a:gd name="T16" fmla="*/ 10 w 32"/>
                    <a:gd name="T17" fmla="*/ 15 h 19"/>
                    <a:gd name="T18" fmla="*/ 7 w 32"/>
                    <a:gd name="T19" fmla="*/ 17 h 19"/>
                    <a:gd name="T20" fmla="*/ 10 w 32"/>
                    <a:gd name="T21" fmla="*/ 19 h 19"/>
                    <a:gd name="T22" fmla="*/ 13 w 32"/>
                    <a:gd name="T23" fmla="*/ 19 h 19"/>
                    <a:gd name="T24" fmla="*/ 15 w 32"/>
                    <a:gd name="T25" fmla="*/ 16 h 19"/>
                    <a:gd name="T26" fmla="*/ 18 w 32"/>
                    <a:gd name="T27" fmla="*/ 14 h 19"/>
                    <a:gd name="T28" fmla="*/ 18 w 32"/>
                    <a:gd name="T29" fmla="*/ 16 h 19"/>
                    <a:gd name="T30" fmla="*/ 19 w 32"/>
                    <a:gd name="T31" fmla="*/ 16 h 19"/>
                    <a:gd name="T32" fmla="*/ 20 w 32"/>
                    <a:gd name="T33" fmla="*/ 15 h 19"/>
                    <a:gd name="T34" fmla="*/ 21 w 32"/>
                    <a:gd name="T35" fmla="*/ 12 h 19"/>
                    <a:gd name="T36" fmla="*/ 24 w 32"/>
                    <a:gd name="T37" fmla="*/ 11 h 19"/>
                    <a:gd name="T38" fmla="*/ 28 w 32"/>
                    <a:gd name="T39" fmla="*/ 11 h 19"/>
                    <a:gd name="T40" fmla="*/ 30 w 32"/>
                    <a:gd name="T41" fmla="*/ 10 h 19"/>
                    <a:gd name="T42" fmla="*/ 32 w 32"/>
                    <a:gd name="T43" fmla="*/ 9 h 19"/>
                    <a:gd name="T44" fmla="*/ 32 w 32"/>
                    <a:gd name="T45" fmla="*/ 6 h 19"/>
                    <a:gd name="T46" fmla="*/ 31 w 32"/>
                    <a:gd name="T47" fmla="*/ 4 h 19"/>
                    <a:gd name="T48" fmla="*/ 28 w 32"/>
                    <a:gd name="T49" fmla="*/ 3 h 19"/>
                    <a:gd name="T50" fmla="*/ 24 w 32"/>
                    <a:gd name="T51" fmla="*/ 4 h 19"/>
                    <a:gd name="T52" fmla="*/ 20 w 32"/>
                    <a:gd name="T53" fmla="*/ 8 h 19"/>
                    <a:gd name="T54" fmla="*/ 15 w 32"/>
                    <a:gd name="T55" fmla="*/ 11 h 19"/>
                    <a:gd name="T56" fmla="*/ 16 w 32"/>
                    <a:gd name="T57" fmla="*/ 10 h 19"/>
                    <a:gd name="T58" fmla="*/ 18 w 32"/>
                    <a:gd name="T59" fmla="*/ 6 h 19"/>
                    <a:gd name="T60" fmla="*/ 19 w 32"/>
                    <a:gd name="T61" fmla="*/ 5 h 19"/>
                    <a:gd name="T62" fmla="*/ 18 w 32"/>
                    <a:gd name="T63" fmla="*/ 5 h 19"/>
                    <a:gd name="T64" fmla="*/ 16 w 32"/>
                    <a:gd name="T65" fmla="*/ 6 h 19"/>
                    <a:gd name="T66" fmla="*/ 18 w 32"/>
                    <a:gd name="T67" fmla="*/ 4 h 19"/>
                    <a:gd name="T68" fmla="*/ 18 w 32"/>
                    <a:gd name="T69" fmla="*/ 1 h 19"/>
                    <a:gd name="T70" fmla="*/ 15 w 32"/>
                    <a:gd name="T71" fmla="*/ 0 h 19"/>
                    <a:gd name="T72" fmla="*/ 13 w 32"/>
                    <a:gd name="T73" fmla="*/ 0 h 19"/>
                    <a:gd name="T74" fmla="*/ 12 w 32"/>
                    <a:gd name="T75" fmla="*/ 3 h 19"/>
                    <a:gd name="T76" fmla="*/ 10 w 32"/>
                    <a:gd name="T77" fmla="*/ 4 h 19"/>
                    <a:gd name="T78" fmla="*/ 10 w 32"/>
                    <a:gd name="T79" fmla="*/ 6 h 19"/>
                    <a:gd name="T80" fmla="*/ 13 w 32"/>
                    <a:gd name="T81" fmla="*/ 8 h 19"/>
                    <a:gd name="T82" fmla="*/ 8 w 32"/>
                    <a:gd name="T83" fmla="*/ 8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32" h="19">
                      <a:moveTo>
                        <a:pt x="8" y="8"/>
                      </a:moveTo>
                      <a:lnTo>
                        <a:pt x="8" y="10"/>
                      </a:lnTo>
                      <a:lnTo>
                        <a:pt x="3" y="11"/>
                      </a:lnTo>
                      <a:lnTo>
                        <a:pt x="4" y="14"/>
                      </a:lnTo>
                      <a:lnTo>
                        <a:pt x="3" y="15"/>
                      </a:lnTo>
                      <a:lnTo>
                        <a:pt x="2" y="16"/>
                      </a:lnTo>
                      <a:lnTo>
                        <a:pt x="0" y="19"/>
                      </a:lnTo>
                      <a:lnTo>
                        <a:pt x="5" y="16"/>
                      </a:lnTo>
                      <a:lnTo>
                        <a:pt x="10" y="15"/>
                      </a:lnTo>
                      <a:lnTo>
                        <a:pt x="7" y="17"/>
                      </a:lnTo>
                      <a:lnTo>
                        <a:pt x="10" y="19"/>
                      </a:lnTo>
                      <a:lnTo>
                        <a:pt x="13" y="19"/>
                      </a:lnTo>
                      <a:lnTo>
                        <a:pt x="15" y="16"/>
                      </a:lnTo>
                      <a:lnTo>
                        <a:pt x="18" y="14"/>
                      </a:lnTo>
                      <a:lnTo>
                        <a:pt x="18" y="16"/>
                      </a:lnTo>
                      <a:lnTo>
                        <a:pt x="19" y="16"/>
                      </a:lnTo>
                      <a:lnTo>
                        <a:pt x="20" y="15"/>
                      </a:lnTo>
                      <a:lnTo>
                        <a:pt x="21" y="12"/>
                      </a:lnTo>
                      <a:lnTo>
                        <a:pt x="24" y="11"/>
                      </a:lnTo>
                      <a:lnTo>
                        <a:pt x="28" y="11"/>
                      </a:lnTo>
                      <a:lnTo>
                        <a:pt x="30" y="10"/>
                      </a:lnTo>
                      <a:lnTo>
                        <a:pt x="32" y="9"/>
                      </a:lnTo>
                      <a:lnTo>
                        <a:pt x="32" y="6"/>
                      </a:lnTo>
                      <a:lnTo>
                        <a:pt x="31" y="4"/>
                      </a:lnTo>
                      <a:lnTo>
                        <a:pt x="28" y="3"/>
                      </a:lnTo>
                      <a:lnTo>
                        <a:pt x="24" y="4"/>
                      </a:lnTo>
                      <a:lnTo>
                        <a:pt x="20" y="8"/>
                      </a:lnTo>
                      <a:lnTo>
                        <a:pt x="15" y="11"/>
                      </a:lnTo>
                      <a:lnTo>
                        <a:pt x="16" y="10"/>
                      </a:lnTo>
                      <a:lnTo>
                        <a:pt x="18" y="6"/>
                      </a:lnTo>
                      <a:lnTo>
                        <a:pt x="19" y="5"/>
                      </a:lnTo>
                      <a:lnTo>
                        <a:pt x="18" y="5"/>
                      </a:lnTo>
                      <a:lnTo>
                        <a:pt x="16" y="6"/>
                      </a:lnTo>
                      <a:lnTo>
                        <a:pt x="18" y="4"/>
                      </a:lnTo>
                      <a:lnTo>
                        <a:pt x="18" y="1"/>
                      </a:lnTo>
                      <a:lnTo>
                        <a:pt x="15" y="0"/>
                      </a:lnTo>
                      <a:lnTo>
                        <a:pt x="13" y="0"/>
                      </a:lnTo>
                      <a:lnTo>
                        <a:pt x="12" y="3"/>
                      </a:lnTo>
                      <a:lnTo>
                        <a:pt x="10" y="4"/>
                      </a:lnTo>
                      <a:lnTo>
                        <a:pt x="10" y="6"/>
                      </a:lnTo>
                      <a:lnTo>
                        <a:pt x="13" y="8"/>
                      </a:lnTo>
                      <a:lnTo>
                        <a:pt x="8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7" name="Freeform 1752">
                  <a:extLst>
                    <a:ext uri="{FF2B5EF4-FFF2-40B4-BE49-F238E27FC236}">
                      <a16:creationId xmlns:a16="http://schemas.microsoft.com/office/drawing/2014/main" id="{2C651380-47CD-4717-B930-A6D72FF7FA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5455" y="5079085"/>
                  <a:ext cx="17908" cy="13261"/>
                </a:xfrm>
                <a:custGeom>
                  <a:avLst/>
                  <a:gdLst>
                    <a:gd name="T0" fmla="*/ 5 w 15"/>
                    <a:gd name="T1" fmla="*/ 8 h 9"/>
                    <a:gd name="T2" fmla="*/ 11 w 15"/>
                    <a:gd name="T3" fmla="*/ 4 h 9"/>
                    <a:gd name="T4" fmla="*/ 13 w 15"/>
                    <a:gd name="T5" fmla="*/ 2 h 9"/>
                    <a:gd name="T6" fmla="*/ 15 w 15"/>
                    <a:gd name="T7" fmla="*/ 0 h 9"/>
                    <a:gd name="T8" fmla="*/ 10 w 15"/>
                    <a:gd name="T9" fmla="*/ 0 h 9"/>
                    <a:gd name="T10" fmla="*/ 6 w 15"/>
                    <a:gd name="T11" fmla="*/ 2 h 9"/>
                    <a:gd name="T12" fmla="*/ 1 w 15"/>
                    <a:gd name="T13" fmla="*/ 6 h 9"/>
                    <a:gd name="T14" fmla="*/ 0 w 15"/>
                    <a:gd name="T15" fmla="*/ 9 h 9"/>
                    <a:gd name="T16" fmla="*/ 2 w 15"/>
                    <a:gd name="T17" fmla="*/ 9 h 9"/>
                    <a:gd name="T18" fmla="*/ 5 w 15"/>
                    <a:gd name="T19" fmla="*/ 8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5" h="9">
                      <a:moveTo>
                        <a:pt x="5" y="8"/>
                      </a:moveTo>
                      <a:lnTo>
                        <a:pt x="11" y="4"/>
                      </a:lnTo>
                      <a:lnTo>
                        <a:pt x="13" y="2"/>
                      </a:lnTo>
                      <a:lnTo>
                        <a:pt x="15" y="0"/>
                      </a:lnTo>
                      <a:lnTo>
                        <a:pt x="10" y="0"/>
                      </a:lnTo>
                      <a:lnTo>
                        <a:pt x="6" y="2"/>
                      </a:lnTo>
                      <a:lnTo>
                        <a:pt x="1" y="6"/>
                      </a:lnTo>
                      <a:lnTo>
                        <a:pt x="0" y="9"/>
                      </a:lnTo>
                      <a:lnTo>
                        <a:pt x="2" y="9"/>
                      </a:lnTo>
                      <a:lnTo>
                        <a:pt x="5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8" name="Freeform 1753">
                  <a:extLst>
                    <a:ext uri="{FF2B5EF4-FFF2-40B4-BE49-F238E27FC236}">
                      <a16:creationId xmlns:a16="http://schemas.microsoft.com/office/drawing/2014/main" id="{A0111C24-5A64-41FD-9A9B-69530F1E48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9933" y="5124171"/>
                  <a:ext cx="6716" cy="2653"/>
                </a:xfrm>
                <a:custGeom>
                  <a:avLst/>
                  <a:gdLst>
                    <a:gd name="T0" fmla="*/ 3 w 8"/>
                    <a:gd name="T1" fmla="*/ 0 h 1"/>
                    <a:gd name="T2" fmla="*/ 0 w 8"/>
                    <a:gd name="T3" fmla="*/ 1 h 1"/>
                    <a:gd name="T4" fmla="*/ 8 w 8"/>
                    <a:gd name="T5" fmla="*/ 0 h 1"/>
                    <a:gd name="T6" fmla="*/ 3 w 8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" h="1">
                      <a:moveTo>
                        <a:pt x="3" y="0"/>
                      </a:moveTo>
                      <a:lnTo>
                        <a:pt x="0" y="1"/>
                      </a:lnTo>
                      <a:lnTo>
                        <a:pt x="8" y="0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9" name="Freeform 1754">
                  <a:extLst>
                    <a:ext uri="{FF2B5EF4-FFF2-40B4-BE49-F238E27FC236}">
                      <a16:creationId xmlns:a16="http://schemas.microsoft.com/office/drawing/2014/main" id="{E01BCE53-2CC9-4F1F-9DC1-C8602D0358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13363" y="5105606"/>
                  <a:ext cx="4477" cy="5304"/>
                </a:xfrm>
                <a:custGeom>
                  <a:avLst/>
                  <a:gdLst>
                    <a:gd name="T0" fmla="*/ 0 w 5"/>
                    <a:gd name="T1" fmla="*/ 2 h 4"/>
                    <a:gd name="T2" fmla="*/ 2 w 5"/>
                    <a:gd name="T3" fmla="*/ 4 h 4"/>
                    <a:gd name="T4" fmla="*/ 3 w 5"/>
                    <a:gd name="T5" fmla="*/ 4 h 4"/>
                    <a:gd name="T6" fmla="*/ 5 w 5"/>
                    <a:gd name="T7" fmla="*/ 2 h 4"/>
                    <a:gd name="T8" fmla="*/ 3 w 5"/>
                    <a:gd name="T9" fmla="*/ 0 h 4"/>
                    <a:gd name="T10" fmla="*/ 2 w 5"/>
                    <a:gd name="T11" fmla="*/ 0 h 4"/>
                    <a:gd name="T12" fmla="*/ 0 w 5"/>
                    <a:gd name="T13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4">
                      <a:moveTo>
                        <a:pt x="0" y="2"/>
                      </a:move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5" y="2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0" name="Freeform 1755">
                  <a:extLst>
                    <a:ext uri="{FF2B5EF4-FFF2-40B4-BE49-F238E27FC236}">
                      <a16:creationId xmlns:a16="http://schemas.microsoft.com/office/drawing/2014/main" id="{3AAA4C1E-533E-438A-92F0-70F1201B98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17841" y="5089694"/>
                  <a:ext cx="6716" cy="2653"/>
                </a:xfrm>
                <a:custGeom>
                  <a:avLst/>
                  <a:gdLst>
                    <a:gd name="T0" fmla="*/ 2 w 4"/>
                    <a:gd name="T1" fmla="*/ 3 h 3"/>
                    <a:gd name="T2" fmla="*/ 4 w 4"/>
                    <a:gd name="T3" fmla="*/ 1 h 3"/>
                    <a:gd name="T4" fmla="*/ 2 w 4"/>
                    <a:gd name="T5" fmla="*/ 0 h 3"/>
                    <a:gd name="T6" fmla="*/ 0 w 4"/>
                    <a:gd name="T7" fmla="*/ 1 h 3"/>
                    <a:gd name="T8" fmla="*/ 2 w 4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3">
                      <a:moveTo>
                        <a:pt x="2" y="3"/>
                      </a:moveTo>
                      <a:lnTo>
                        <a:pt x="4" y="1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1" name="Freeform 1756">
                  <a:extLst>
                    <a:ext uri="{FF2B5EF4-FFF2-40B4-BE49-F238E27FC236}">
                      <a16:creationId xmlns:a16="http://schemas.microsoft.com/office/drawing/2014/main" id="{C5E4668B-0546-4993-84BB-19872E87B1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29034" y="5065825"/>
                  <a:ext cx="26862" cy="18565"/>
                </a:xfrm>
                <a:custGeom>
                  <a:avLst/>
                  <a:gdLst>
                    <a:gd name="T0" fmla="*/ 3 w 25"/>
                    <a:gd name="T1" fmla="*/ 9 h 13"/>
                    <a:gd name="T2" fmla="*/ 7 w 25"/>
                    <a:gd name="T3" fmla="*/ 9 h 13"/>
                    <a:gd name="T4" fmla="*/ 4 w 25"/>
                    <a:gd name="T5" fmla="*/ 9 h 13"/>
                    <a:gd name="T6" fmla="*/ 3 w 25"/>
                    <a:gd name="T7" fmla="*/ 10 h 13"/>
                    <a:gd name="T8" fmla="*/ 4 w 25"/>
                    <a:gd name="T9" fmla="*/ 10 h 13"/>
                    <a:gd name="T10" fmla="*/ 7 w 25"/>
                    <a:gd name="T11" fmla="*/ 11 h 13"/>
                    <a:gd name="T12" fmla="*/ 0 w 25"/>
                    <a:gd name="T13" fmla="*/ 12 h 13"/>
                    <a:gd name="T14" fmla="*/ 5 w 25"/>
                    <a:gd name="T15" fmla="*/ 13 h 13"/>
                    <a:gd name="T16" fmla="*/ 11 w 25"/>
                    <a:gd name="T17" fmla="*/ 12 h 13"/>
                    <a:gd name="T18" fmla="*/ 14 w 25"/>
                    <a:gd name="T19" fmla="*/ 11 h 13"/>
                    <a:gd name="T20" fmla="*/ 18 w 25"/>
                    <a:gd name="T21" fmla="*/ 11 h 13"/>
                    <a:gd name="T22" fmla="*/ 24 w 25"/>
                    <a:gd name="T23" fmla="*/ 11 h 13"/>
                    <a:gd name="T24" fmla="*/ 21 w 25"/>
                    <a:gd name="T25" fmla="*/ 11 h 13"/>
                    <a:gd name="T26" fmla="*/ 21 w 25"/>
                    <a:gd name="T27" fmla="*/ 10 h 13"/>
                    <a:gd name="T28" fmla="*/ 21 w 25"/>
                    <a:gd name="T29" fmla="*/ 9 h 13"/>
                    <a:gd name="T30" fmla="*/ 24 w 25"/>
                    <a:gd name="T31" fmla="*/ 9 h 13"/>
                    <a:gd name="T32" fmla="*/ 25 w 25"/>
                    <a:gd name="T33" fmla="*/ 5 h 13"/>
                    <a:gd name="T34" fmla="*/ 24 w 25"/>
                    <a:gd name="T35" fmla="*/ 4 h 13"/>
                    <a:gd name="T36" fmla="*/ 21 w 25"/>
                    <a:gd name="T37" fmla="*/ 5 h 13"/>
                    <a:gd name="T38" fmla="*/ 24 w 25"/>
                    <a:gd name="T39" fmla="*/ 4 h 13"/>
                    <a:gd name="T40" fmla="*/ 24 w 25"/>
                    <a:gd name="T41" fmla="*/ 4 h 13"/>
                    <a:gd name="T42" fmla="*/ 24 w 25"/>
                    <a:gd name="T43" fmla="*/ 2 h 13"/>
                    <a:gd name="T44" fmla="*/ 21 w 25"/>
                    <a:gd name="T45" fmla="*/ 2 h 13"/>
                    <a:gd name="T46" fmla="*/ 19 w 25"/>
                    <a:gd name="T47" fmla="*/ 1 h 13"/>
                    <a:gd name="T48" fmla="*/ 16 w 25"/>
                    <a:gd name="T49" fmla="*/ 0 h 13"/>
                    <a:gd name="T50" fmla="*/ 15 w 25"/>
                    <a:gd name="T51" fmla="*/ 0 h 13"/>
                    <a:gd name="T52" fmla="*/ 16 w 25"/>
                    <a:gd name="T53" fmla="*/ 1 h 13"/>
                    <a:gd name="T54" fmla="*/ 16 w 25"/>
                    <a:gd name="T55" fmla="*/ 2 h 13"/>
                    <a:gd name="T56" fmla="*/ 15 w 25"/>
                    <a:gd name="T57" fmla="*/ 2 h 13"/>
                    <a:gd name="T58" fmla="*/ 14 w 25"/>
                    <a:gd name="T59" fmla="*/ 0 h 13"/>
                    <a:gd name="T60" fmla="*/ 15 w 25"/>
                    <a:gd name="T61" fmla="*/ 1 h 13"/>
                    <a:gd name="T62" fmla="*/ 15 w 25"/>
                    <a:gd name="T63" fmla="*/ 2 h 13"/>
                    <a:gd name="T64" fmla="*/ 14 w 25"/>
                    <a:gd name="T65" fmla="*/ 2 h 13"/>
                    <a:gd name="T66" fmla="*/ 10 w 25"/>
                    <a:gd name="T67" fmla="*/ 2 h 13"/>
                    <a:gd name="T68" fmla="*/ 7 w 25"/>
                    <a:gd name="T69" fmla="*/ 2 h 13"/>
                    <a:gd name="T70" fmla="*/ 9 w 25"/>
                    <a:gd name="T71" fmla="*/ 4 h 13"/>
                    <a:gd name="T72" fmla="*/ 13 w 25"/>
                    <a:gd name="T73" fmla="*/ 4 h 13"/>
                    <a:gd name="T74" fmla="*/ 7 w 25"/>
                    <a:gd name="T75" fmla="*/ 5 h 13"/>
                    <a:gd name="T76" fmla="*/ 0 w 25"/>
                    <a:gd name="T77" fmla="*/ 6 h 13"/>
                    <a:gd name="T78" fmla="*/ 3 w 25"/>
                    <a:gd name="T79" fmla="*/ 6 h 13"/>
                    <a:gd name="T80" fmla="*/ 3 w 25"/>
                    <a:gd name="T81" fmla="*/ 9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25" h="13">
                      <a:moveTo>
                        <a:pt x="3" y="9"/>
                      </a:moveTo>
                      <a:lnTo>
                        <a:pt x="7" y="9"/>
                      </a:lnTo>
                      <a:lnTo>
                        <a:pt x="4" y="9"/>
                      </a:lnTo>
                      <a:lnTo>
                        <a:pt x="3" y="10"/>
                      </a:lnTo>
                      <a:lnTo>
                        <a:pt x="4" y="10"/>
                      </a:lnTo>
                      <a:lnTo>
                        <a:pt x="7" y="11"/>
                      </a:lnTo>
                      <a:lnTo>
                        <a:pt x="0" y="12"/>
                      </a:lnTo>
                      <a:lnTo>
                        <a:pt x="5" y="13"/>
                      </a:lnTo>
                      <a:lnTo>
                        <a:pt x="11" y="12"/>
                      </a:lnTo>
                      <a:lnTo>
                        <a:pt x="14" y="11"/>
                      </a:lnTo>
                      <a:lnTo>
                        <a:pt x="18" y="11"/>
                      </a:lnTo>
                      <a:lnTo>
                        <a:pt x="24" y="11"/>
                      </a:lnTo>
                      <a:lnTo>
                        <a:pt x="21" y="11"/>
                      </a:lnTo>
                      <a:lnTo>
                        <a:pt x="21" y="10"/>
                      </a:lnTo>
                      <a:lnTo>
                        <a:pt x="21" y="9"/>
                      </a:lnTo>
                      <a:lnTo>
                        <a:pt x="24" y="9"/>
                      </a:lnTo>
                      <a:lnTo>
                        <a:pt x="25" y="5"/>
                      </a:lnTo>
                      <a:lnTo>
                        <a:pt x="24" y="4"/>
                      </a:lnTo>
                      <a:lnTo>
                        <a:pt x="21" y="5"/>
                      </a:lnTo>
                      <a:lnTo>
                        <a:pt x="24" y="4"/>
                      </a:lnTo>
                      <a:lnTo>
                        <a:pt x="24" y="4"/>
                      </a:lnTo>
                      <a:lnTo>
                        <a:pt x="24" y="2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6" y="0"/>
                      </a:lnTo>
                      <a:lnTo>
                        <a:pt x="15" y="0"/>
                      </a:lnTo>
                      <a:lnTo>
                        <a:pt x="16" y="1"/>
                      </a:lnTo>
                      <a:lnTo>
                        <a:pt x="16" y="2"/>
                      </a:lnTo>
                      <a:lnTo>
                        <a:pt x="15" y="2"/>
                      </a:lnTo>
                      <a:lnTo>
                        <a:pt x="14" y="0"/>
                      </a:lnTo>
                      <a:lnTo>
                        <a:pt x="15" y="1"/>
                      </a:lnTo>
                      <a:lnTo>
                        <a:pt x="15" y="2"/>
                      </a:lnTo>
                      <a:lnTo>
                        <a:pt x="14" y="2"/>
                      </a:lnTo>
                      <a:lnTo>
                        <a:pt x="10" y="2"/>
                      </a:lnTo>
                      <a:lnTo>
                        <a:pt x="7" y="2"/>
                      </a:lnTo>
                      <a:lnTo>
                        <a:pt x="9" y="4"/>
                      </a:lnTo>
                      <a:lnTo>
                        <a:pt x="13" y="4"/>
                      </a:lnTo>
                      <a:lnTo>
                        <a:pt x="7" y="5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2" name="Freeform 1757">
                  <a:extLst>
                    <a:ext uri="{FF2B5EF4-FFF2-40B4-BE49-F238E27FC236}">
                      <a16:creationId xmlns:a16="http://schemas.microsoft.com/office/drawing/2014/main" id="{C514529F-51D0-494D-A608-D6703FE9E7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29034" y="5094998"/>
                  <a:ext cx="6716" cy="2653"/>
                </a:xfrm>
                <a:custGeom>
                  <a:avLst/>
                  <a:gdLst>
                    <a:gd name="T0" fmla="*/ 7 w 7"/>
                    <a:gd name="T1" fmla="*/ 2 h 2"/>
                    <a:gd name="T2" fmla="*/ 5 w 7"/>
                    <a:gd name="T3" fmla="*/ 0 h 2"/>
                    <a:gd name="T4" fmla="*/ 4 w 7"/>
                    <a:gd name="T5" fmla="*/ 0 h 2"/>
                    <a:gd name="T6" fmla="*/ 0 w 7"/>
                    <a:gd name="T7" fmla="*/ 2 h 2"/>
                    <a:gd name="T8" fmla="*/ 7 w 7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2">
                      <a:moveTo>
                        <a:pt x="7" y="2"/>
                      </a:move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0" y="2"/>
                      </a:lnTo>
                      <a:lnTo>
                        <a:pt x="7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3" name="Freeform 1758">
                  <a:extLst>
                    <a:ext uri="{FF2B5EF4-FFF2-40B4-BE49-F238E27FC236}">
                      <a16:creationId xmlns:a16="http://schemas.microsoft.com/office/drawing/2014/main" id="{ED36CE24-A63B-40DA-92CC-7A3ABD8EA6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35748" y="5092346"/>
                  <a:ext cx="6716" cy="2653"/>
                </a:xfrm>
                <a:custGeom>
                  <a:avLst/>
                  <a:gdLst>
                    <a:gd name="T0" fmla="*/ 0 w 6"/>
                    <a:gd name="T1" fmla="*/ 2 h 3"/>
                    <a:gd name="T2" fmla="*/ 2 w 6"/>
                    <a:gd name="T3" fmla="*/ 3 h 3"/>
                    <a:gd name="T4" fmla="*/ 6 w 6"/>
                    <a:gd name="T5" fmla="*/ 3 h 3"/>
                    <a:gd name="T6" fmla="*/ 2 w 6"/>
                    <a:gd name="T7" fmla="*/ 0 h 3"/>
                    <a:gd name="T8" fmla="*/ 1 w 6"/>
                    <a:gd name="T9" fmla="*/ 0 h 3"/>
                    <a:gd name="T10" fmla="*/ 0 w 6"/>
                    <a:gd name="T11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3">
                      <a:moveTo>
                        <a:pt x="0" y="2"/>
                      </a:moveTo>
                      <a:lnTo>
                        <a:pt x="2" y="3"/>
                      </a:lnTo>
                      <a:lnTo>
                        <a:pt x="6" y="3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4" name="Freeform 1759">
                  <a:extLst>
                    <a:ext uri="{FF2B5EF4-FFF2-40B4-BE49-F238E27FC236}">
                      <a16:creationId xmlns:a16="http://schemas.microsoft.com/office/drawing/2014/main" id="{7B3BE935-1B1F-419D-9278-E86724D3FE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58134" y="5055218"/>
                  <a:ext cx="20148" cy="13261"/>
                </a:xfrm>
                <a:custGeom>
                  <a:avLst/>
                  <a:gdLst>
                    <a:gd name="T0" fmla="*/ 15 w 19"/>
                    <a:gd name="T1" fmla="*/ 7 h 10"/>
                    <a:gd name="T2" fmla="*/ 19 w 19"/>
                    <a:gd name="T3" fmla="*/ 3 h 10"/>
                    <a:gd name="T4" fmla="*/ 15 w 19"/>
                    <a:gd name="T5" fmla="*/ 2 h 10"/>
                    <a:gd name="T6" fmla="*/ 12 w 19"/>
                    <a:gd name="T7" fmla="*/ 0 h 10"/>
                    <a:gd name="T8" fmla="*/ 10 w 19"/>
                    <a:gd name="T9" fmla="*/ 2 h 10"/>
                    <a:gd name="T10" fmla="*/ 12 w 19"/>
                    <a:gd name="T11" fmla="*/ 2 h 10"/>
                    <a:gd name="T12" fmla="*/ 12 w 19"/>
                    <a:gd name="T13" fmla="*/ 3 h 10"/>
                    <a:gd name="T14" fmla="*/ 11 w 19"/>
                    <a:gd name="T15" fmla="*/ 5 h 10"/>
                    <a:gd name="T16" fmla="*/ 9 w 19"/>
                    <a:gd name="T17" fmla="*/ 3 h 10"/>
                    <a:gd name="T18" fmla="*/ 8 w 19"/>
                    <a:gd name="T19" fmla="*/ 4 h 10"/>
                    <a:gd name="T20" fmla="*/ 6 w 19"/>
                    <a:gd name="T21" fmla="*/ 4 h 10"/>
                    <a:gd name="T22" fmla="*/ 6 w 19"/>
                    <a:gd name="T23" fmla="*/ 5 h 10"/>
                    <a:gd name="T24" fmla="*/ 9 w 19"/>
                    <a:gd name="T25" fmla="*/ 5 h 10"/>
                    <a:gd name="T26" fmla="*/ 6 w 19"/>
                    <a:gd name="T27" fmla="*/ 7 h 10"/>
                    <a:gd name="T28" fmla="*/ 4 w 19"/>
                    <a:gd name="T29" fmla="*/ 7 h 10"/>
                    <a:gd name="T30" fmla="*/ 3 w 19"/>
                    <a:gd name="T31" fmla="*/ 8 h 10"/>
                    <a:gd name="T32" fmla="*/ 4 w 19"/>
                    <a:gd name="T33" fmla="*/ 8 h 10"/>
                    <a:gd name="T34" fmla="*/ 6 w 19"/>
                    <a:gd name="T35" fmla="*/ 8 h 10"/>
                    <a:gd name="T36" fmla="*/ 3 w 19"/>
                    <a:gd name="T37" fmla="*/ 8 h 10"/>
                    <a:gd name="T38" fmla="*/ 0 w 19"/>
                    <a:gd name="T39" fmla="*/ 10 h 10"/>
                    <a:gd name="T40" fmla="*/ 4 w 19"/>
                    <a:gd name="T41" fmla="*/ 10 h 10"/>
                    <a:gd name="T42" fmla="*/ 9 w 19"/>
                    <a:gd name="T43" fmla="*/ 10 h 10"/>
                    <a:gd name="T44" fmla="*/ 12 w 19"/>
                    <a:gd name="T45" fmla="*/ 9 h 10"/>
                    <a:gd name="T46" fmla="*/ 15 w 19"/>
                    <a:gd name="T47" fmla="*/ 7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9" h="10">
                      <a:moveTo>
                        <a:pt x="15" y="7"/>
                      </a:moveTo>
                      <a:lnTo>
                        <a:pt x="19" y="3"/>
                      </a:lnTo>
                      <a:lnTo>
                        <a:pt x="15" y="2"/>
                      </a:lnTo>
                      <a:lnTo>
                        <a:pt x="12" y="0"/>
                      </a:lnTo>
                      <a:lnTo>
                        <a:pt x="10" y="2"/>
                      </a:lnTo>
                      <a:lnTo>
                        <a:pt x="12" y="2"/>
                      </a:lnTo>
                      <a:lnTo>
                        <a:pt x="12" y="3"/>
                      </a:lnTo>
                      <a:lnTo>
                        <a:pt x="11" y="5"/>
                      </a:lnTo>
                      <a:lnTo>
                        <a:pt x="9" y="3"/>
                      </a:lnTo>
                      <a:lnTo>
                        <a:pt x="8" y="4"/>
                      </a:lnTo>
                      <a:lnTo>
                        <a:pt x="6" y="4"/>
                      </a:lnTo>
                      <a:lnTo>
                        <a:pt x="6" y="5"/>
                      </a:lnTo>
                      <a:lnTo>
                        <a:pt x="9" y="5"/>
                      </a:lnTo>
                      <a:lnTo>
                        <a:pt x="6" y="7"/>
                      </a:lnTo>
                      <a:lnTo>
                        <a:pt x="4" y="7"/>
                      </a:lnTo>
                      <a:lnTo>
                        <a:pt x="3" y="8"/>
                      </a:lnTo>
                      <a:lnTo>
                        <a:pt x="4" y="8"/>
                      </a:lnTo>
                      <a:lnTo>
                        <a:pt x="6" y="8"/>
                      </a:lnTo>
                      <a:lnTo>
                        <a:pt x="3" y="8"/>
                      </a:lnTo>
                      <a:lnTo>
                        <a:pt x="0" y="10"/>
                      </a:lnTo>
                      <a:lnTo>
                        <a:pt x="4" y="10"/>
                      </a:lnTo>
                      <a:lnTo>
                        <a:pt x="9" y="10"/>
                      </a:lnTo>
                      <a:lnTo>
                        <a:pt x="12" y="9"/>
                      </a:lnTo>
                      <a:lnTo>
                        <a:pt x="15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5" name="Freeform 1760">
                  <a:extLst>
                    <a:ext uri="{FF2B5EF4-FFF2-40B4-BE49-F238E27FC236}">
                      <a16:creationId xmlns:a16="http://schemas.microsoft.com/office/drawing/2014/main" id="{4AFF2608-138F-47B5-A4F2-F137EDF64C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1565" y="5047260"/>
                  <a:ext cx="4477" cy="5304"/>
                </a:xfrm>
                <a:custGeom>
                  <a:avLst/>
                  <a:gdLst>
                    <a:gd name="T0" fmla="*/ 0 w 5"/>
                    <a:gd name="T1" fmla="*/ 4 h 4"/>
                    <a:gd name="T2" fmla="*/ 5 w 5"/>
                    <a:gd name="T3" fmla="*/ 0 h 4"/>
                    <a:gd name="T4" fmla="*/ 0 w 5"/>
                    <a:gd name="T5" fmla="*/ 0 h 4"/>
                    <a:gd name="T6" fmla="*/ 0 w 5"/>
                    <a:gd name="T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4">
                      <a:moveTo>
                        <a:pt x="0" y="4"/>
                      </a:moveTo>
                      <a:lnTo>
                        <a:pt x="5" y="0"/>
                      </a:lnTo>
                      <a:lnTo>
                        <a:pt x="0" y="0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6" name="Freeform 1761">
                  <a:extLst>
                    <a:ext uri="{FF2B5EF4-FFF2-40B4-BE49-F238E27FC236}">
                      <a16:creationId xmlns:a16="http://schemas.microsoft.com/office/drawing/2014/main" id="{03974973-E1BA-43C0-A043-DB01FDA02C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3804" y="5049913"/>
                  <a:ext cx="20148" cy="7957"/>
                </a:xfrm>
                <a:custGeom>
                  <a:avLst/>
                  <a:gdLst>
                    <a:gd name="T0" fmla="*/ 0 w 18"/>
                    <a:gd name="T1" fmla="*/ 3 h 8"/>
                    <a:gd name="T2" fmla="*/ 0 w 18"/>
                    <a:gd name="T3" fmla="*/ 5 h 8"/>
                    <a:gd name="T4" fmla="*/ 1 w 18"/>
                    <a:gd name="T5" fmla="*/ 8 h 8"/>
                    <a:gd name="T6" fmla="*/ 5 w 18"/>
                    <a:gd name="T7" fmla="*/ 8 h 8"/>
                    <a:gd name="T8" fmla="*/ 7 w 18"/>
                    <a:gd name="T9" fmla="*/ 7 h 8"/>
                    <a:gd name="T10" fmla="*/ 14 w 18"/>
                    <a:gd name="T11" fmla="*/ 4 h 8"/>
                    <a:gd name="T12" fmla="*/ 17 w 18"/>
                    <a:gd name="T13" fmla="*/ 3 h 8"/>
                    <a:gd name="T14" fmla="*/ 18 w 18"/>
                    <a:gd name="T15" fmla="*/ 3 h 8"/>
                    <a:gd name="T16" fmla="*/ 14 w 18"/>
                    <a:gd name="T17" fmla="*/ 2 h 8"/>
                    <a:gd name="T18" fmla="*/ 12 w 18"/>
                    <a:gd name="T19" fmla="*/ 3 h 8"/>
                    <a:gd name="T20" fmla="*/ 11 w 18"/>
                    <a:gd name="T21" fmla="*/ 2 h 8"/>
                    <a:gd name="T22" fmla="*/ 8 w 18"/>
                    <a:gd name="T23" fmla="*/ 0 h 8"/>
                    <a:gd name="T24" fmla="*/ 5 w 18"/>
                    <a:gd name="T25" fmla="*/ 0 h 8"/>
                    <a:gd name="T26" fmla="*/ 0 w 18"/>
                    <a:gd name="T27" fmla="*/ 3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8" h="8">
                      <a:moveTo>
                        <a:pt x="0" y="3"/>
                      </a:moveTo>
                      <a:lnTo>
                        <a:pt x="0" y="5"/>
                      </a:lnTo>
                      <a:lnTo>
                        <a:pt x="1" y="8"/>
                      </a:lnTo>
                      <a:lnTo>
                        <a:pt x="5" y="8"/>
                      </a:lnTo>
                      <a:lnTo>
                        <a:pt x="7" y="7"/>
                      </a:lnTo>
                      <a:lnTo>
                        <a:pt x="14" y="4"/>
                      </a:lnTo>
                      <a:lnTo>
                        <a:pt x="17" y="3"/>
                      </a:lnTo>
                      <a:lnTo>
                        <a:pt x="18" y="3"/>
                      </a:lnTo>
                      <a:lnTo>
                        <a:pt x="14" y="2"/>
                      </a:lnTo>
                      <a:lnTo>
                        <a:pt x="12" y="3"/>
                      </a:lnTo>
                      <a:lnTo>
                        <a:pt x="11" y="2"/>
                      </a:lnTo>
                      <a:lnTo>
                        <a:pt x="8" y="0"/>
                      </a:lnTo>
                      <a:lnTo>
                        <a:pt x="5" y="0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7" name="Freeform 1762">
                  <a:extLst>
                    <a:ext uri="{FF2B5EF4-FFF2-40B4-BE49-F238E27FC236}">
                      <a16:creationId xmlns:a16="http://schemas.microsoft.com/office/drawing/2014/main" id="{FE23951C-1F95-49DD-A80D-764233C3F5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8281" y="5041957"/>
                  <a:ext cx="4477" cy="2653"/>
                </a:xfrm>
                <a:custGeom>
                  <a:avLst/>
                  <a:gdLst>
                    <a:gd name="T0" fmla="*/ 0 w 2"/>
                    <a:gd name="T1" fmla="*/ 1 h 2"/>
                    <a:gd name="T2" fmla="*/ 2 w 2"/>
                    <a:gd name="T3" fmla="*/ 2 h 2"/>
                    <a:gd name="T4" fmla="*/ 2 w 2"/>
                    <a:gd name="T5" fmla="*/ 1 h 2"/>
                    <a:gd name="T6" fmla="*/ 1 w 2"/>
                    <a:gd name="T7" fmla="*/ 0 h 2"/>
                    <a:gd name="T8" fmla="*/ 1 w 2"/>
                    <a:gd name="T9" fmla="*/ 0 h 2"/>
                    <a:gd name="T10" fmla="*/ 0 w 2"/>
                    <a:gd name="T11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2">
                      <a:moveTo>
                        <a:pt x="0" y="1"/>
                      </a:move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8" name="Freeform 1763">
                  <a:extLst>
                    <a:ext uri="{FF2B5EF4-FFF2-40B4-BE49-F238E27FC236}">
                      <a16:creationId xmlns:a16="http://schemas.microsoft.com/office/drawing/2014/main" id="{B420DC06-3E81-4C5A-A861-22D45279EBA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4996" y="5044609"/>
                  <a:ext cx="4477" cy="0"/>
                </a:xfrm>
                <a:custGeom>
                  <a:avLst/>
                  <a:gdLst>
                    <a:gd name="T0" fmla="*/ 0 w 3"/>
                    <a:gd name="T1" fmla="*/ 3 w 3"/>
                    <a:gd name="T2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9" name="Freeform 1764">
                  <a:extLst>
                    <a:ext uri="{FF2B5EF4-FFF2-40B4-BE49-F238E27FC236}">
                      <a16:creationId xmlns:a16="http://schemas.microsoft.com/office/drawing/2014/main" id="{C461640B-260F-4EB4-B571-7BF8F3E1CD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9473" y="5052564"/>
                  <a:ext cx="8954" cy="5304"/>
                </a:xfrm>
                <a:custGeom>
                  <a:avLst/>
                  <a:gdLst>
                    <a:gd name="T0" fmla="*/ 5 w 8"/>
                    <a:gd name="T1" fmla="*/ 0 h 4"/>
                    <a:gd name="T2" fmla="*/ 0 w 8"/>
                    <a:gd name="T3" fmla="*/ 4 h 4"/>
                    <a:gd name="T4" fmla="*/ 5 w 8"/>
                    <a:gd name="T5" fmla="*/ 2 h 4"/>
                    <a:gd name="T6" fmla="*/ 8 w 8"/>
                    <a:gd name="T7" fmla="*/ 0 h 4"/>
                    <a:gd name="T8" fmla="*/ 5 w 8"/>
                    <a:gd name="T9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4">
                      <a:moveTo>
                        <a:pt x="5" y="0"/>
                      </a:moveTo>
                      <a:lnTo>
                        <a:pt x="0" y="4"/>
                      </a:lnTo>
                      <a:lnTo>
                        <a:pt x="5" y="2"/>
                      </a:lnTo>
                      <a:lnTo>
                        <a:pt x="8" y="0"/>
                      </a:lnTo>
                      <a:lnTo>
                        <a:pt x="5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0" name="Freeform 1765">
                  <a:extLst>
                    <a:ext uri="{FF2B5EF4-FFF2-40B4-BE49-F238E27FC236}">
                      <a16:creationId xmlns:a16="http://schemas.microsoft.com/office/drawing/2014/main" id="{31F87FEF-6621-4BBC-98A8-224B8EE280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9473" y="5041957"/>
                  <a:ext cx="13431" cy="7957"/>
                </a:xfrm>
                <a:custGeom>
                  <a:avLst/>
                  <a:gdLst>
                    <a:gd name="T0" fmla="*/ 9 w 12"/>
                    <a:gd name="T1" fmla="*/ 2 h 4"/>
                    <a:gd name="T2" fmla="*/ 5 w 12"/>
                    <a:gd name="T3" fmla="*/ 1 h 4"/>
                    <a:gd name="T4" fmla="*/ 0 w 12"/>
                    <a:gd name="T5" fmla="*/ 0 h 4"/>
                    <a:gd name="T6" fmla="*/ 5 w 12"/>
                    <a:gd name="T7" fmla="*/ 3 h 4"/>
                    <a:gd name="T8" fmla="*/ 8 w 12"/>
                    <a:gd name="T9" fmla="*/ 4 h 4"/>
                    <a:gd name="T10" fmla="*/ 12 w 12"/>
                    <a:gd name="T11" fmla="*/ 3 h 4"/>
                    <a:gd name="T12" fmla="*/ 9 w 12"/>
                    <a:gd name="T13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4">
                      <a:moveTo>
                        <a:pt x="9" y="2"/>
                      </a:moveTo>
                      <a:lnTo>
                        <a:pt x="5" y="1"/>
                      </a:lnTo>
                      <a:lnTo>
                        <a:pt x="0" y="0"/>
                      </a:lnTo>
                      <a:lnTo>
                        <a:pt x="5" y="3"/>
                      </a:lnTo>
                      <a:lnTo>
                        <a:pt x="8" y="4"/>
                      </a:lnTo>
                      <a:lnTo>
                        <a:pt x="12" y="3"/>
                      </a:lnTo>
                      <a:lnTo>
                        <a:pt x="9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1" name="Freeform 1766">
                  <a:extLst>
                    <a:ext uri="{FF2B5EF4-FFF2-40B4-BE49-F238E27FC236}">
                      <a16:creationId xmlns:a16="http://schemas.microsoft.com/office/drawing/2014/main" id="{27C944BC-CB8D-4315-BA75-7C026BADE60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09620" y="5041957"/>
                  <a:ext cx="8954" cy="7957"/>
                </a:xfrm>
                <a:custGeom>
                  <a:avLst/>
                  <a:gdLst>
                    <a:gd name="T0" fmla="*/ 0 w 8"/>
                    <a:gd name="T1" fmla="*/ 2 h 4"/>
                    <a:gd name="T2" fmla="*/ 2 w 8"/>
                    <a:gd name="T3" fmla="*/ 4 h 4"/>
                    <a:gd name="T4" fmla="*/ 5 w 8"/>
                    <a:gd name="T5" fmla="*/ 4 h 4"/>
                    <a:gd name="T6" fmla="*/ 7 w 8"/>
                    <a:gd name="T7" fmla="*/ 3 h 4"/>
                    <a:gd name="T8" fmla="*/ 8 w 8"/>
                    <a:gd name="T9" fmla="*/ 1 h 4"/>
                    <a:gd name="T10" fmla="*/ 3 w 8"/>
                    <a:gd name="T11" fmla="*/ 0 h 4"/>
                    <a:gd name="T12" fmla="*/ 0 w 8"/>
                    <a:gd name="T13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4">
                      <a:moveTo>
                        <a:pt x="0" y="2"/>
                      </a:moveTo>
                      <a:lnTo>
                        <a:pt x="2" y="4"/>
                      </a:lnTo>
                      <a:lnTo>
                        <a:pt x="5" y="4"/>
                      </a:lnTo>
                      <a:lnTo>
                        <a:pt x="7" y="3"/>
                      </a:lnTo>
                      <a:lnTo>
                        <a:pt x="8" y="1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2" name="Freeform 1767">
                  <a:extLst>
                    <a:ext uri="{FF2B5EF4-FFF2-40B4-BE49-F238E27FC236}">
                      <a16:creationId xmlns:a16="http://schemas.microsoft.com/office/drawing/2014/main" id="{FA66C248-955A-4D5A-B228-CA364D6455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4097" y="5055218"/>
                  <a:ext cx="4477" cy="2653"/>
                </a:xfrm>
                <a:custGeom>
                  <a:avLst/>
                  <a:gdLst>
                    <a:gd name="T0" fmla="*/ 2 w 3"/>
                    <a:gd name="T1" fmla="*/ 3 h 3"/>
                    <a:gd name="T2" fmla="*/ 3 w 3"/>
                    <a:gd name="T3" fmla="*/ 0 h 3"/>
                    <a:gd name="T4" fmla="*/ 1 w 3"/>
                    <a:gd name="T5" fmla="*/ 0 h 3"/>
                    <a:gd name="T6" fmla="*/ 0 w 3"/>
                    <a:gd name="T7" fmla="*/ 3 h 3"/>
                    <a:gd name="T8" fmla="*/ 2 w 3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2" y="3"/>
                      </a:move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0" y="3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3" name="Freeform 1768">
                  <a:extLst>
                    <a:ext uri="{FF2B5EF4-FFF2-40B4-BE49-F238E27FC236}">
                      <a16:creationId xmlns:a16="http://schemas.microsoft.com/office/drawing/2014/main" id="{86BAFEBB-F21C-472F-919F-FECA071CC8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8574" y="5049913"/>
                  <a:ext cx="6716" cy="2653"/>
                </a:xfrm>
                <a:custGeom>
                  <a:avLst/>
                  <a:gdLst>
                    <a:gd name="T0" fmla="*/ 0 w 6"/>
                    <a:gd name="T1" fmla="*/ 1 h 1"/>
                    <a:gd name="T2" fmla="*/ 4 w 6"/>
                    <a:gd name="T3" fmla="*/ 1 h 1"/>
                    <a:gd name="T4" fmla="*/ 6 w 6"/>
                    <a:gd name="T5" fmla="*/ 1 h 1"/>
                    <a:gd name="T6" fmla="*/ 4 w 6"/>
                    <a:gd name="T7" fmla="*/ 0 h 1"/>
                    <a:gd name="T8" fmla="*/ 2 w 6"/>
                    <a:gd name="T9" fmla="*/ 0 h 1"/>
                    <a:gd name="T10" fmla="*/ 0 w 6"/>
                    <a:gd name="T11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1">
                      <a:moveTo>
                        <a:pt x="0" y="1"/>
                      </a:moveTo>
                      <a:lnTo>
                        <a:pt x="4" y="1"/>
                      </a:lnTo>
                      <a:lnTo>
                        <a:pt x="6" y="1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4" name="Freeform 1769">
                  <a:extLst>
                    <a:ext uri="{FF2B5EF4-FFF2-40B4-BE49-F238E27FC236}">
                      <a16:creationId xmlns:a16="http://schemas.microsoft.com/office/drawing/2014/main" id="{551627E4-F2C4-4DA8-9EF1-765D8D64AE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38720" y="5049913"/>
                  <a:ext cx="0" cy="2653"/>
                </a:xfrm>
                <a:custGeom>
                  <a:avLst/>
                  <a:gdLst>
                    <a:gd name="T0" fmla="*/ 1 w 1"/>
                    <a:gd name="T1" fmla="*/ 1 h 1"/>
                    <a:gd name="T2" fmla="*/ 1 w 1"/>
                    <a:gd name="T3" fmla="*/ 0 h 1"/>
                    <a:gd name="T4" fmla="*/ 0 w 1"/>
                    <a:gd name="T5" fmla="*/ 0 h 1"/>
                    <a:gd name="T6" fmla="*/ 1 w 1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1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5" name="Freeform 1770">
                  <a:extLst>
                    <a:ext uri="{FF2B5EF4-FFF2-40B4-BE49-F238E27FC236}">
                      <a16:creationId xmlns:a16="http://schemas.microsoft.com/office/drawing/2014/main" id="{5539DF55-C899-4E59-B097-C2A2FF1B61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45437" y="5020740"/>
                  <a:ext cx="33578" cy="13261"/>
                </a:xfrm>
                <a:custGeom>
                  <a:avLst/>
                  <a:gdLst>
                    <a:gd name="T0" fmla="*/ 29 w 30"/>
                    <a:gd name="T1" fmla="*/ 2 h 9"/>
                    <a:gd name="T2" fmla="*/ 30 w 30"/>
                    <a:gd name="T3" fmla="*/ 1 h 9"/>
                    <a:gd name="T4" fmla="*/ 27 w 30"/>
                    <a:gd name="T5" fmla="*/ 1 h 9"/>
                    <a:gd name="T6" fmla="*/ 22 w 30"/>
                    <a:gd name="T7" fmla="*/ 0 h 9"/>
                    <a:gd name="T8" fmla="*/ 23 w 30"/>
                    <a:gd name="T9" fmla="*/ 2 h 9"/>
                    <a:gd name="T10" fmla="*/ 23 w 30"/>
                    <a:gd name="T11" fmla="*/ 3 h 9"/>
                    <a:gd name="T12" fmla="*/ 18 w 30"/>
                    <a:gd name="T13" fmla="*/ 3 h 9"/>
                    <a:gd name="T14" fmla="*/ 17 w 30"/>
                    <a:gd name="T15" fmla="*/ 3 h 9"/>
                    <a:gd name="T16" fmla="*/ 16 w 30"/>
                    <a:gd name="T17" fmla="*/ 3 h 9"/>
                    <a:gd name="T18" fmla="*/ 16 w 30"/>
                    <a:gd name="T19" fmla="*/ 3 h 9"/>
                    <a:gd name="T20" fmla="*/ 17 w 30"/>
                    <a:gd name="T21" fmla="*/ 4 h 9"/>
                    <a:gd name="T22" fmla="*/ 13 w 30"/>
                    <a:gd name="T23" fmla="*/ 3 h 9"/>
                    <a:gd name="T24" fmla="*/ 12 w 30"/>
                    <a:gd name="T25" fmla="*/ 3 h 9"/>
                    <a:gd name="T26" fmla="*/ 9 w 30"/>
                    <a:gd name="T27" fmla="*/ 4 h 9"/>
                    <a:gd name="T28" fmla="*/ 5 w 30"/>
                    <a:gd name="T29" fmla="*/ 6 h 9"/>
                    <a:gd name="T30" fmla="*/ 0 w 30"/>
                    <a:gd name="T31" fmla="*/ 4 h 9"/>
                    <a:gd name="T32" fmla="*/ 6 w 30"/>
                    <a:gd name="T33" fmla="*/ 7 h 9"/>
                    <a:gd name="T34" fmla="*/ 2 w 30"/>
                    <a:gd name="T35" fmla="*/ 9 h 9"/>
                    <a:gd name="T36" fmla="*/ 6 w 30"/>
                    <a:gd name="T37" fmla="*/ 8 h 9"/>
                    <a:gd name="T38" fmla="*/ 9 w 30"/>
                    <a:gd name="T39" fmla="*/ 8 h 9"/>
                    <a:gd name="T40" fmla="*/ 16 w 30"/>
                    <a:gd name="T41" fmla="*/ 8 h 9"/>
                    <a:gd name="T42" fmla="*/ 23 w 30"/>
                    <a:gd name="T43" fmla="*/ 6 h 9"/>
                    <a:gd name="T44" fmla="*/ 29 w 30"/>
                    <a:gd name="T45" fmla="*/ 2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30" h="9">
                      <a:moveTo>
                        <a:pt x="29" y="2"/>
                      </a:moveTo>
                      <a:lnTo>
                        <a:pt x="30" y="1"/>
                      </a:lnTo>
                      <a:lnTo>
                        <a:pt x="27" y="1"/>
                      </a:lnTo>
                      <a:lnTo>
                        <a:pt x="22" y="0"/>
                      </a:lnTo>
                      <a:lnTo>
                        <a:pt x="23" y="2"/>
                      </a:lnTo>
                      <a:lnTo>
                        <a:pt x="23" y="3"/>
                      </a:lnTo>
                      <a:lnTo>
                        <a:pt x="18" y="3"/>
                      </a:lnTo>
                      <a:lnTo>
                        <a:pt x="17" y="3"/>
                      </a:lnTo>
                      <a:lnTo>
                        <a:pt x="16" y="3"/>
                      </a:lnTo>
                      <a:lnTo>
                        <a:pt x="16" y="3"/>
                      </a:lnTo>
                      <a:lnTo>
                        <a:pt x="17" y="4"/>
                      </a:lnTo>
                      <a:lnTo>
                        <a:pt x="13" y="3"/>
                      </a:lnTo>
                      <a:lnTo>
                        <a:pt x="12" y="3"/>
                      </a:lnTo>
                      <a:lnTo>
                        <a:pt x="9" y="4"/>
                      </a:lnTo>
                      <a:lnTo>
                        <a:pt x="5" y="6"/>
                      </a:lnTo>
                      <a:lnTo>
                        <a:pt x="0" y="4"/>
                      </a:lnTo>
                      <a:lnTo>
                        <a:pt x="6" y="7"/>
                      </a:lnTo>
                      <a:lnTo>
                        <a:pt x="2" y="9"/>
                      </a:lnTo>
                      <a:lnTo>
                        <a:pt x="6" y="8"/>
                      </a:lnTo>
                      <a:lnTo>
                        <a:pt x="9" y="8"/>
                      </a:lnTo>
                      <a:lnTo>
                        <a:pt x="16" y="8"/>
                      </a:lnTo>
                      <a:lnTo>
                        <a:pt x="23" y="6"/>
                      </a:lnTo>
                      <a:lnTo>
                        <a:pt x="29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6" name="Freeform 1771">
                  <a:extLst>
                    <a:ext uri="{FF2B5EF4-FFF2-40B4-BE49-F238E27FC236}">
                      <a16:creationId xmlns:a16="http://schemas.microsoft.com/office/drawing/2014/main" id="{A505892C-DAB7-4939-A10C-E652238ED3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56629" y="5036652"/>
                  <a:ext cx="11193" cy="5304"/>
                </a:xfrm>
                <a:custGeom>
                  <a:avLst/>
                  <a:gdLst>
                    <a:gd name="T0" fmla="*/ 9 w 12"/>
                    <a:gd name="T1" fmla="*/ 4 h 4"/>
                    <a:gd name="T2" fmla="*/ 12 w 12"/>
                    <a:gd name="T3" fmla="*/ 4 h 4"/>
                    <a:gd name="T4" fmla="*/ 10 w 12"/>
                    <a:gd name="T5" fmla="*/ 1 h 4"/>
                    <a:gd name="T6" fmla="*/ 7 w 12"/>
                    <a:gd name="T7" fmla="*/ 0 h 4"/>
                    <a:gd name="T8" fmla="*/ 4 w 12"/>
                    <a:gd name="T9" fmla="*/ 0 h 4"/>
                    <a:gd name="T10" fmla="*/ 0 w 12"/>
                    <a:gd name="T11" fmla="*/ 0 h 4"/>
                    <a:gd name="T12" fmla="*/ 4 w 12"/>
                    <a:gd name="T13" fmla="*/ 2 h 4"/>
                    <a:gd name="T14" fmla="*/ 9 w 12"/>
                    <a:gd name="T15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2" h="4">
                      <a:moveTo>
                        <a:pt x="9" y="4"/>
                      </a:moveTo>
                      <a:lnTo>
                        <a:pt x="12" y="4"/>
                      </a:lnTo>
                      <a:lnTo>
                        <a:pt x="10" y="1"/>
                      </a:lnTo>
                      <a:lnTo>
                        <a:pt x="7" y="0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4" y="2"/>
                      </a:lnTo>
                      <a:lnTo>
                        <a:pt x="9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7" name="Freeform 1772">
                  <a:extLst>
                    <a:ext uri="{FF2B5EF4-FFF2-40B4-BE49-F238E27FC236}">
                      <a16:creationId xmlns:a16="http://schemas.microsoft.com/office/drawing/2014/main" id="{105DA4DC-53EF-4C5F-8CF1-6566398A65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5582" y="5028697"/>
                  <a:ext cx="17908" cy="13261"/>
                </a:xfrm>
                <a:custGeom>
                  <a:avLst/>
                  <a:gdLst>
                    <a:gd name="T0" fmla="*/ 15 w 16"/>
                    <a:gd name="T1" fmla="*/ 1 h 8"/>
                    <a:gd name="T2" fmla="*/ 15 w 16"/>
                    <a:gd name="T3" fmla="*/ 0 h 8"/>
                    <a:gd name="T4" fmla="*/ 11 w 16"/>
                    <a:gd name="T5" fmla="*/ 2 h 8"/>
                    <a:gd name="T6" fmla="*/ 7 w 16"/>
                    <a:gd name="T7" fmla="*/ 2 h 8"/>
                    <a:gd name="T8" fmla="*/ 4 w 16"/>
                    <a:gd name="T9" fmla="*/ 3 h 8"/>
                    <a:gd name="T10" fmla="*/ 0 w 16"/>
                    <a:gd name="T11" fmla="*/ 5 h 8"/>
                    <a:gd name="T12" fmla="*/ 3 w 16"/>
                    <a:gd name="T13" fmla="*/ 6 h 8"/>
                    <a:gd name="T14" fmla="*/ 5 w 16"/>
                    <a:gd name="T15" fmla="*/ 6 h 8"/>
                    <a:gd name="T16" fmla="*/ 7 w 16"/>
                    <a:gd name="T17" fmla="*/ 6 h 8"/>
                    <a:gd name="T18" fmla="*/ 7 w 16"/>
                    <a:gd name="T19" fmla="*/ 8 h 8"/>
                    <a:gd name="T20" fmla="*/ 10 w 16"/>
                    <a:gd name="T21" fmla="*/ 7 h 8"/>
                    <a:gd name="T22" fmla="*/ 14 w 16"/>
                    <a:gd name="T23" fmla="*/ 6 h 8"/>
                    <a:gd name="T24" fmla="*/ 16 w 16"/>
                    <a:gd name="T25" fmla="*/ 3 h 8"/>
                    <a:gd name="T26" fmla="*/ 16 w 16"/>
                    <a:gd name="T27" fmla="*/ 2 h 8"/>
                    <a:gd name="T28" fmla="*/ 15 w 16"/>
                    <a:gd name="T29" fmla="*/ 1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6" h="8">
                      <a:moveTo>
                        <a:pt x="15" y="1"/>
                      </a:moveTo>
                      <a:lnTo>
                        <a:pt x="15" y="0"/>
                      </a:lnTo>
                      <a:lnTo>
                        <a:pt x="11" y="2"/>
                      </a:lnTo>
                      <a:lnTo>
                        <a:pt x="7" y="2"/>
                      </a:lnTo>
                      <a:lnTo>
                        <a:pt x="4" y="3"/>
                      </a:lnTo>
                      <a:lnTo>
                        <a:pt x="0" y="5"/>
                      </a:lnTo>
                      <a:lnTo>
                        <a:pt x="3" y="6"/>
                      </a:lnTo>
                      <a:lnTo>
                        <a:pt x="5" y="6"/>
                      </a:lnTo>
                      <a:lnTo>
                        <a:pt x="7" y="6"/>
                      </a:lnTo>
                      <a:lnTo>
                        <a:pt x="7" y="8"/>
                      </a:lnTo>
                      <a:lnTo>
                        <a:pt x="10" y="7"/>
                      </a:lnTo>
                      <a:lnTo>
                        <a:pt x="14" y="6"/>
                      </a:lnTo>
                      <a:lnTo>
                        <a:pt x="16" y="3"/>
                      </a:lnTo>
                      <a:lnTo>
                        <a:pt x="16" y="2"/>
                      </a:lnTo>
                      <a:lnTo>
                        <a:pt x="15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8" name="Freeform 1773">
                  <a:extLst>
                    <a:ext uri="{FF2B5EF4-FFF2-40B4-BE49-F238E27FC236}">
                      <a16:creationId xmlns:a16="http://schemas.microsoft.com/office/drawing/2014/main" id="{8D6C5386-F174-40CD-A691-E8BEDD0C572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3490" y="5026044"/>
                  <a:ext cx="8954" cy="7957"/>
                </a:xfrm>
                <a:custGeom>
                  <a:avLst/>
                  <a:gdLst>
                    <a:gd name="T0" fmla="*/ 7 w 9"/>
                    <a:gd name="T1" fmla="*/ 5 h 5"/>
                    <a:gd name="T2" fmla="*/ 9 w 9"/>
                    <a:gd name="T3" fmla="*/ 3 h 5"/>
                    <a:gd name="T4" fmla="*/ 9 w 9"/>
                    <a:gd name="T5" fmla="*/ 1 h 5"/>
                    <a:gd name="T6" fmla="*/ 4 w 9"/>
                    <a:gd name="T7" fmla="*/ 0 h 5"/>
                    <a:gd name="T8" fmla="*/ 1 w 9"/>
                    <a:gd name="T9" fmla="*/ 0 h 5"/>
                    <a:gd name="T10" fmla="*/ 0 w 9"/>
                    <a:gd name="T11" fmla="*/ 1 h 5"/>
                    <a:gd name="T12" fmla="*/ 1 w 9"/>
                    <a:gd name="T13" fmla="*/ 3 h 5"/>
                    <a:gd name="T14" fmla="*/ 4 w 9"/>
                    <a:gd name="T15" fmla="*/ 5 h 5"/>
                    <a:gd name="T16" fmla="*/ 7 w 9"/>
                    <a:gd name="T1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" h="5">
                      <a:moveTo>
                        <a:pt x="7" y="5"/>
                      </a:moveTo>
                      <a:lnTo>
                        <a:pt x="9" y="3"/>
                      </a:lnTo>
                      <a:lnTo>
                        <a:pt x="9" y="1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1" y="3"/>
                      </a:lnTo>
                      <a:lnTo>
                        <a:pt x="4" y="5"/>
                      </a:lnTo>
                      <a:lnTo>
                        <a:pt x="7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9" name="Freeform 1774">
                  <a:extLst>
                    <a:ext uri="{FF2B5EF4-FFF2-40B4-BE49-F238E27FC236}">
                      <a16:creationId xmlns:a16="http://schemas.microsoft.com/office/drawing/2014/main" id="{A721FDEB-5F70-46A0-A46D-44015E2CFF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90207" y="5015436"/>
                  <a:ext cx="4477" cy="2653"/>
                </a:xfrm>
                <a:custGeom>
                  <a:avLst/>
                  <a:gdLst>
                    <a:gd name="T0" fmla="*/ 0 w 5"/>
                    <a:gd name="T1" fmla="*/ 1 h 2"/>
                    <a:gd name="T2" fmla="*/ 2 w 5"/>
                    <a:gd name="T3" fmla="*/ 2 h 2"/>
                    <a:gd name="T4" fmla="*/ 5 w 5"/>
                    <a:gd name="T5" fmla="*/ 2 h 2"/>
                    <a:gd name="T6" fmla="*/ 2 w 5"/>
                    <a:gd name="T7" fmla="*/ 0 h 2"/>
                    <a:gd name="T8" fmla="*/ 1 w 5"/>
                    <a:gd name="T9" fmla="*/ 0 h 2"/>
                    <a:gd name="T10" fmla="*/ 0 w 5"/>
                    <a:gd name="T11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2">
                      <a:moveTo>
                        <a:pt x="0" y="1"/>
                      </a:moveTo>
                      <a:lnTo>
                        <a:pt x="2" y="2"/>
                      </a:lnTo>
                      <a:lnTo>
                        <a:pt x="5" y="2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0" name="Freeform 1775">
                  <a:extLst>
                    <a:ext uri="{FF2B5EF4-FFF2-40B4-BE49-F238E27FC236}">
                      <a16:creationId xmlns:a16="http://schemas.microsoft.com/office/drawing/2014/main" id="{67EAE8B8-6080-4931-86F0-93630B9F2A3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90207" y="5012784"/>
                  <a:ext cx="2240" cy="0"/>
                </a:xfrm>
                <a:custGeom>
                  <a:avLst/>
                  <a:gdLst>
                    <a:gd name="T0" fmla="*/ 0 w 3"/>
                    <a:gd name="T1" fmla="*/ 1 w 3"/>
                    <a:gd name="T2" fmla="*/ 3 w 3"/>
                    <a:gd name="T3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1" name="Freeform 1776">
                  <a:extLst>
                    <a:ext uri="{FF2B5EF4-FFF2-40B4-BE49-F238E27FC236}">
                      <a16:creationId xmlns:a16="http://schemas.microsoft.com/office/drawing/2014/main" id="{116BC5BC-7398-475F-B226-B840287C37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21546" y="5010132"/>
                  <a:ext cx="17908" cy="7957"/>
                </a:xfrm>
                <a:custGeom>
                  <a:avLst/>
                  <a:gdLst>
                    <a:gd name="T0" fmla="*/ 12 w 16"/>
                    <a:gd name="T1" fmla="*/ 5 h 6"/>
                    <a:gd name="T2" fmla="*/ 16 w 16"/>
                    <a:gd name="T3" fmla="*/ 5 h 6"/>
                    <a:gd name="T4" fmla="*/ 13 w 16"/>
                    <a:gd name="T5" fmla="*/ 5 h 6"/>
                    <a:gd name="T6" fmla="*/ 12 w 16"/>
                    <a:gd name="T7" fmla="*/ 4 h 6"/>
                    <a:gd name="T8" fmla="*/ 14 w 16"/>
                    <a:gd name="T9" fmla="*/ 1 h 6"/>
                    <a:gd name="T10" fmla="*/ 7 w 16"/>
                    <a:gd name="T11" fmla="*/ 0 h 6"/>
                    <a:gd name="T12" fmla="*/ 3 w 16"/>
                    <a:gd name="T13" fmla="*/ 1 h 6"/>
                    <a:gd name="T14" fmla="*/ 0 w 16"/>
                    <a:gd name="T15" fmla="*/ 1 h 6"/>
                    <a:gd name="T16" fmla="*/ 2 w 16"/>
                    <a:gd name="T17" fmla="*/ 4 h 6"/>
                    <a:gd name="T18" fmla="*/ 3 w 16"/>
                    <a:gd name="T19" fmla="*/ 5 h 6"/>
                    <a:gd name="T20" fmla="*/ 6 w 16"/>
                    <a:gd name="T21" fmla="*/ 6 h 6"/>
                    <a:gd name="T22" fmla="*/ 8 w 16"/>
                    <a:gd name="T23" fmla="*/ 6 h 6"/>
                    <a:gd name="T24" fmla="*/ 12 w 16"/>
                    <a:gd name="T25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6" h="6">
                      <a:moveTo>
                        <a:pt x="12" y="5"/>
                      </a:moveTo>
                      <a:lnTo>
                        <a:pt x="16" y="5"/>
                      </a:lnTo>
                      <a:lnTo>
                        <a:pt x="13" y="5"/>
                      </a:lnTo>
                      <a:lnTo>
                        <a:pt x="12" y="4"/>
                      </a:lnTo>
                      <a:lnTo>
                        <a:pt x="14" y="1"/>
                      </a:lnTo>
                      <a:lnTo>
                        <a:pt x="7" y="0"/>
                      </a:lnTo>
                      <a:lnTo>
                        <a:pt x="3" y="1"/>
                      </a:lnTo>
                      <a:lnTo>
                        <a:pt x="0" y="1"/>
                      </a:lnTo>
                      <a:lnTo>
                        <a:pt x="2" y="4"/>
                      </a:lnTo>
                      <a:lnTo>
                        <a:pt x="3" y="5"/>
                      </a:lnTo>
                      <a:lnTo>
                        <a:pt x="6" y="6"/>
                      </a:lnTo>
                      <a:lnTo>
                        <a:pt x="8" y="6"/>
                      </a:lnTo>
                      <a:lnTo>
                        <a:pt x="12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2" name="Freeform 1777">
                  <a:extLst>
                    <a:ext uri="{FF2B5EF4-FFF2-40B4-BE49-F238E27FC236}">
                      <a16:creationId xmlns:a16="http://schemas.microsoft.com/office/drawing/2014/main" id="{FBFE2A11-F353-49A7-B6AE-1FCCCE02E89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4635" y="5010132"/>
                  <a:ext cx="24625" cy="13261"/>
                </a:xfrm>
                <a:custGeom>
                  <a:avLst/>
                  <a:gdLst>
                    <a:gd name="T0" fmla="*/ 0 w 24"/>
                    <a:gd name="T1" fmla="*/ 10 h 10"/>
                    <a:gd name="T2" fmla="*/ 6 w 24"/>
                    <a:gd name="T3" fmla="*/ 6 h 10"/>
                    <a:gd name="T4" fmla="*/ 13 w 24"/>
                    <a:gd name="T5" fmla="*/ 5 h 10"/>
                    <a:gd name="T6" fmla="*/ 19 w 24"/>
                    <a:gd name="T7" fmla="*/ 5 h 10"/>
                    <a:gd name="T8" fmla="*/ 21 w 24"/>
                    <a:gd name="T9" fmla="*/ 4 h 10"/>
                    <a:gd name="T10" fmla="*/ 22 w 24"/>
                    <a:gd name="T11" fmla="*/ 2 h 10"/>
                    <a:gd name="T12" fmla="*/ 24 w 24"/>
                    <a:gd name="T13" fmla="*/ 0 h 10"/>
                    <a:gd name="T14" fmla="*/ 22 w 24"/>
                    <a:gd name="T15" fmla="*/ 0 h 10"/>
                    <a:gd name="T16" fmla="*/ 19 w 24"/>
                    <a:gd name="T17" fmla="*/ 0 h 10"/>
                    <a:gd name="T18" fmla="*/ 15 w 24"/>
                    <a:gd name="T19" fmla="*/ 2 h 10"/>
                    <a:gd name="T20" fmla="*/ 11 w 24"/>
                    <a:gd name="T21" fmla="*/ 4 h 10"/>
                    <a:gd name="T22" fmla="*/ 5 w 24"/>
                    <a:gd name="T23" fmla="*/ 5 h 10"/>
                    <a:gd name="T24" fmla="*/ 3 w 24"/>
                    <a:gd name="T25" fmla="*/ 7 h 10"/>
                    <a:gd name="T26" fmla="*/ 0 w 24"/>
                    <a:gd name="T27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4" h="10">
                      <a:moveTo>
                        <a:pt x="0" y="10"/>
                      </a:moveTo>
                      <a:lnTo>
                        <a:pt x="6" y="6"/>
                      </a:lnTo>
                      <a:lnTo>
                        <a:pt x="13" y="5"/>
                      </a:lnTo>
                      <a:lnTo>
                        <a:pt x="19" y="5"/>
                      </a:lnTo>
                      <a:lnTo>
                        <a:pt x="21" y="4"/>
                      </a:lnTo>
                      <a:lnTo>
                        <a:pt x="22" y="2"/>
                      </a:lnTo>
                      <a:lnTo>
                        <a:pt x="24" y="0"/>
                      </a:lnTo>
                      <a:lnTo>
                        <a:pt x="22" y="0"/>
                      </a:lnTo>
                      <a:lnTo>
                        <a:pt x="19" y="0"/>
                      </a:lnTo>
                      <a:lnTo>
                        <a:pt x="15" y="2"/>
                      </a:lnTo>
                      <a:lnTo>
                        <a:pt x="11" y="4"/>
                      </a:lnTo>
                      <a:lnTo>
                        <a:pt x="5" y="5"/>
                      </a:lnTo>
                      <a:lnTo>
                        <a:pt x="3" y="7"/>
                      </a:lnTo>
                      <a:lnTo>
                        <a:pt x="0" y="1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3" name="Freeform 1778">
                  <a:extLst>
                    <a:ext uri="{FF2B5EF4-FFF2-40B4-BE49-F238E27FC236}">
                      <a16:creationId xmlns:a16="http://schemas.microsoft.com/office/drawing/2014/main" id="{59E98DDB-5C62-449A-959C-30A3FF582B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5788" y="5012784"/>
                  <a:ext cx="622306" cy="503894"/>
                </a:xfrm>
                <a:custGeom>
                  <a:avLst/>
                  <a:gdLst>
                    <a:gd name="T0" fmla="*/ 3 w 556"/>
                    <a:gd name="T1" fmla="*/ 271 h 380"/>
                    <a:gd name="T2" fmla="*/ 37 w 556"/>
                    <a:gd name="T3" fmla="*/ 263 h 380"/>
                    <a:gd name="T4" fmla="*/ 14 w 556"/>
                    <a:gd name="T5" fmla="*/ 260 h 380"/>
                    <a:gd name="T6" fmla="*/ 37 w 556"/>
                    <a:gd name="T7" fmla="*/ 250 h 380"/>
                    <a:gd name="T8" fmla="*/ 36 w 556"/>
                    <a:gd name="T9" fmla="*/ 246 h 380"/>
                    <a:gd name="T10" fmla="*/ 72 w 556"/>
                    <a:gd name="T11" fmla="*/ 237 h 380"/>
                    <a:gd name="T12" fmla="*/ 79 w 556"/>
                    <a:gd name="T13" fmla="*/ 237 h 380"/>
                    <a:gd name="T14" fmla="*/ 82 w 556"/>
                    <a:gd name="T15" fmla="*/ 230 h 380"/>
                    <a:gd name="T16" fmla="*/ 104 w 556"/>
                    <a:gd name="T17" fmla="*/ 214 h 380"/>
                    <a:gd name="T18" fmla="*/ 146 w 556"/>
                    <a:gd name="T19" fmla="*/ 205 h 380"/>
                    <a:gd name="T20" fmla="*/ 123 w 556"/>
                    <a:gd name="T21" fmla="*/ 214 h 380"/>
                    <a:gd name="T22" fmla="*/ 121 w 556"/>
                    <a:gd name="T23" fmla="*/ 198 h 380"/>
                    <a:gd name="T24" fmla="*/ 149 w 556"/>
                    <a:gd name="T25" fmla="*/ 180 h 380"/>
                    <a:gd name="T26" fmla="*/ 150 w 556"/>
                    <a:gd name="T27" fmla="*/ 172 h 380"/>
                    <a:gd name="T28" fmla="*/ 171 w 556"/>
                    <a:gd name="T29" fmla="*/ 170 h 380"/>
                    <a:gd name="T30" fmla="*/ 179 w 556"/>
                    <a:gd name="T31" fmla="*/ 159 h 380"/>
                    <a:gd name="T32" fmla="*/ 192 w 556"/>
                    <a:gd name="T33" fmla="*/ 137 h 380"/>
                    <a:gd name="T34" fmla="*/ 186 w 556"/>
                    <a:gd name="T35" fmla="*/ 128 h 380"/>
                    <a:gd name="T36" fmla="*/ 197 w 556"/>
                    <a:gd name="T37" fmla="*/ 121 h 380"/>
                    <a:gd name="T38" fmla="*/ 235 w 556"/>
                    <a:gd name="T39" fmla="*/ 111 h 380"/>
                    <a:gd name="T40" fmla="*/ 233 w 556"/>
                    <a:gd name="T41" fmla="*/ 100 h 380"/>
                    <a:gd name="T42" fmla="*/ 235 w 556"/>
                    <a:gd name="T43" fmla="*/ 95 h 380"/>
                    <a:gd name="T44" fmla="*/ 235 w 556"/>
                    <a:gd name="T45" fmla="*/ 87 h 380"/>
                    <a:gd name="T46" fmla="*/ 250 w 556"/>
                    <a:gd name="T47" fmla="*/ 85 h 380"/>
                    <a:gd name="T48" fmla="*/ 265 w 556"/>
                    <a:gd name="T49" fmla="*/ 75 h 380"/>
                    <a:gd name="T50" fmla="*/ 259 w 556"/>
                    <a:gd name="T51" fmla="*/ 69 h 380"/>
                    <a:gd name="T52" fmla="*/ 292 w 556"/>
                    <a:gd name="T53" fmla="*/ 46 h 380"/>
                    <a:gd name="T54" fmla="*/ 310 w 556"/>
                    <a:gd name="T55" fmla="*/ 47 h 380"/>
                    <a:gd name="T56" fmla="*/ 328 w 556"/>
                    <a:gd name="T57" fmla="*/ 35 h 380"/>
                    <a:gd name="T58" fmla="*/ 348 w 556"/>
                    <a:gd name="T59" fmla="*/ 35 h 380"/>
                    <a:gd name="T60" fmla="*/ 364 w 556"/>
                    <a:gd name="T61" fmla="*/ 28 h 380"/>
                    <a:gd name="T62" fmla="*/ 382 w 556"/>
                    <a:gd name="T63" fmla="*/ 28 h 380"/>
                    <a:gd name="T64" fmla="*/ 400 w 556"/>
                    <a:gd name="T65" fmla="*/ 21 h 380"/>
                    <a:gd name="T66" fmla="*/ 433 w 556"/>
                    <a:gd name="T67" fmla="*/ 8 h 380"/>
                    <a:gd name="T68" fmla="*/ 439 w 556"/>
                    <a:gd name="T69" fmla="*/ 22 h 380"/>
                    <a:gd name="T70" fmla="*/ 470 w 556"/>
                    <a:gd name="T71" fmla="*/ 14 h 380"/>
                    <a:gd name="T72" fmla="*/ 498 w 556"/>
                    <a:gd name="T73" fmla="*/ 6 h 380"/>
                    <a:gd name="T74" fmla="*/ 502 w 556"/>
                    <a:gd name="T75" fmla="*/ 16 h 380"/>
                    <a:gd name="T76" fmla="*/ 555 w 556"/>
                    <a:gd name="T77" fmla="*/ 20 h 380"/>
                    <a:gd name="T78" fmla="*/ 532 w 556"/>
                    <a:gd name="T79" fmla="*/ 36 h 380"/>
                    <a:gd name="T80" fmla="*/ 537 w 556"/>
                    <a:gd name="T81" fmla="*/ 47 h 380"/>
                    <a:gd name="T82" fmla="*/ 496 w 556"/>
                    <a:gd name="T83" fmla="*/ 32 h 380"/>
                    <a:gd name="T84" fmla="*/ 422 w 556"/>
                    <a:gd name="T85" fmla="*/ 65 h 380"/>
                    <a:gd name="T86" fmla="*/ 332 w 556"/>
                    <a:gd name="T87" fmla="*/ 58 h 380"/>
                    <a:gd name="T88" fmla="*/ 288 w 556"/>
                    <a:gd name="T89" fmla="*/ 85 h 380"/>
                    <a:gd name="T90" fmla="*/ 237 w 556"/>
                    <a:gd name="T91" fmla="*/ 134 h 380"/>
                    <a:gd name="T92" fmla="*/ 198 w 556"/>
                    <a:gd name="T93" fmla="*/ 199 h 380"/>
                    <a:gd name="T94" fmla="*/ 166 w 556"/>
                    <a:gd name="T95" fmla="*/ 266 h 380"/>
                    <a:gd name="T96" fmla="*/ 173 w 556"/>
                    <a:gd name="T97" fmla="*/ 319 h 380"/>
                    <a:gd name="T98" fmla="*/ 133 w 556"/>
                    <a:gd name="T99" fmla="*/ 338 h 380"/>
                    <a:gd name="T100" fmla="*/ 126 w 556"/>
                    <a:gd name="T101" fmla="*/ 343 h 380"/>
                    <a:gd name="T102" fmla="*/ 85 w 556"/>
                    <a:gd name="T103" fmla="*/ 370 h 380"/>
                    <a:gd name="T104" fmla="*/ 16 w 556"/>
                    <a:gd name="T105" fmla="*/ 351 h 380"/>
                    <a:gd name="T106" fmla="*/ 30 w 556"/>
                    <a:gd name="T107" fmla="*/ 341 h 380"/>
                    <a:gd name="T108" fmla="*/ 14 w 556"/>
                    <a:gd name="T109" fmla="*/ 338 h 380"/>
                    <a:gd name="T110" fmla="*/ 20 w 556"/>
                    <a:gd name="T111" fmla="*/ 330 h 380"/>
                    <a:gd name="T112" fmla="*/ 51 w 556"/>
                    <a:gd name="T113" fmla="*/ 305 h 380"/>
                    <a:gd name="T114" fmla="*/ 7 w 556"/>
                    <a:gd name="T115" fmla="*/ 310 h 380"/>
                    <a:gd name="T116" fmla="*/ 13 w 556"/>
                    <a:gd name="T117" fmla="*/ 294 h 380"/>
                    <a:gd name="T118" fmla="*/ 47 w 556"/>
                    <a:gd name="T119" fmla="*/ 292 h 380"/>
                    <a:gd name="T120" fmla="*/ 42 w 556"/>
                    <a:gd name="T121" fmla="*/ 284 h 380"/>
                    <a:gd name="T122" fmla="*/ 10 w 556"/>
                    <a:gd name="T123" fmla="*/ 278 h 3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556" h="380">
                      <a:moveTo>
                        <a:pt x="2" y="278"/>
                      </a:moveTo>
                      <a:lnTo>
                        <a:pt x="7" y="277"/>
                      </a:lnTo>
                      <a:lnTo>
                        <a:pt x="11" y="277"/>
                      </a:lnTo>
                      <a:lnTo>
                        <a:pt x="16" y="276"/>
                      </a:lnTo>
                      <a:lnTo>
                        <a:pt x="20" y="276"/>
                      </a:lnTo>
                      <a:lnTo>
                        <a:pt x="16" y="276"/>
                      </a:lnTo>
                      <a:lnTo>
                        <a:pt x="13" y="276"/>
                      </a:lnTo>
                      <a:lnTo>
                        <a:pt x="9" y="274"/>
                      </a:lnTo>
                      <a:lnTo>
                        <a:pt x="11" y="274"/>
                      </a:lnTo>
                      <a:lnTo>
                        <a:pt x="11" y="273"/>
                      </a:lnTo>
                      <a:lnTo>
                        <a:pt x="10" y="273"/>
                      </a:lnTo>
                      <a:lnTo>
                        <a:pt x="9" y="273"/>
                      </a:lnTo>
                      <a:lnTo>
                        <a:pt x="9" y="272"/>
                      </a:lnTo>
                      <a:lnTo>
                        <a:pt x="11" y="272"/>
                      </a:lnTo>
                      <a:lnTo>
                        <a:pt x="7" y="272"/>
                      </a:lnTo>
                      <a:lnTo>
                        <a:pt x="3" y="272"/>
                      </a:lnTo>
                      <a:lnTo>
                        <a:pt x="7" y="272"/>
                      </a:lnTo>
                      <a:lnTo>
                        <a:pt x="11" y="271"/>
                      </a:lnTo>
                      <a:lnTo>
                        <a:pt x="9" y="271"/>
                      </a:lnTo>
                      <a:lnTo>
                        <a:pt x="5" y="272"/>
                      </a:lnTo>
                      <a:lnTo>
                        <a:pt x="3" y="271"/>
                      </a:lnTo>
                      <a:lnTo>
                        <a:pt x="2" y="268"/>
                      </a:lnTo>
                      <a:lnTo>
                        <a:pt x="5" y="268"/>
                      </a:lnTo>
                      <a:lnTo>
                        <a:pt x="8" y="267"/>
                      </a:lnTo>
                      <a:lnTo>
                        <a:pt x="7" y="267"/>
                      </a:lnTo>
                      <a:lnTo>
                        <a:pt x="5" y="266"/>
                      </a:lnTo>
                      <a:lnTo>
                        <a:pt x="8" y="264"/>
                      </a:lnTo>
                      <a:lnTo>
                        <a:pt x="11" y="263"/>
                      </a:lnTo>
                      <a:lnTo>
                        <a:pt x="14" y="262"/>
                      </a:lnTo>
                      <a:lnTo>
                        <a:pt x="16" y="263"/>
                      </a:lnTo>
                      <a:lnTo>
                        <a:pt x="19" y="264"/>
                      </a:lnTo>
                      <a:lnTo>
                        <a:pt x="21" y="264"/>
                      </a:lnTo>
                      <a:lnTo>
                        <a:pt x="24" y="264"/>
                      </a:lnTo>
                      <a:lnTo>
                        <a:pt x="25" y="266"/>
                      </a:lnTo>
                      <a:lnTo>
                        <a:pt x="24" y="268"/>
                      </a:lnTo>
                      <a:lnTo>
                        <a:pt x="25" y="267"/>
                      </a:lnTo>
                      <a:lnTo>
                        <a:pt x="26" y="266"/>
                      </a:lnTo>
                      <a:lnTo>
                        <a:pt x="32" y="264"/>
                      </a:lnTo>
                      <a:lnTo>
                        <a:pt x="39" y="263"/>
                      </a:lnTo>
                      <a:lnTo>
                        <a:pt x="43" y="264"/>
                      </a:lnTo>
                      <a:lnTo>
                        <a:pt x="41" y="263"/>
                      </a:lnTo>
                      <a:lnTo>
                        <a:pt x="37" y="263"/>
                      </a:lnTo>
                      <a:lnTo>
                        <a:pt x="32" y="264"/>
                      </a:lnTo>
                      <a:lnTo>
                        <a:pt x="31" y="264"/>
                      </a:lnTo>
                      <a:lnTo>
                        <a:pt x="29" y="263"/>
                      </a:lnTo>
                      <a:lnTo>
                        <a:pt x="24" y="263"/>
                      </a:lnTo>
                      <a:lnTo>
                        <a:pt x="23" y="263"/>
                      </a:lnTo>
                      <a:lnTo>
                        <a:pt x="21" y="263"/>
                      </a:lnTo>
                      <a:lnTo>
                        <a:pt x="21" y="263"/>
                      </a:lnTo>
                      <a:lnTo>
                        <a:pt x="23" y="263"/>
                      </a:lnTo>
                      <a:lnTo>
                        <a:pt x="15" y="263"/>
                      </a:lnTo>
                      <a:lnTo>
                        <a:pt x="10" y="263"/>
                      </a:lnTo>
                      <a:lnTo>
                        <a:pt x="7" y="261"/>
                      </a:lnTo>
                      <a:lnTo>
                        <a:pt x="10" y="261"/>
                      </a:lnTo>
                      <a:lnTo>
                        <a:pt x="13" y="260"/>
                      </a:lnTo>
                      <a:lnTo>
                        <a:pt x="10" y="258"/>
                      </a:lnTo>
                      <a:lnTo>
                        <a:pt x="9" y="257"/>
                      </a:lnTo>
                      <a:lnTo>
                        <a:pt x="7" y="256"/>
                      </a:lnTo>
                      <a:lnTo>
                        <a:pt x="5" y="255"/>
                      </a:lnTo>
                      <a:lnTo>
                        <a:pt x="7" y="253"/>
                      </a:lnTo>
                      <a:lnTo>
                        <a:pt x="10" y="255"/>
                      </a:lnTo>
                      <a:lnTo>
                        <a:pt x="13" y="257"/>
                      </a:lnTo>
                      <a:lnTo>
                        <a:pt x="14" y="260"/>
                      </a:lnTo>
                      <a:lnTo>
                        <a:pt x="16" y="257"/>
                      </a:lnTo>
                      <a:lnTo>
                        <a:pt x="14" y="257"/>
                      </a:lnTo>
                      <a:lnTo>
                        <a:pt x="15" y="256"/>
                      </a:lnTo>
                      <a:lnTo>
                        <a:pt x="16" y="255"/>
                      </a:lnTo>
                      <a:lnTo>
                        <a:pt x="20" y="257"/>
                      </a:lnTo>
                      <a:lnTo>
                        <a:pt x="21" y="255"/>
                      </a:lnTo>
                      <a:lnTo>
                        <a:pt x="23" y="255"/>
                      </a:lnTo>
                      <a:lnTo>
                        <a:pt x="24" y="256"/>
                      </a:lnTo>
                      <a:lnTo>
                        <a:pt x="25" y="257"/>
                      </a:lnTo>
                      <a:lnTo>
                        <a:pt x="29" y="257"/>
                      </a:lnTo>
                      <a:lnTo>
                        <a:pt x="31" y="257"/>
                      </a:lnTo>
                      <a:lnTo>
                        <a:pt x="34" y="257"/>
                      </a:lnTo>
                      <a:lnTo>
                        <a:pt x="31" y="257"/>
                      </a:lnTo>
                      <a:lnTo>
                        <a:pt x="27" y="255"/>
                      </a:lnTo>
                      <a:lnTo>
                        <a:pt x="26" y="253"/>
                      </a:lnTo>
                      <a:lnTo>
                        <a:pt x="27" y="251"/>
                      </a:lnTo>
                      <a:lnTo>
                        <a:pt x="31" y="250"/>
                      </a:lnTo>
                      <a:lnTo>
                        <a:pt x="34" y="250"/>
                      </a:lnTo>
                      <a:lnTo>
                        <a:pt x="36" y="252"/>
                      </a:lnTo>
                      <a:lnTo>
                        <a:pt x="39" y="255"/>
                      </a:lnTo>
                      <a:lnTo>
                        <a:pt x="37" y="250"/>
                      </a:lnTo>
                      <a:lnTo>
                        <a:pt x="39" y="247"/>
                      </a:lnTo>
                      <a:lnTo>
                        <a:pt x="41" y="247"/>
                      </a:lnTo>
                      <a:lnTo>
                        <a:pt x="43" y="247"/>
                      </a:lnTo>
                      <a:lnTo>
                        <a:pt x="47" y="250"/>
                      </a:lnTo>
                      <a:lnTo>
                        <a:pt x="48" y="252"/>
                      </a:lnTo>
                      <a:lnTo>
                        <a:pt x="48" y="255"/>
                      </a:lnTo>
                      <a:lnTo>
                        <a:pt x="47" y="257"/>
                      </a:lnTo>
                      <a:lnTo>
                        <a:pt x="50" y="257"/>
                      </a:lnTo>
                      <a:lnTo>
                        <a:pt x="53" y="256"/>
                      </a:lnTo>
                      <a:lnTo>
                        <a:pt x="51" y="255"/>
                      </a:lnTo>
                      <a:lnTo>
                        <a:pt x="50" y="253"/>
                      </a:lnTo>
                      <a:lnTo>
                        <a:pt x="51" y="251"/>
                      </a:lnTo>
                      <a:lnTo>
                        <a:pt x="55" y="251"/>
                      </a:lnTo>
                      <a:lnTo>
                        <a:pt x="57" y="251"/>
                      </a:lnTo>
                      <a:lnTo>
                        <a:pt x="53" y="251"/>
                      </a:lnTo>
                      <a:lnTo>
                        <a:pt x="51" y="250"/>
                      </a:lnTo>
                      <a:lnTo>
                        <a:pt x="48" y="247"/>
                      </a:lnTo>
                      <a:lnTo>
                        <a:pt x="45" y="246"/>
                      </a:lnTo>
                      <a:lnTo>
                        <a:pt x="42" y="246"/>
                      </a:lnTo>
                      <a:lnTo>
                        <a:pt x="39" y="246"/>
                      </a:lnTo>
                      <a:lnTo>
                        <a:pt x="36" y="246"/>
                      </a:lnTo>
                      <a:lnTo>
                        <a:pt x="32" y="246"/>
                      </a:lnTo>
                      <a:lnTo>
                        <a:pt x="37" y="245"/>
                      </a:lnTo>
                      <a:lnTo>
                        <a:pt x="42" y="245"/>
                      </a:lnTo>
                      <a:lnTo>
                        <a:pt x="40" y="244"/>
                      </a:lnTo>
                      <a:lnTo>
                        <a:pt x="37" y="244"/>
                      </a:lnTo>
                      <a:lnTo>
                        <a:pt x="35" y="244"/>
                      </a:lnTo>
                      <a:lnTo>
                        <a:pt x="32" y="242"/>
                      </a:lnTo>
                      <a:lnTo>
                        <a:pt x="41" y="241"/>
                      </a:lnTo>
                      <a:lnTo>
                        <a:pt x="46" y="241"/>
                      </a:lnTo>
                      <a:lnTo>
                        <a:pt x="50" y="241"/>
                      </a:lnTo>
                      <a:lnTo>
                        <a:pt x="53" y="242"/>
                      </a:lnTo>
                      <a:lnTo>
                        <a:pt x="58" y="244"/>
                      </a:lnTo>
                      <a:lnTo>
                        <a:pt x="62" y="244"/>
                      </a:lnTo>
                      <a:lnTo>
                        <a:pt x="66" y="242"/>
                      </a:lnTo>
                      <a:lnTo>
                        <a:pt x="59" y="244"/>
                      </a:lnTo>
                      <a:lnTo>
                        <a:pt x="62" y="240"/>
                      </a:lnTo>
                      <a:lnTo>
                        <a:pt x="67" y="239"/>
                      </a:lnTo>
                      <a:lnTo>
                        <a:pt x="72" y="239"/>
                      </a:lnTo>
                      <a:lnTo>
                        <a:pt x="75" y="239"/>
                      </a:lnTo>
                      <a:lnTo>
                        <a:pt x="73" y="237"/>
                      </a:lnTo>
                      <a:lnTo>
                        <a:pt x="72" y="237"/>
                      </a:lnTo>
                      <a:lnTo>
                        <a:pt x="67" y="239"/>
                      </a:lnTo>
                      <a:lnTo>
                        <a:pt x="62" y="240"/>
                      </a:lnTo>
                      <a:lnTo>
                        <a:pt x="58" y="239"/>
                      </a:lnTo>
                      <a:lnTo>
                        <a:pt x="63" y="236"/>
                      </a:lnTo>
                      <a:lnTo>
                        <a:pt x="59" y="237"/>
                      </a:lnTo>
                      <a:lnTo>
                        <a:pt x="56" y="239"/>
                      </a:lnTo>
                      <a:lnTo>
                        <a:pt x="52" y="239"/>
                      </a:lnTo>
                      <a:lnTo>
                        <a:pt x="48" y="236"/>
                      </a:lnTo>
                      <a:lnTo>
                        <a:pt x="55" y="236"/>
                      </a:lnTo>
                      <a:lnTo>
                        <a:pt x="48" y="233"/>
                      </a:lnTo>
                      <a:lnTo>
                        <a:pt x="53" y="230"/>
                      </a:lnTo>
                      <a:lnTo>
                        <a:pt x="58" y="231"/>
                      </a:lnTo>
                      <a:lnTo>
                        <a:pt x="61" y="233"/>
                      </a:lnTo>
                      <a:lnTo>
                        <a:pt x="62" y="233"/>
                      </a:lnTo>
                      <a:lnTo>
                        <a:pt x="64" y="231"/>
                      </a:lnTo>
                      <a:lnTo>
                        <a:pt x="67" y="231"/>
                      </a:lnTo>
                      <a:lnTo>
                        <a:pt x="72" y="231"/>
                      </a:lnTo>
                      <a:lnTo>
                        <a:pt x="73" y="233"/>
                      </a:lnTo>
                      <a:lnTo>
                        <a:pt x="74" y="234"/>
                      </a:lnTo>
                      <a:lnTo>
                        <a:pt x="75" y="236"/>
                      </a:lnTo>
                      <a:lnTo>
                        <a:pt x="79" y="237"/>
                      </a:lnTo>
                      <a:lnTo>
                        <a:pt x="82" y="239"/>
                      </a:lnTo>
                      <a:lnTo>
                        <a:pt x="84" y="240"/>
                      </a:lnTo>
                      <a:lnTo>
                        <a:pt x="82" y="236"/>
                      </a:lnTo>
                      <a:lnTo>
                        <a:pt x="78" y="234"/>
                      </a:lnTo>
                      <a:lnTo>
                        <a:pt x="74" y="231"/>
                      </a:lnTo>
                      <a:lnTo>
                        <a:pt x="72" y="228"/>
                      </a:lnTo>
                      <a:lnTo>
                        <a:pt x="73" y="228"/>
                      </a:lnTo>
                      <a:lnTo>
                        <a:pt x="75" y="228"/>
                      </a:lnTo>
                      <a:lnTo>
                        <a:pt x="79" y="230"/>
                      </a:lnTo>
                      <a:lnTo>
                        <a:pt x="80" y="233"/>
                      </a:lnTo>
                      <a:lnTo>
                        <a:pt x="82" y="234"/>
                      </a:lnTo>
                      <a:lnTo>
                        <a:pt x="83" y="234"/>
                      </a:lnTo>
                      <a:lnTo>
                        <a:pt x="85" y="234"/>
                      </a:lnTo>
                      <a:lnTo>
                        <a:pt x="83" y="233"/>
                      </a:lnTo>
                      <a:lnTo>
                        <a:pt x="83" y="233"/>
                      </a:lnTo>
                      <a:lnTo>
                        <a:pt x="84" y="231"/>
                      </a:lnTo>
                      <a:lnTo>
                        <a:pt x="87" y="230"/>
                      </a:lnTo>
                      <a:lnTo>
                        <a:pt x="84" y="230"/>
                      </a:lnTo>
                      <a:lnTo>
                        <a:pt x="82" y="230"/>
                      </a:lnTo>
                      <a:lnTo>
                        <a:pt x="80" y="230"/>
                      </a:lnTo>
                      <a:lnTo>
                        <a:pt x="82" y="230"/>
                      </a:lnTo>
                      <a:lnTo>
                        <a:pt x="83" y="230"/>
                      </a:lnTo>
                      <a:lnTo>
                        <a:pt x="82" y="229"/>
                      </a:lnTo>
                      <a:lnTo>
                        <a:pt x="79" y="229"/>
                      </a:lnTo>
                      <a:lnTo>
                        <a:pt x="78" y="228"/>
                      </a:lnTo>
                      <a:lnTo>
                        <a:pt x="79" y="226"/>
                      </a:lnTo>
                      <a:lnTo>
                        <a:pt x="87" y="225"/>
                      </a:lnTo>
                      <a:lnTo>
                        <a:pt x="94" y="224"/>
                      </a:lnTo>
                      <a:lnTo>
                        <a:pt x="89" y="224"/>
                      </a:lnTo>
                      <a:lnTo>
                        <a:pt x="85" y="223"/>
                      </a:lnTo>
                      <a:lnTo>
                        <a:pt x="88" y="220"/>
                      </a:lnTo>
                      <a:lnTo>
                        <a:pt x="90" y="219"/>
                      </a:lnTo>
                      <a:lnTo>
                        <a:pt x="93" y="218"/>
                      </a:lnTo>
                      <a:lnTo>
                        <a:pt x="95" y="218"/>
                      </a:lnTo>
                      <a:lnTo>
                        <a:pt x="98" y="218"/>
                      </a:lnTo>
                      <a:lnTo>
                        <a:pt x="98" y="219"/>
                      </a:lnTo>
                      <a:lnTo>
                        <a:pt x="96" y="221"/>
                      </a:lnTo>
                      <a:lnTo>
                        <a:pt x="105" y="219"/>
                      </a:lnTo>
                      <a:lnTo>
                        <a:pt x="99" y="219"/>
                      </a:lnTo>
                      <a:lnTo>
                        <a:pt x="105" y="217"/>
                      </a:lnTo>
                      <a:lnTo>
                        <a:pt x="99" y="217"/>
                      </a:lnTo>
                      <a:lnTo>
                        <a:pt x="104" y="214"/>
                      </a:lnTo>
                      <a:lnTo>
                        <a:pt x="110" y="213"/>
                      </a:lnTo>
                      <a:lnTo>
                        <a:pt x="112" y="213"/>
                      </a:lnTo>
                      <a:lnTo>
                        <a:pt x="115" y="215"/>
                      </a:lnTo>
                      <a:lnTo>
                        <a:pt x="116" y="219"/>
                      </a:lnTo>
                      <a:lnTo>
                        <a:pt x="114" y="221"/>
                      </a:lnTo>
                      <a:lnTo>
                        <a:pt x="117" y="220"/>
                      </a:lnTo>
                      <a:lnTo>
                        <a:pt x="122" y="220"/>
                      </a:lnTo>
                      <a:lnTo>
                        <a:pt x="120" y="220"/>
                      </a:lnTo>
                      <a:lnTo>
                        <a:pt x="118" y="219"/>
                      </a:lnTo>
                      <a:lnTo>
                        <a:pt x="120" y="218"/>
                      </a:lnTo>
                      <a:lnTo>
                        <a:pt x="123" y="218"/>
                      </a:lnTo>
                      <a:lnTo>
                        <a:pt x="126" y="217"/>
                      </a:lnTo>
                      <a:lnTo>
                        <a:pt x="131" y="218"/>
                      </a:lnTo>
                      <a:lnTo>
                        <a:pt x="136" y="218"/>
                      </a:lnTo>
                      <a:lnTo>
                        <a:pt x="134" y="214"/>
                      </a:lnTo>
                      <a:lnTo>
                        <a:pt x="137" y="214"/>
                      </a:lnTo>
                      <a:lnTo>
                        <a:pt x="134" y="214"/>
                      </a:lnTo>
                      <a:lnTo>
                        <a:pt x="132" y="214"/>
                      </a:lnTo>
                      <a:lnTo>
                        <a:pt x="139" y="210"/>
                      </a:lnTo>
                      <a:lnTo>
                        <a:pt x="147" y="208"/>
                      </a:lnTo>
                      <a:lnTo>
                        <a:pt x="146" y="205"/>
                      </a:lnTo>
                      <a:lnTo>
                        <a:pt x="143" y="205"/>
                      </a:lnTo>
                      <a:lnTo>
                        <a:pt x="144" y="203"/>
                      </a:lnTo>
                      <a:lnTo>
                        <a:pt x="146" y="202"/>
                      </a:lnTo>
                      <a:lnTo>
                        <a:pt x="150" y="201"/>
                      </a:lnTo>
                      <a:lnTo>
                        <a:pt x="148" y="201"/>
                      </a:lnTo>
                      <a:lnTo>
                        <a:pt x="146" y="201"/>
                      </a:lnTo>
                      <a:lnTo>
                        <a:pt x="146" y="199"/>
                      </a:lnTo>
                      <a:lnTo>
                        <a:pt x="146" y="199"/>
                      </a:lnTo>
                      <a:lnTo>
                        <a:pt x="148" y="198"/>
                      </a:lnTo>
                      <a:lnTo>
                        <a:pt x="144" y="199"/>
                      </a:lnTo>
                      <a:lnTo>
                        <a:pt x="141" y="202"/>
                      </a:lnTo>
                      <a:lnTo>
                        <a:pt x="137" y="204"/>
                      </a:lnTo>
                      <a:lnTo>
                        <a:pt x="133" y="205"/>
                      </a:lnTo>
                      <a:lnTo>
                        <a:pt x="136" y="205"/>
                      </a:lnTo>
                      <a:lnTo>
                        <a:pt x="138" y="204"/>
                      </a:lnTo>
                      <a:lnTo>
                        <a:pt x="139" y="205"/>
                      </a:lnTo>
                      <a:lnTo>
                        <a:pt x="139" y="207"/>
                      </a:lnTo>
                      <a:lnTo>
                        <a:pt x="136" y="209"/>
                      </a:lnTo>
                      <a:lnTo>
                        <a:pt x="132" y="212"/>
                      </a:lnTo>
                      <a:lnTo>
                        <a:pt x="128" y="213"/>
                      </a:lnTo>
                      <a:lnTo>
                        <a:pt x="123" y="214"/>
                      </a:lnTo>
                      <a:lnTo>
                        <a:pt x="120" y="215"/>
                      </a:lnTo>
                      <a:lnTo>
                        <a:pt x="116" y="214"/>
                      </a:lnTo>
                      <a:lnTo>
                        <a:pt x="114" y="210"/>
                      </a:lnTo>
                      <a:lnTo>
                        <a:pt x="116" y="209"/>
                      </a:lnTo>
                      <a:lnTo>
                        <a:pt x="120" y="208"/>
                      </a:lnTo>
                      <a:lnTo>
                        <a:pt x="107" y="210"/>
                      </a:lnTo>
                      <a:lnTo>
                        <a:pt x="109" y="210"/>
                      </a:lnTo>
                      <a:lnTo>
                        <a:pt x="110" y="209"/>
                      </a:lnTo>
                      <a:lnTo>
                        <a:pt x="110" y="208"/>
                      </a:lnTo>
                      <a:lnTo>
                        <a:pt x="107" y="208"/>
                      </a:lnTo>
                      <a:lnTo>
                        <a:pt x="115" y="204"/>
                      </a:lnTo>
                      <a:lnTo>
                        <a:pt x="118" y="203"/>
                      </a:lnTo>
                      <a:lnTo>
                        <a:pt x="122" y="203"/>
                      </a:lnTo>
                      <a:lnTo>
                        <a:pt x="120" y="203"/>
                      </a:lnTo>
                      <a:lnTo>
                        <a:pt x="116" y="204"/>
                      </a:lnTo>
                      <a:lnTo>
                        <a:pt x="120" y="202"/>
                      </a:lnTo>
                      <a:lnTo>
                        <a:pt x="117" y="202"/>
                      </a:lnTo>
                      <a:lnTo>
                        <a:pt x="117" y="202"/>
                      </a:lnTo>
                      <a:lnTo>
                        <a:pt x="117" y="201"/>
                      </a:lnTo>
                      <a:lnTo>
                        <a:pt x="120" y="199"/>
                      </a:lnTo>
                      <a:lnTo>
                        <a:pt x="121" y="198"/>
                      </a:lnTo>
                      <a:lnTo>
                        <a:pt x="122" y="197"/>
                      </a:lnTo>
                      <a:lnTo>
                        <a:pt x="123" y="196"/>
                      </a:lnTo>
                      <a:lnTo>
                        <a:pt x="123" y="196"/>
                      </a:lnTo>
                      <a:lnTo>
                        <a:pt x="126" y="196"/>
                      </a:lnTo>
                      <a:lnTo>
                        <a:pt x="126" y="193"/>
                      </a:lnTo>
                      <a:lnTo>
                        <a:pt x="126" y="191"/>
                      </a:lnTo>
                      <a:lnTo>
                        <a:pt x="131" y="189"/>
                      </a:lnTo>
                      <a:lnTo>
                        <a:pt x="137" y="187"/>
                      </a:lnTo>
                      <a:lnTo>
                        <a:pt x="138" y="186"/>
                      </a:lnTo>
                      <a:lnTo>
                        <a:pt x="138" y="183"/>
                      </a:lnTo>
                      <a:lnTo>
                        <a:pt x="142" y="186"/>
                      </a:lnTo>
                      <a:lnTo>
                        <a:pt x="146" y="188"/>
                      </a:lnTo>
                      <a:lnTo>
                        <a:pt x="144" y="191"/>
                      </a:lnTo>
                      <a:lnTo>
                        <a:pt x="149" y="188"/>
                      </a:lnTo>
                      <a:lnTo>
                        <a:pt x="154" y="187"/>
                      </a:lnTo>
                      <a:lnTo>
                        <a:pt x="152" y="187"/>
                      </a:lnTo>
                      <a:lnTo>
                        <a:pt x="152" y="186"/>
                      </a:lnTo>
                      <a:lnTo>
                        <a:pt x="153" y="185"/>
                      </a:lnTo>
                      <a:lnTo>
                        <a:pt x="154" y="183"/>
                      </a:lnTo>
                      <a:lnTo>
                        <a:pt x="149" y="182"/>
                      </a:lnTo>
                      <a:lnTo>
                        <a:pt x="149" y="180"/>
                      </a:lnTo>
                      <a:lnTo>
                        <a:pt x="152" y="178"/>
                      </a:lnTo>
                      <a:lnTo>
                        <a:pt x="158" y="177"/>
                      </a:lnTo>
                      <a:lnTo>
                        <a:pt x="153" y="177"/>
                      </a:lnTo>
                      <a:lnTo>
                        <a:pt x="163" y="174"/>
                      </a:lnTo>
                      <a:lnTo>
                        <a:pt x="171" y="175"/>
                      </a:lnTo>
                      <a:lnTo>
                        <a:pt x="168" y="174"/>
                      </a:lnTo>
                      <a:lnTo>
                        <a:pt x="165" y="174"/>
                      </a:lnTo>
                      <a:lnTo>
                        <a:pt x="158" y="175"/>
                      </a:lnTo>
                      <a:lnTo>
                        <a:pt x="152" y="177"/>
                      </a:lnTo>
                      <a:lnTo>
                        <a:pt x="146" y="178"/>
                      </a:lnTo>
                      <a:lnTo>
                        <a:pt x="147" y="178"/>
                      </a:lnTo>
                      <a:lnTo>
                        <a:pt x="148" y="177"/>
                      </a:lnTo>
                      <a:lnTo>
                        <a:pt x="147" y="177"/>
                      </a:lnTo>
                      <a:lnTo>
                        <a:pt x="146" y="177"/>
                      </a:lnTo>
                      <a:lnTo>
                        <a:pt x="149" y="176"/>
                      </a:lnTo>
                      <a:lnTo>
                        <a:pt x="154" y="175"/>
                      </a:lnTo>
                      <a:lnTo>
                        <a:pt x="150" y="175"/>
                      </a:lnTo>
                      <a:lnTo>
                        <a:pt x="147" y="175"/>
                      </a:lnTo>
                      <a:lnTo>
                        <a:pt x="153" y="174"/>
                      </a:lnTo>
                      <a:lnTo>
                        <a:pt x="150" y="174"/>
                      </a:lnTo>
                      <a:lnTo>
                        <a:pt x="150" y="172"/>
                      </a:lnTo>
                      <a:lnTo>
                        <a:pt x="152" y="172"/>
                      </a:lnTo>
                      <a:lnTo>
                        <a:pt x="153" y="172"/>
                      </a:lnTo>
                      <a:lnTo>
                        <a:pt x="155" y="172"/>
                      </a:lnTo>
                      <a:lnTo>
                        <a:pt x="155" y="172"/>
                      </a:lnTo>
                      <a:lnTo>
                        <a:pt x="155" y="172"/>
                      </a:lnTo>
                      <a:lnTo>
                        <a:pt x="153" y="172"/>
                      </a:lnTo>
                      <a:lnTo>
                        <a:pt x="157" y="171"/>
                      </a:lnTo>
                      <a:lnTo>
                        <a:pt x="160" y="170"/>
                      </a:lnTo>
                      <a:lnTo>
                        <a:pt x="159" y="170"/>
                      </a:lnTo>
                      <a:lnTo>
                        <a:pt x="158" y="170"/>
                      </a:lnTo>
                      <a:lnTo>
                        <a:pt x="158" y="169"/>
                      </a:lnTo>
                      <a:lnTo>
                        <a:pt x="160" y="169"/>
                      </a:lnTo>
                      <a:lnTo>
                        <a:pt x="163" y="169"/>
                      </a:lnTo>
                      <a:lnTo>
                        <a:pt x="164" y="167"/>
                      </a:lnTo>
                      <a:lnTo>
                        <a:pt x="165" y="166"/>
                      </a:lnTo>
                      <a:lnTo>
                        <a:pt x="168" y="167"/>
                      </a:lnTo>
                      <a:lnTo>
                        <a:pt x="169" y="169"/>
                      </a:lnTo>
                      <a:lnTo>
                        <a:pt x="165" y="170"/>
                      </a:lnTo>
                      <a:lnTo>
                        <a:pt x="162" y="170"/>
                      </a:lnTo>
                      <a:lnTo>
                        <a:pt x="166" y="170"/>
                      </a:lnTo>
                      <a:lnTo>
                        <a:pt x="171" y="170"/>
                      </a:lnTo>
                      <a:lnTo>
                        <a:pt x="178" y="166"/>
                      </a:lnTo>
                      <a:lnTo>
                        <a:pt x="181" y="164"/>
                      </a:lnTo>
                      <a:lnTo>
                        <a:pt x="175" y="166"/>
                      </a:lnTo>
                      <a:lnTo>
                        <a:pt x="173" y="167"/>
                      </a:lnTo>
                      <a:lnTo>
                        <a:pt x="170" y="167"/>
                      </a:lnTo>
                      <a:lnTo>
                        <a:pt x="170" y="167"/>
                      </a:lnTo>
                      <a:lnTo>
                        <a:pt x="170" y="167"/>
                      </a:lnTo>
                      <a:lnTo>
                        <a:pt x="173" y="166"/>
                      </a:lnTo>
                      <a:lnTo>
                        <a:pt x="170" y="166"/>
                      </a:lnTo>
                      <a:lnTo>
                        <a:pt x="170" y="165"/>
                      </a:lnTo>
                      <a:lnTo>
                        <a:pt x="171" y="162"/>
                      </a:lnTo>
                      <a:lnTo>
                        <a:pt x="168" y="164"/>
                      </a:lnTo>
                      <a:lnTo>
                        <a:pt x="165" y="165"/>
                      </a:lnTo>
                      <a:lnTo>
                        <a:pt x="165" y="162"/>
                      </a:lnTo>
                      <a:lnTo>
                        <a:pt x="165" y="160"/>
                      </a:lnTo>
                      <a:lnTo>
                        <a:pt x="166" y="158"/>
                      </a:lnTo>
                      <a:lnTo>
                        <a:pt x="169" y="156"/>
                      </a:lnTo>
                      <a:lnTo>
                        <a:pt x="171" y="159"/>
                      </a:lnTo>
                      <a:lnTo>
                        <a:pt x="173" y="160"/>
                      </a:lnTo>
                      <a:lnTo>
                        <a:pt x="175" y="160"/>
                      </a:lnTo>
                      <a:lnTo>
                        <a:pt x="179" y="159"/>
                      </a:lnTo>
                      <a:lnTo>
                        <a:pt x="178" y="159"/>
                      </a:lnTo>
                      <a:lnTo>
                        <a:pt x="175" y="158"/>
                      </a:lnTo>
                      <a:lnTo>
                        <a:pt x="173" y="156"/>
                      </a:lnTo>
                      <a:lnTo>
                        <a:pt x="171" y="156"/>
                      </a:lnTo>
                      <a:lnTo>
                        <a:pt x="170" y="153"/>
                      </a:lnTo>
                      <a:lnTo>
                        <a:pt x="171" y="153"/>
                      </a:lnTo>
                      <a:lnTo>
                        <a:pt x="175" y="153"/>
                      </a:lnTo>
                      <a:lnTo>
                        <a:pt x="178" y="154"/>
                      </a:lnTo>
                      <a:lnTo>
                        <a:pt x="175" y="151"/>
                      </a:lnTo>
                      <a:lnTo>
                        <a:pt x="175" y="150"/>
                      </a:lnTo>
                      <a:lnTo>
                        <a:pt x="176" y="146"/>
                      </a:lnTo>
                      <a:lnTo>
                        <a:pt x="181" y="145"/>
                      </a:lnTo>
                      <a:lnTo>
                        <a:pt x="184" y="145"/>
                      </a:lnTo>
                      <a:lnTo>
                        <a:pt x="187" y="148"/>
                      </a:lnTo>
                      <a:lnTo>
                        <a:pt x="186" y="145"/>
                      </a:lnTo>
                      <a:lnTo>
                        <a:pt x="182" y="143"/>
                      </a:lnTo>
                      <a:lnTo>
                        <a:pt x="176" y="142"/>
                      </a:lnTo>
                      <a:lnTo>
                        <a:pt x="179" y="142"/>
                      </a:lnTo>
                      <a:lnTo>
                        <a:pt x="182" y="140"/>
                      </a:lnTo>
                      <a:lnTo>
                        <a:pt x="190" y="137"/>
                      </a:lnTo>
                      <a:lnTo>
                        <a:pt x="192" y="137"/>
                      </a:lnTo>
                      <a:lnTo>
                        <a:pt x="192" y="137"/>
                      </a:lnTo>
                      <a:lnTo>
                        <a:pt x="193" y="138"/>
                      </a:lnTo>
                      <a:lnTo>
                        <a:pt x="195" y="139"/>
                      </a:lnTo>
                      <a:lnTo>
                        <a:pt x="197" y="139"/>
                      </a:lnTo>
                      <a:lnTo>
                        <a:pt x="200" y="138"/>
                      </a:lnTo>
                      <a:lnTo>
                        <a:pt x="198" y="138"/>
                      </a:lnTo>
                      <a:lnTo>
                        <a:pt x="198" y="138"/>
                      </a:lnTo>
                      <a:lnTo>
                        <a:pt x="201" y="137"/>
                      </a:lnTo>
                      <a:lnTo>
                        <a:pt x="205" y="135"/>
                      </a:lnTo>
                      <a:lnTo>
                        <a:pt x="207" y="133"/>
                      </a:lnTo>
                      <a:lnTo>
                        <a:pt x="196" y="135"/>
                      </a:lnTo>
                      <a:lnTo>
                        <a:pt x="184" y="138"/>
                      </a:lnTo>
                      <a:lnTo>
                        <a:pt x="187" y="135"/>
                      </a:lnTo>
                      <a:lnTo>
                        <a:pt x="192" y="134"/>
                      </a:lnTo>
                      <a:lnTo>
                        <a:pt x="189" y="134"/>
                      </a:lnTo>
                      <a:lnTo>
                        <a:pt x="184" y="133"/>
                      </a:lnTo>
                      <a:lnTo>
                        <a:pt x="185" y="132"/>
                      </a:lnTo>
                      <a:lnTo>
                        <a:pt x="185" y="130"/>
                      </a:lnTo>
                      <a:lnTo>
                        <a:pt x="184" y="128"/>
                      </a:lnTo>
                      <a:lnTo>
                        <a:pt x="185" y="128"/>
                      </a:lnTo>
                      <a:lnTo>
                        <a:pt x="186" y="128"/>
                      </a:lnTo>
                      <a:lnTo>
                        <a:pt x="187" y="129"/>
                      </a:lnTo>
                      <a:lnTo>
                        <a:pt x="190" y="129"/>
                      </a:lnTo>
                      <a:lnTo>
                        <a:pt x="191" y="129"/>
                      </a:lnTo>
                      <a:lnTo>
                        <a:pt x="195" y="128"/>
                      </a:lnTo>
                      <a:lnTo>
                        <a:pt x="197" y="127"/>
                      </a:lnTo>
                      <a:lnTo>
                        <a:pt x="198" y="126"/>
                      </a:lnTo>
                      <a:lnTo>
                        <a:pt x="195" y="126"/>
                      </a:lnTo>
                      <a:lnTo>
                        <a:pt x="192" y="127"/>
                      </a:lnTo>
                      <a:lnTo>
                        <a:pt x="189" y="127"/>
                      </a:lnTo>
                      <a:lnTo>
                        <a:pt x="186" y="124"/>
                      </a:lnTo>
                      <a:lnTo>
                        <a:pt x="192" y="124"/>
                      </a:lnTo>
                      <a:lnTo>
                        <a:pt x="189" y="123"/>
                      </a:lnTo>
                      <a:lnTo>
                        <a:pt x="191" y="122"/>
                      </a:lnTo>
                      <a:lnTo>
                        <a:pt x="193" y="123"/>
                      </a:lnTo>
                      <a:lnTo>
                        <a:pt x="197" y="123"/>
                      </a:lnTo>
                      <a:lnTo>
                        <a:pt x="200" y="122"/>
                      </a:lnTo>
                      <a:lnTo>
                        <a:pt x="197" y="122"/>
                      </a:lnTo>
                      <a:lnTo>
                        <a:pt x="195" y="122"/>
                      </a:lnTo>
                      <a:lnTo>
                        <a:pt x="195" y="122"/>
                      </a:lnTo>
                      <a:lnTo>
                        <a:pt x="195" y="122"/>
                      </a:lnTo>
                      <a:lnTo>
                        <a:pt x="197" y="121"/>
                      </a:lnTo>
                      <a:lnTo>
                        <a:pt x="195" y="121"/>
                      </a:lnTo>
                      <a:lnTo>
                        <a:pt x="195" y="121"/>
                      </a:lnTo>
                      <a:lnTo>
                        <a:pt x="197" y="121"/>
                      </a:lnTo>
                      <a:lnTo>
                        <a:pt x="201" y="121"/>
                      </a:lnTo>
                      <a:lnTo>
                        <a:pt x="203" y="121"/>
                      </a:lnTo>
                      <a:lnTo>
                        <a:pt x="198" y="118"/>
                      </a:lnTo>
                      <a:lnTo>
                        <a:pt x="193" y="117"/>
                      </a:lnTo>
                      <a:lnTo>
                        <a:pt x="200" y="115"/>
                      </a:lnTo>
                      <a:lnTo>
                        <a:pt x="205" y="115"/>
                      </a:lnTo>
                      <a:lnTo>
                        <a:pt x="208" y="115"/>
                      </a:lnTo>
                      <a:lnTo>
                        <a:pt x="211" y="113"/>
                      </a:lnTo>
                      <a:lnTo>
                        <a:pt x="213" y="113"/>
                      </a:lnTo>
                      <a:lnTo>
                        <a:pt x="217" y="113"/>
                      </a:lnTo>
                      <a:lnTo>
                        <a:pt x="211" y="112"/>
                      </a:lnTo>
                      <a:lnTo>
                        <a:pt x="213" y="110"/>
                      </a:lnTo>
                      <a:lnTo>
                        <a:pt x="218" y="108"/>
                      </a:lnTo>
                      <a:lnTo>
                        <a:pt x="223" y="107"/>
                      </a:lnTo>
                      <a:lnTo>
                        <a:pt x="224" y="108"/>
                      </a:lnTo>
                      <a:lnTo>
                        <a:pt x="227" y="108"/>
                      </a:lnTo>
                      <a:lnTo>
                        <a:pt x="230" y="108"/>
                      </a:lnTo>
                      <a:lnTo>
                        <a:pt x="235" y="111"/>
                      </a:lnTo>
                      <a:lnTo>
                        <a:pt x="235" y="107"/>
                      </a:lnTo>
                      <a:lnTo>
                        <a:pt x="239" y="108"/>
                      </a:lnTo>
                      <a:lnTo>
                        <a:pt x="233" y="107"/>
                      </a:lnTo>
                      <a:lnTo>
                        <a:pt x="228" y="106"/>
                      </a:lnTo>
                      <a:lnTo>
                        <a:pt x="221" y="106"/>
                      </a:lnTo>
                      <a:lnTo>
                        <a:pt x="217" y="107"/>
                      </a:lnTo>
                      <a:lnTo>
                        <a:pt x="212" y="106"/>
                      </a:lnTo>
                      <a:lnTo>
                        <a:pt x="216" y="103"/>
                      </a:lnTo>
                      <a:lnTo>
                        <a:pt x="218" y="102"/>
                      </a:lnTo>
                      <a:lnTo>
                        <a:pt x="219" y="102"/>
                      </a:lnTo>
                      <a:lnTo>
                        <a:pt x="222" y="102"/>
                      </a:lnTo>
                      <a:lnTo>
                        <a:pt x="223" y="102"/>
                      </a:lnTo>
                      <a:lnTo>
                        <a:pt x="224" y="101"/>
                      </a:lnTo>
                      <a:lnTo>
                        <a:pt x="221" y="101"/>
                      </a:lnTo>
                      <a:lnTo>
                        <a:pt x="218" y="101"/>
                      </a:lnTo>
                      <a:lnTo>
                        <a:pt x="223" y="99"/>
                      </a:lnTo>
                      <a:lnTo>
                        <a:pt x="225" y="99"/>
                      </a:lnTo>
                      <a:lnTo>
                        <a:pt x="227" y="99"/>
                      </a:lnTo>
                      <a:lnTo>
                        <a:pt x="224" y="101"/>
                      </a:lnTo>
                      <a:lnTo>
                        <a:pt x="228" y="100"/>
                      </a:lnTo>
                      <a:lnTo>
                        <a:pt x="233" y="100"/>
                      </a:lnTo>
                      <a:lnTo>
                        <a:pt x="237" y="102"/>
                      </a:lnTo>
                      <a:lnTo>
                        <a:pt x="238" y="103"/>
                      </a:lnTo>
                      <a:lnTo>
                        <a:pt x="240" y="103"/>
                      </a:lnTo>
                      <a:lnTo>
                        <a:pt x="239" y="103"/>
                      </a:lnTo>
                      <a:lnTo>
                        <a:pt x="238" y="102"/>
                      </a:lnTo>
                      <a:lnTo>
                        <a:pt x="239" y="101"/>
                      </a:lnTo>
                      <a:lnTo>
                        <a:pt x="241" y="99"/>
                      </a:lnTo>
                      <a:lnTo>
                        <a:pt x="244" y="99"/>
                      </a:lnTo>
                      <a:lnTo>
                        <a:pt x="240" y="99"/>
                      </a:lnTo>
                      <a:lnTo>
                        <a:pt x="237" y="99"/>
                      </a:lnTo>
                      <a:lnTo>
                        <a:pt x="233" y="99"/>
                      </a:lnTo>
                      <a:lnTo>
                        <a:pt x="229" y="99"/>
                      </a:lnTo>
                      <a:lnTo>
                        <a:pt x="232" y="97"/>
                      </a:lnTo>
                      <a:lnTo>
                        <a:pt x="233" y="97"/>
                      </a:lnTo>
                      <a:lnTo>
                        <a:pt x="232" y="97"/>
                      </a:lnTo>
                      <a:lnTo>
                        <a:pt x="229" y="96"/>
                      </a:lnTo>
                      <a:lnTo>
                        <a:pt x="229" y="96"/>
                      </a:lnTo>
                      <a:lnTo>
                        <a:pt x="230" y="95"/>
                      </a:lnTo>
                      <a:lnTo>
                        <a:pt x="234" y="94"/>
                      </a:lnTo>
                      <a:lnTo>
                        <a:pt x="237" y="95"/>
                      </a:lnTo>
                      <a:lnTo>
                        <a:pt x="235" y="95"/>
                      </a:lnTo>
                      <a:lnTo>
                        <a:pt x="234" y="94"/>
                      </a:lnTo>
                      <a:lnTo>
                        <a:pt x="237" y="94"/>
                      </a:lnTo>
                      <a:lnTo>
                        <a:pt x="240" y="94"/>
                      </a:lnTo>
                      <a:lnTo>
                        <a:pt x="243" y="95"/>
                      </a:lnTo>
                      <a:lnTo>
                        <a:pt x="240" y="94"/>
                      </a:lnTo>
                      <a:lnTo>
                        <a:pt x="238" y="92"/>
                      </a:lnTo>
                      <a:lnTo>
                        <a:pt x="232" y="92"/>
                      </a:lnTo>
                      <a:lnTo>
                        <a:pt x="227" y="95"/>
                      </a:lnTo>
                      <a:lnTo>
                        <a:pt x="221" y="96"/>
                      </a:lnTo>
                      <a:lnTo>
                        <a:pt x="223" y="94"/>
                      </a:lnTo>
                      <a:lnTo>
                        <a:pt x="227" y="92"/>
                      </a:lnTo>
                      <a:lnTo>
                        <a:pt x="223" y="92"/>
                      </a:lnTo>
                      <a:lnTo>
                        <a:pt x="221" y="90"/>
                      </a:lnTo>
                      <a:lnTo>
                        <a:pt x="227" y="90"/>
                      </a:lnTo>
                      <a:lnTo>
                        <a:pt x="224" y="90"/>
                      </a:lnTo>
                      <a:lnTo>
                        <a:pt x="224" y="90"/>
                      </a:lnTo>
                      <a:lnTo>
                        <a:pt x="224" y="89"/>
                      </a:lnTo>
                      <a:lnTo>
                        <a:pt x="227" y="89"/>
                      </a:lnTo>
                      <a:lnTo>
                        <a:pt x="232" y="89"/>
                      </a:lnTo>
                      <a:lnTo>
                        <a:pt x="234" y="87"/>
                      </a:lnTo>
                      <a:lnTo>
                        <a:pt x="235" y="87"/>
                      </a:lnTo>
                      <a:lnTo>
                        <a:pt x="238" y="87"/>
                      </a:lnTo>
                      <a:lnTo>
                        <a:pt x="240" y="87"/>
                      </a:lnTo>
                      <a:lnTo>
                        <a:pt x="244" y="87"/>
                      </a:lnTo>
                      <a:lnTo>
                        <a:pt x="245" y="86"/>
                      </a:lnTo>
                      <a:lnTo>
                        <a:pt x="241" y="85"/>
                      </a:lnTo>
                      <a:lnTo>
                        <a:pt x="238" y="85"/>
                      </a:lnTo>
                      <a:lnTo>
                        <a:pt x="230" y="85"/>
                      </a:lnTo>
                      <a:lnTo>
                        <a:pt x="233" y="83"/>
                      </a:lnTo>
                      <a:lnTo>
                        <a:pt x="234" y="83"/>
                      </a:lnTo>
                      <a:lnTo>
                        <a:pt x="239" y="81"/>
                      </a:lnTo>
                      <a:lnTo>
                        <a:pt x="238" y="83"/>
                      </a:lnTo>
                      <a:lnTo>
                        <a:pt x="238" y="84"/>
                      </a:lnTo>
                      <a:lnTo>
                        <a:pt x="240" y="83"/>
                      </a:lnTo>
                      <a:lnTo>
                        <a:pt x="244" y="80"/>
                      </a:lnTo>
                      <a:lnTo>
                        <a:pt x="246" y="80"/>
                      </a:lnTo>
                      <a:lnTo>
                        <a:pt x="249" y="83"/>
                      </a:lnTo>
                      <a:lnTo>
                        <a:pt x="250" y="86"/>
                      </a:lnTo>
                      <a:lnTo>
                        <a:pt x="251" y="89"/>
                      </a:lnTo>
                      <a:lnTo>
                        <a:pt x="254" y="90"/>
                      </a:lnTo>
                      <a:lnTo>
                        <a:pt x="251" y="89"/>
                      </a:lnTo>
                      <a:lnTo>
                        <a:pt x="250" y="85"/>
                      </a:lnTo>
                      <a:lnTo>
                        <a:pt x="253" y="86"/>
                      </a:lnTo>
                      <a:lnTo>
                        <a:pt x="255" y="87"/>
                      </a:lnTo>
                      <a:lnTo>
                        <a:pt x="256" y="87"/>
                      </a:lnTo>
                      <a:lnTo>
                        <a:pt x="255" y="86"/>
                      </a:lnTo>
                      <a:lnTo>
                        <a:pt x="253" y="85"/>
                      </a:lnTo>
                      <a:lnTo>
                        <a:pt x="255" y="86"/>
                      </a:lnTo>
                      <a:lnTo>
                        <a:pt x="255" y="84"/>
                      </a:lnTo>
                      <a:lnTo>
                        <a:pt x="261" y="84"/>
                      </a:lnTo>
                      <a:lnTo>
                        <a:pt x="251" y="83"/>
                      </a:lnTo>
                      <a:lnTo>
                        <a:pt x="256" y="80"/>
                      </a:lnTo>
                      <a:lnTo>
                        <a:pt x="250" y="80"/>
                      </a:lnTo>
                      <a:lnTo>
                        <a:pt x="251" y="79"/>
                      </a:lnTo>
                      <a:lnTo>
                        <a:pt x="253" y="79"/>
                      </a:lnTo>
                      <a:lnTo>
                        <a:pt x="251" y="78"/>
                      </a:lnTo>
                      <a:lnTo>
                        <a:pt x="250" y="76"/>
                      </a:lnTo>
                      <a:lnTo>
                        <a:pt x="256" y="79"/>
                      </a:lnTo>
                      <a:lnTo>
                        <a:pt x="262" y="81"/>
                      </a:lnTo>
                      <a:lnTo>
                        <a:pt x="256" y="79"/>
                      </a:lnTo>
                      <a:lnTo>
                        <a:pt x="251" y="75"/>
                      </a:lnTo>
                      <a:lnTo>
                        <a:pt x="259" y="75"/>
                      </a:lnTo>
                      <a:lnTo>
                        <a:pt x="265" y="75"/>
                      </a:lnTo>
                      <a:lnTo>
                        <a:pt x="271" y="76"/>
                      </a:lnTo>
                      <a:lnTo>
                        <a:pt x="272" y="78"/>
                      </a:lnTo>
                      <a:lnTo>
                        <a:pt x="273" y="78"/>
                      </a:lnTo>
                      <a:lnTo>
                        <a:pt x="275" y="79"/>
                      </a:lnTo>
                      <a:lnTo>
                        <a:pt x="273" y="78"/>
                      </a:lnTo>
                      <a:lnTo>
                        <a:pt x="272" y="76"/>
                      </a:lnTo>
                      <a:lnTo>
                        <a:pt x="273" y="75"/>
                      </a:lnTo>
                      <a:lnTo>
                        <a:pt x="275" y="75"/>
                      </a:lnTo>
                      <a:lnTo>
                        <a:pt x="278" y="76"/>
                      </a:lnTo>
                      <a:lnTo>
                        <a:pt x="277" y="75"/>
                      </a:lnTo>
                      <a:lnTo>
                        <a:pt x="276" y="75"/>
                      </a:lnTo>
                      <a:lnTo>
                        <a:pt x="278" y="74"/>
                      </a:lnTo>
                      <a:lnTo>
                        <a:pt x="282" y="74"/>
                      </a:lnTo>
                      <a:lnTo>
                        <a:pt x="284" y="74"/>
                      </a:lnTo>
                      <a:lnTo>
                        <a:pt x="277" y="73"/>
                      </a:lnTo>
                      <a:lnTo>
                        <a:pt x="269" y="74"/>
                      </a:lnTo>
                      <a:lnTo>
                        <a:pt x="261" y="74"/>
                      </a:lnTo>
                      <a:lnTo>
                        <a:pt x="257" y="74"/>
                      </a:lnTo>
                      <a:lnTo>
                        <a:pt x="255" y="71"/>
                      </a:lnTo>
                      <a:lnTo>
                        <a:pt x="257" y="71"/>
                      </a:lnTo>
                      <a:lnTo>
                        <a:pt x="259" y="69"/>
                      </a:lnTo>
                      <a:lnTo>
                        <a:pt x="260" y="68"/>
                      </a:lnTo>
                      <a:lnTo>
                        <a:pt x="262" y="67"/>
                      </a:lnTo>
                      <a:lnTo>
                        <a:pt x="271" y="67"/>
                      </a:lnTo>
                      <a:lnTo>
                        <a:pt x="278" y="67"/>
                      </a:lnTo>
                      <a:lnTo>
                        <a:pt x="272" y="64"/>
                      </a:lnTo>
                      <a:lnTo>
                        <a:pt x="277" y="64"/>
                      </a:lnTo>
                      <a:lnTo>
                        <a:pt x="281" y="64"/>
                      </a:lnTo>
                      <a:lnTo>
                        <a:pt x="278" y="64"/>
                      </a:lnTo>
                      <a:lnTo>
                        <a:pt x="278" y="63"/>
                      </a:lnTo>
                      <a:lnTo>
                        <a:pt x="280" y="62"/>
                      </a:lnTo>
                      <a:lnTo>
                        <a:pt x="281" y="62"/>
                      </a:lnTo>
                      <a:lnTo>
                        <a:pt x="278" y="62"/>
                      </a:lnTo>
                      <a:lnTo>
                        <a:pt x="277" y="60"/>
                      </a:lnTo>
                      <a:lnTo>
                        <a:pt x="280" y="58"/>
                      </a:lnTo>
                      <a:lnTo>
                        <a:pt x="283" y="55"/>
                      </a:lnTo>
                      <a:lnTo>
                        <a:pt x="288" y="54"/>
                      </a:lnTo>
                      <a:lnTo>
                        <a:pt x="287" y="52"/>
                      </a:lnTo>
                      <a:lnTo>
                        <a:pt x="287" y="49"/>
                      </a:lnTo>
                      <a:lnTo>
                        <a:pt x="288" y="48"/>
                      </a:lnTo>
                      <a:lnTo>
                        <a:pt x="289" y="47"/>
                      </a:lnTo>
                      <a:lnTo>
                        <a:pt x="292" y="46"/>
                      </a:lnTo>
                      <a:lnTo>
                        <a:pt x="294" y="47"/>
                      </a:lnTo>
                      <a:lnTo>
                        <a:pt x="296" y="48"/>
                      </a:lnTo>
                      <a:lnTo>
                        <a:pt x="297" y="52"/>
                      </a:lnTo>
                      <a:lnTo>
                        <a:pt x="298" y="49"/>
                      </a:lnTo>
                      <a:lnTo>
                        <a:pt x="300" y="48"/>
                      </a:lnTo>
                      <a:lnTo>
                        <a:pt x="303" y="48"/>
                      </a:lnTo>
                      <a:lnTo>
                        <a:pt x="307" y="49"/>
                      </a:lnTo>
                      <a:lnTo>
                        <a:pt x="300" y="48"/>
                      </a:lnTo>
                      <a:lnTo>
                        <a:pt x="298" y="46"/>
                      </a:lnTo>
                      <a:lnTo>
                        <a:pt x="296" y="43"/>
                      </a:lnTo>
                      <a:lnTo>
                        <a:pt x="300" y="44"/>
                      </a:lnTo>
                      <a:lnTo>
                        <a:pt x="305" y="46"/>
                      </a:lnTo>
                      <a:lnTo>
                        <a:pt x="308" y="47"/>
                      </a:lnTo>
                      <a:lnTo>
                        <a:pt x="312" y="48"/>
                      </a:lnTo>
                      <a:lnTo>
                        <a:pt x="314" y="49"/>
                      </a:lnTo>
                      <a:lnTo>
                        <a:pt x="314" y="52"/>
                      </a:lnTo>
                      <a:lnTo>
                        <a:pt x="315" y="51"/>
                      </a:lnTo>
                      <a:lnTo>
                        <a:pt x="316" y="49"/>
                      </a:lnTo>
                      <a:lnTo>
                        <a:pt x="316" y="48"/>
                      </a:lnTo>
                      <a:lnTo>
                        <a:pt x="314" y="47"/>
                      </a:lnTo>
                      <a:lnTo>
                        <a:pt x="310" y="47"/>
                      </a:lnTo>
                      <a:lnTo>
                        <a:pt x="308" y="47"/>
                      </a:lnTo>
                      <a:lnTo>
                        <a:pt x="307" y="44"/>
                      </a:lnTo>
                      <a:lnTo>
                        <a:pt x="309" y="43"/>
                      </a:lnTo>
                      <a:lnTo>
                        <a:pt x="312" y="43"/>
                      </a:lnTo>
                      <a:lnTo>
                        <a:pt x="309" y="42"/>
                      </a:lnTo>
                      <a:lnTo>
                        <a:pt x="305" y="43"/>
                      </a:lnTo>
                      <a:lnTo>
                        <a:pt x="308" y="38"/>
                      </a:lnTo>
                      <a:lnTo>
                        <a:pt x="312" y="37"/>
                      </a:lnTo>
                      <a:lnTo>
                        <a:pt x="316" y="36"/>
                      </a:lnTo>
                      <a:lnTo>
                        <a:pt x="320" y="36"/>
                      </a:lnTo>
                      <a:lnTo>
                        <a:pt x="320" y="41"/>
                      </a:lnTo>
                      <a:lnTo>
                        <a:pt x="319" y="47"/>
                      </a:lnTo>
                      <a:lnTo>
                        <a:pt x="321" y="44"/>
                      </a:lnTo>
                      <a:lnTo>
                        <a:pt x="323" y="43"/>
                      </a:lnTo>
                      <a:lnTo>
                        <a:pt x="324" y="41"/>
                      </a:lnTo>
                      <a:lnTo>
                        <a:pt x="328" y="42"/>
                      </a:lnTo>
                      <a:lnTo>
                        <a:pt x="324" y="40"/>
                      </a:lnTo>
                      <a:lnTo>
                        <a:pt x="324" y="37"/>
                      </a:lnTo>
                      <a:lnTo>
                        <a:pt x="325" y="36"/>
                      </a:lnTo>
                      <a:lnTo>
                        <a:pt x="326" y="37"/>
                      </a:lnTo>
                      <a:lnTo>
                        <a:pt x="328" y="35"/>
                      </a:lnTo>
                      <a:lnTo>
                        <a:pt x="330" y="35"/>
                      </a:lnTo>
                      <a:lnTo>
                        <a:pt x="331" y="33"/>
                      </a:lnTo>
                      <a:lnTo>
                        <a:pt x="332" y="31"/>
                      </a:lnTo>
                      <a:lnTo>
                        <a:pt x="335" y="32"/>
                      </a:lnTo>
                      <a:lnTo>
                        <a:pt x="335" y="35"/>
                      </a:lnTo>
                      <a:lnTo>
                        <a:pt x="334" y="41"/>
                      </a:lnTo>
                      <a:lnTo>
                        <a:pt x="330" y="46"/>
                      </a:lnTo>
                      <a:lnTo>
                        <a:pt x="328" y="51"/>
                      </a:lnTo>
                      <a:lnTo>
                        <a:pt x="332" y="48"/>
                      </a:lnTo>
                      <a:lnTo>
                        <a:pt x="335" y="43"/>
                      </a:lnTo>
                      <a:lnTo>
                        <a:pt x="337" y="42"/>
                      </a:lnTo>
                      <a:lnTo>
                        <a:pt x="340" y="42"/>
                      </a:lnTo>
                      <a:lnTo>
                        <a:pt x="342" y="43"/>
                      </a:lnTo>
                      <a:lnTo>
                        <a:pt x="345" y="44"/>
                      </a:lnTo>
                      <a:lnTo>
                        <a:pt x="341" y="41"/>
                      </a:lnTo>
                      <a:lnTo>
                        <a:pt x="340" y="37"/>
                      </a:lnTo>
                      <a:lnTo>
                        <a:pt x="342" y="33"/>
                      </a:lnTo>
                      <a:lnTo>
                        <a:pt x="347" y="32"/>
                      </a:lnTo>
                      <a:lnTo>
                        <a:pt x="345" y="35"/>
                      </a:lnTo>
                      <a:lnTo>
                        <a:pt x="347" y="36"/>
                      </a:lnTo>
                      <a:lnTo>
                        <a:pt x="348" y="35"/>
                      </a:lnTo>
                      <a:lnTo>
                        <a:pt x="351" y="35"/>
                      </a:lnTo>
                      <a:lnTo>
                        <a:pt x="352" y="35"/>
                      </a:lnTo>
                      <a:lnTo>
                        <a:pt x="352" y="32"/>
                      </a:lnTo>
                      <a:lnTo>
                        <a:pt x="352" y="31"/>
                      </a:lnTo>
                      <a:lnTo>
                        <a:pt x="356" y="31"/>
                      </a:lnTo>
                      <a:lnTo>
                        <a:pt x="360" y="32"/>
                      </a:lnTo>
                      <a:lnTo>
                        <a:pt x="367" y="36"/>
                      </a:lnTo>
                      <a:lnTo>
                        <a:pt x="371" y="37"/>
                      </a:lnTo>
                      <a:lnTo>
                        <a:pt x="372" y="37"/>
                      </a:lnTo>
                      <a:lnTo>
                        <a:pt x="367" y="35"/>
                      </a:lnTo>
                      <a:lnTo>
                        <a:pt x="369" y="35"/>
                      </a:lnTo>
                      <a:lnTo>
                        <a:pt x="367" y="33"/>
                      </a:lnTo>
                      <a:lnTo>
                        <a:pt x="367" y="31"/>
                      </a:lnTo>
                      <a:lnTo>
                        <a:pt x="367" y="31"/>
                      </a:lnTo>
                      <a:lnTo>
                        <a:pt x="369" y="32"/>
                      </a:lnTo>
                      <a:lnTo>
                        <a:pt x="368" y="30"/>
                      </a:lnTo>
                      <a:lnTo>
                        <a:pt x="366" y="30"/>
                      </a:lnTo>
                      <a:lnTo>
                        <a:pt x="366" y="28"/>
                      </a:lnTo>
                      <a:lnTo>
                        <a:pt x="366" y="28"/>
                      </a:lnTo>
                      <a:lnTo>
                        <a:pt x="368" y="27"/>
                      </a:lnTo>
                      <a:lnTo>
                        <a:pt x="364" y="28"/>
                      </a:lnTo>
                      <a:lnTo>
                        <a:pt x="360" y="27"/>
                      </a:lnTo>
                      <a:lnTo>
                        <a:pt x="355" y="26"/>
                      </a:lnTo>
                      <a:lnTo>
                        <a:pt x="351" y="24"/>
                      </a:lnTo>
                      <a:lnTo>
                        <a:pt x="353" y="24"/>
                      </a:lnTo>
                      <a:lnTo>
                        <a:pt x="356" y="25"/>
                      </a:lnTo>
                      <a:lnTo>
                        <a:pt x="357" y="21"/>
                      </a:lnTo>
                      <a:lnTo>
                        <a:pt x="363" y="25"/>
                      </a:lnTo>
                      <a:lnTo>
                        <a:pt x="363" y="24"/>
                      </a:lnTo>
                      <a:lnTo>
                        <a:pt x="364" y="22"/>
                      </a:lnTo>
                      <a:lnTo>
                        <a:pt x="367" y="22"/>
                      </a:lnTo>
                      <a:lnTo>
                        <a:pt x="371" y="24"/>
                      </a:lnTo>
                      <a:lnTo>
                        <a:pt x="373" y="22"/>
                      </a:lnTo>
                      <a:lnTo>
                        <a:pt x="373" y="25"/>
                      </a:lnTo>
                      <a:lnTo>
                        <a:pt x="374" y="26"/>
                      </a:lnTo>
                      <a:lnTo>
                        <a:pt x="378" y="27"/>
                      </a:lnTo>
                      <a:lnTo>
                        <a:pt x="375" y="26"/>
                      </a:lnTo>
                      <a:lnTo>
                        <a:pt x="374" y="24"/>
                      </a:lnTo>
                      <a:lnTo>
                        <a:pt x="380" y="24"/>
                      </a:lnTo>
                      <a:lnTo>
                        <a:pt x="385" y="25"/>
                      </a:lnTo>
                      <a:lnTo>
                        <a:pt x="384" y="27"/>
                      </a:lnTo>
                      <a:lnTo>
                        <a:pt x="382" y="28"/>
                      </a:lnTo>
                      <a:lnTo>
                        <a:pt x="375" y="28"/>
                      </a:lnTo>
                      <a:lnTo>
                        <a:pt x="382" y="28"/>
                      </a:lnTo>
                      <a:lnTo>
                        <a:pt x="388" y="26"/>
                      </a:lnTo>
                      <a:lnTo>
                        <a:pt x="389" y="30"/>
                      </a:lnTo>
                      <a:lnTo>
                        <a:pt x="393" y="31"/>
                      </a:lnTo>
                      <a:lnTo>
                        <a:pt x="396" y="31"/>
                      </a:lnTo>
                      <a:lnTo>
                        <a:pt x="400" y="31"/>
                      </a:lnTo>
                      <a:lnTo>
                        <a:pt x="399" y="30"/>
                      </a:lnTo>
                      <a:lnTo>
                        <a:pt x="396" y="30"/>
                      </a:lnTo>
                      <a:lnTo>
                        <a:pt x="394" y="27"/>
                      </a:lnTo>
                      <a:lnTo>
                        <a:pt x="395" y="26"/>
                      </a:lnTo>
                      <a:lnTo>
                        <a:pt x="396" y="26"/>
                      </a:lnTo>
                      <a:lnTo>
                        <a:pt x="396" y="25"/>
                      </a:lnTo>
                      <a:lnTo>
                        <a:pt x="393" y="24"/>
                      </a:lnTo>
                      <a:lnTo>
                        <a:pt x="395" y="24"/>
                      </a:lnTo>
                      <a:lnTo>
                        <a:pt x="398" y="24"/>
                      </a:lnTo>
                      <a:lnTo>
                        <a:pt x="399" y="24"/>
                      </a:lnTo>
                      <a:lnTo>
                        <a:pt x="398" y="24"/>
                      </a:lnTo>
                      <a:lnTo>
                        <a:pt x="396" y="22"/>
                      </a:lnTo>
                      <a:lnTo>
                        <a:pt x="398" y="22"/>
                      </a:lnTo>
                      <a:lnTo>
                        <a:pt x="400" y="21"/>
                      </a:lnTo>
                      <a:lnTo>
                        <a:pt x="403" y="17"/>
                      </a:lnTo>
                      <a:lnTo>
                        <a:pt x="409" y="16"/>
                      </a:lnTo>
                      <a:lnTo>
                        <a:pt x="415" y="16"/>
                      </a:lnTo>
                      <a:lnTo>
                        <a:pt x="412" y="15"/>
                      </a:lnTo>
                      <a:lnTo>
                        <a:pt x="412" y="14"/>
                      </a:lnTo>
                      <a:lnTo>
                        <a:pt x="415" y="12"/>
                      </a:lnTo>
                      <a:lnTo>
                        <a:pt x="419" y="12"/>
                      </a:lnTo>
                      <a:lnTo>
                        <a:pt x="421" y="11"/>
                      </a:lnTo>
                      <a:lnTo>
                        <a:pt x="417" y="10"/>
                      </a:lnTo>
                      <a:lnTo>
                        <a:pt x="412" y="8"/>
                      </a:lnTo>
                      <a:lnTo>
                        <a:pt x="415" y="8"/>
                      </a:lnTo>
                      <a:lnTo>
                        <a:pt x="417" y="8"/>
                      </a:lnTo>
                      <a:lnTo>
                        <a:pt x="420" y="8"/>
                      </a:lnTo>
                      <a:lnTo>
                        <a:pt x="422" y="6"/>
                      </a:lnTo>
                      <a:lnTo>
                        <a:pt x="420" y="6"/>
                      </a:lnTo>
                      <a:lnTo>
                        <a:pt x="419" y="5"/>
                      </a:lnTo>
                      <a:lnTo>
                        <a:pt x="421" y="5"/>
                      </a:lnTo>
                      <a:lnTo>
                        <a:pt x="426" y="4"/>
                      </a:lnTo>
                      <a:lnTo>
                        <a:pt x="428" y="4"/>
                      </a:lnTo>
                      <a:lnTo>
                        <a:pt x="431" y="5"/>
                      </a:lnTo>
                      <a:lnTo>
                        <a:pt x="433" y="8"/>
                      </a:lnTo>
                      <a:lnTo>
                        <a:pt x="436" y="8"/>
                      </a:lnTo>
                      <a:lnTo>
                        <a:pt x="436" y="6"/>
                      </a:lnTo>
                      <a:lnTo>
                        <a:pt x="435" y="5"/>
                      </a:lnTo>
                      <a:lnTo>
                        <a:pt x="437" y="5"/>
                      </a:lnTo>
                      <a:lnTo>
                        <a:pt x="441" y="6"/>
                      </a:lnTo>
                      <a:lnTo>
                        <a:pt x="443" y="6"/>
                      </a:lnTo>
                      <a:lnTo>
                        <a:pt x="446" y="6"/>
                      </a:lnTo>
                      <a:lnTo>
                        <a:pt x="443" y="10"/>
                      </a:lnTo>
                      <a:lnTo>
                        <a:pt x="439" y="12"/>
                      </a:lnTo>
                      <a:lnTo>
                        <a:pt x="435" y="14"/>
                      </a:lnTo>
                      <a:lnTo>
                        <a:pt x="431" y="17"/>
                      </a:lnTo>
                      <a:lnTo>
                        <a:pt x="433" y="17"/>
                      </a:lnTo>
                      <a:lnTo>
                        <a:pt x="435" y="20"/>
                      </a:lnTo>
                      <a:lnTo>
                        <a:pt x="433" y="20"/>
                      </a:lnTo>
                      <a:lnTo>
                        <a:pt x="431" y="22"/>
                      </a:lnTo>
                      <a:lnTo>
                        <a:pt x="430" y="25"/>
                      </a:lnTo>
                      <a:lnTo>
                        <a:pt x="430" y="27"/>
                      </a:lnTo>
                      <a:lnTo>
                        <a:pt x="433" y="27"/>
                      </a:lnTo>
                      <a:lnTo>
                        <a:pt x="436" y="26"/>
                      </a:lnTo>
                      <a:lnTo>
                        <a:pt x="438" y="24"/>
                      </a:lnTo>
                      <a:lnTo>
                        <a:pt x="439" y="22"/>
                      </a:lnTo>
                      <a:lnTo>
                        <a:pt x="439" y="22"/>
                      </a:lnTo>
                      <a:lnTo>
                        <a:pt x="439" y="21"/>
                      </a:lnTo>
                      <a:lnTo>
                        <a:pt x="439" y="20"/>
                      </a:lnTo>
                      <a:lnTo>
                        <a:pt x="443" y="16"/>
                      </a:lnTo>
                      <a:lnTo>
                        <a:pt x="449" y="11"/>
                      </a:lnTo>
                      <a:lnTo>
                        <a:pt x="455" y="6"/>
                      </a:lnTo>
                      <a:lnTo>
                        <a:pt x="462" y="4"/>
                      </a:lnTo>
                      <a:lnTo>
                        <a:pt x="463" y="8"/>
                      </a:lnTo>
                      <a:lnTo>
                        <a:pt x="463" y="10"/>
                      </a:lnTo>
                      <a:lnTo>
                        <a:pt x="460" y="11"/>
                      </a:lnTo>
                      <a:lnTo>
                        <a:pt x="458" y="11"/>
                      </a:lnTo>
                      <a:lnTo>
                        <a:pt x="460" y="12"/>
                      </a:lnTo>
                      <a:lnTo>
                        <a:pt x="462" y="15"/>
                      </a:lnTo>
                      <a:lnTo>
                        <a:pt x="462" y="17"/>
                      </a:lnTo>
                      <a:lnTo>
                        <a:pt x="460" y="20"/>
                      </a:lnTo>
                      <a:lnTo>
                        <a:pt x="463" y="20"/>
                      </a:lnTo>
                      <a:lnTo>
                        <a:pt x="465" y="17"/>
                      </a:lnTo>
                      <a:lnTo>
                        <a:pt x="466" y="17"/>
                      </a:lnTo>
                      <a:lnTo>
                        <a:pt x="469" y="17"/>
                      </a:lnTo>
                      <a:lnTo>
                        <a:pt x="473" y="17"/>
                      </a:lnTo>
                      <a:lnTo>
                        <a:pt x="470" y="14"/>
                      </a:lnTo>
                      <a:lnTo>
                        <a:pt x="476" y="15"/>
                      </a:lnTo>
                      <a:lnTo>
                        <a:pt x="474" y="12"/>
                      </a:lnTo>
                      <a:lnTo>
                        <a:pt x="473" y="10"/>
                      </a:lnTo>
                      <a:lnTo>
                        <a:pt x="476" y="9"/>
                      </a:lnTo>
                      <a:lnTo>
                        <a:pt x="479" y="8"/>
                      </a:lnTo>
                      <a:lnTo>
                        <a:pt x="481" y="9"/>
                      </a:lnTo>
                      <a:lnTo>
                        <a:pt x="479" y="6"/>
                      </a:lnTo>
                      <a:lnTo>
                        <a:pt x="478" y="6"/>
                      </a:lnTo>
                      <a:lnTo>
                        <a:pt x="473" y="5"/>
                      </a:lnTo>
                      <a:lnTo>
                        <a:pt x="474" y="5"/>
                      </a:lnTo>
                      <a:lnTo>
                        <a:pt x="476" y="4"/>
                      </a:lnTo>
                      <a:lnTo>
                        <a:pt x="484" y="1"/>
                      </a:lnTo>
                      <a:lnTo>
                        <a:pt x="490" y="0"/>
                      </a:lnTo>
                      <a:lnTo>
                        <a:pt x="492" y="0"/>
                      </a:lnTo>
                      <a:lnTo>
                        <a:pt x="494" y="3"/>
                      </a:lnTo>
                      <a:lnTo>
                        <a:pt x="494" y="3"/>
                      </a:lnTo>
                      <a:lnTo>
                        <a:pt x="496" y="4"/>
                      </a:lnTo>
                      <a:lnTo>
                        <a:pt x="498" y="4"/>
                      </a:lnTo>
                      <a:lnTo>
                        <a:pt x="500" y="4"/>
                      </a:lnTo>
                      <a:lnTo>
                        <a:pt x="500" y="5"/>
                      </a:lnTo>
                      <a:lnTo>
                        <a:pt x="498" y="6"/>
                      </a:lnTo>
                      <a:lnTo>
                        <a:pt x="495" y="8"/>
                      </a:lnTo>
                      <a:lnTo>
                        <a:pt x="490" y="9"/>
                      </a:lnTo>
                      <a:lnTo>
                        <a:pt x="489" y="9"/>
                      </a:lnTo>
                      <a:lnTo>
                        <a:pt x="487" y="9"/>
                      </a:lnTo>
                      <a:lnTo>
                        <a:pt x="491" y="10"/>
                      </a:lnTo>
                      <a:lnTo>
                        <a:pt x="494" y="10"/>
                      </a:lnTo>
                      <a:lnTo>
                        <a:pt x="485" y="14"/>
                      </a:lnTo>
                      <a:lnTo>
                        <a:pt x="487" y="12"/>
                      </a:lnTo>
                      <a:lnTo>
                        <a:pt x="491" y="12"/>
                      </a:lnTo>
                      <a:lnTo>
                        <a:pt x="495" y="11"/>
                      </a:lnTo>
                      <a:lnTo>
                        <a:pt x="497" y="12"/>
                      </a:lnTo>
                      <a:lnTo>
                        <a:pt x="492" y="15"/>
                      </a:lnTo>
                      <a:lnTo>
                        <a:pt x="489" y="17"/>
                      </a:lnTo>
                      <a:lnTo>
                        <a:pt x="494" y="17"/>
                      </a:lnTo>
                      <a:lnTo>
                        <a:pt x="498" y="17"/>
                      </a:lnTo>
                      <a:lnTo>
                        <a:pt x="497" y="20"/>
                      </a:lnTo>
                      <a:lnTo>
                        <a:pt x="496" y="22"/>
                      </a:lnTo>
                      <a:lnTo>
                        <a:pt x="497" y="20"/>
                      </a:lnTo>
                      <a:lnTo>
                        <a:pt x="498" y="17"/>
                      </a:lnTo>
                      <a:lnTo>
                        <a:pt x="503" y="16"/>
                      </a:lnTo>
                      <a:lnTo>
                        <a:pt x="502" y="16"/>
                      </a:lnTo>
                      <a:lnTo>
                        <a:pt x="501" y="15"/>
                      </a:lnTo>
                      <a:lnTo>
                        <a:pt x="502" y="12"/>
                      </a:lnTo>
                      <a:lnTo>
                        <a:pt x="505" y="9"/>
                      </a:lnTo>
                      <a:lnTo>
                        <a:pt x="507" y="6"/>
                      </a:lnTo>
                      <a:lnTo>
                        <a:pt x="511" y="6"/>
                      </a:lnTo>
                      <a:lnTo>
                        <a:pt x="514" y="6"/>
                      </a:lnTo>
                      <a:lnTo>
                        <a:pt x="518" y="9"/>
                      </a:lnTo>
                      <a:lnTo>
                        <a:pt x="519" y="10"/>
                      </a:lnTo>
                      <a:lnTo>
                        <a:pt x="518" y="12"/>
                      </a:lnTo>
                      <a:lnTo>
                        <a:pt x="521" y="11"/>
                      </a:lnTo>
                      <a:lnTo>
                        <a:pt x="524" y="10"/>
                      </a:lnTo>
                      <a:lnTo>
                        <a:pt x="527" y="11"/>
                      </a:lnTo>
                      <a:lnTo>
                        <a:pt x="528" y="12"/>
                      </a:lnTo>
                      <a:lnTo>
                        <a:pt x="532" y="11"/>
                      </a:lnTo>
                      <a:lnTo>
                        <a:pt x="535" y="12"/>
                      </a:lnTo>
                      <a:lnTo>
                        <a:pt x="538" y="15"/>
                      </a:lnTo>
                      <a:lnTo>
                        <a:pt x="537" y="15"/>
                      </a:lnTo>
                      <a:lnTo>
                        <a:pt x="535" y="16"/>
                      </a:lnTo>
                      <a:lnTo>
                        <a:pt x="545" y="16"/>
                      </a:lnTo>
                      <a:lnTo>
                        <a:pt x="550" y="17"/>
                      </a:lnTo>
                      <a:lnTo>
                        <a:pt x="555" y="20"/>
                      </a:lnTo>
                      <a:lnTo>
                        <a:pt x="555" y="21"/>
                      </a:lnTo>
                      <a:lnTo>
                        <a:pt x="555" y="22"/>
                      </a:lnTo>
                      <a:lnTo>
                        <a:pt x="553" y="24"/>
                      </a:lnTo>
                      <a:lnTo>
                        <a:pt x="549" y="24"/>
                      </a:lnTo>
                      <a:lnTo>
                        <a:pt x="546" y="24"/>
                      </a:lnTo>
                      <a:lnTo>
                        <a:pt x="538" y="27"/>
                      </a:lnTo>
                      <a:lnTo>
                        <a:pt x="534" y="28"/>
                      </a:lnTo>
                      <a:lnTo>
                        <a:pt x="529" y="28"/>
                      </a:lnTo>
                      <a:lnTo>
                        <a:pt x="524" y="27"/>
                      </a:lnTo>
                      <a:lnTo>
                        <a:pt x="518" y="26"/>
                      </a:lnTo>
                      <a:lnTo>
                        <a:pt x="512" y="26"/>
                      </a:lnTo>
                      <a:lnTo>
                        <a:pt x="507" y="27"/>
                      </a:lnTo>
                      <a:lnTo>
                        <a:pt x="518" y="28"/>
                      </a:lnTo>
                      <a:lnTo>
                        <a:pt x="522" y="30"/>
                      </a:lnTo>
                      <a:lnTo>
                        <a:pt x="526" y="30"/>
                      </a:lnTo>
                      <a:lnTo>
                        <a:pt x="528" y="31"/>
                      </a:lnTo>
                      <a:lnTo>
                        <a:pt x="528" y="32"/>
                      </a:lnTo>
                      <a:lnTo>
                        <a:pt x="526" y="32"/>
                      </a:lnTo>
                      <a:lnTo>
                        <a:pt x="528" y="33"/>
                      </a:lnTo>
                      <a:lnTo>
                        <a:pt x="532" y="35"/>
                      </a:lnTo>
                      <a:lnTo>
                        <a:pt x="532" y="36"/>
                      </a:lnTo>
                      <a:lnTo>
                        <a:pt x="530" y="37"/>
                      </a:lnTo>
                      <a:lnTo>
                        <a:pt x="528" y="38"/>
                      </a:lnTo>
                      <a:lnTo>
                        <a:pt x="537" y="37"/>
                      </a:lnTo>
                      <a:lnTo>
                        <a:pt x="538" y="40"/>
                      </a:lnTo>
                      <a:lnTo>
                        <a:pt x="540" y="40"/>
                      </a:lnTo>
                      <a:lnTo>
                        <a:pt x="539" y="35"/>
                      </a:lnTo>
                      <a:lnTo>
                        <a:pt x="544" y="36"/>
                      </a:lnTo>
                      <a:lnTo>
                        <a:pt x="546" y="38"/>
                      </a:lnTo>
                      <a:lnTo>
                        <a:pt x="549" y="36"/>
                      </a:lnTo>
                      <a:lnTo>
                        <a:pt x="551" y="36"/>
                      </a:lnTo>
                      <a:lnTo>
                        <a:pt x="555" y="37"/>
                      </a:lnTo>
                      <a:lnTo>
                        <a:pt x="556" y="40"/>
                      </a:lnTo>
                      <a:lnTo>
                        <a:pt x="556" y="42"/>
                      </a:lnTo>
                      <a:lnTo>
                        <a:pt x="555" y="43"/>
                      </a:lnTo>
                      <a:lnTo>
                        <a:pt x="550" y="43"/>
                      </a:lnTo>
                      <a:lnTo>
                        <a:pt x="545" y="42"/>
                      </a:lnTo>
                      <a:lnTo>
                        <a:pt x="543" y="41"/>
                      </a:lnTo>
                      <a:lnTo>
                        <a:pt x="542" y="40"/>
                      </a:lnTo>
                      <a:lnTo>
                        <a:pt x="542" y="43"/>
                      </a:lnTo>
                      <a:lnTo>
                        <a:pt x="540" y="46"/>
                      </a:lnTo>
                      <a:lnTo>
                        <a:pt x="537" y="47"/>
                      </a:lnTo>
                      <a:lnTo>
                        <a:pt x="534" y="48"/>
                      </a:lnTo>
                      <a:lnTo>
                        <a:pt x="532" y="48"/>
                      </a:lnTo>
                      <a:lnTo>
                        <a:pt x="529" y="49"/>
                      </a:lnTo>
                      <a:lnTo>
                        <a:pt x="527" y="49"/>
                      </a:lnTo>
                      <a:lnTo>
                        <a:pt x="526" y="51"/>
                      </a:lnTo>
                      <a:lnTo>
                        <a:pt x="526" y="54"/>
                      </a:lnTo>
                      <a:lnTo>
                        <a:pt x="524" y="55"/>
                      </a:lnTo>
                      <a:lnTo>
                        <a:pt x="522" y="57"/>
                      </a:lnTo>
                      <a:lnTo>
                        <a:pt x="519" y="57"/>
                      </a:lnTo>
                      <a:lnTo>
                        <a:pt x="516" y="55"/>
                      </a:lnTo>
                      <a:lnTo>
                        <a:pt x="514" y="54"/>
                      </a:lnTo>
                      <a:lnTo>
                        <a:pt x="516" y="53"/>
                      </a:lnTo>
                      <a:lnTo>
                        <a:pt x="517" y="51"/>
                      </a:lnTo>
                      <a:lnTo>
                        <a:pt x="518" y="49"/>
                      </a:lnTo>
                      <a:lnTo>
                        <a:pt x="521" y="47"/>
                      </a:lnTo>
                      <a:lnTo>
                        <a:pt x="522" y="43"/>
                      </a:lnTo>
                      <a:lnTo>
                        <a:pt x="521" y="41"/>
                      </a:lnTo>
                      <a:lnTo>
                        <a:pt x="517" y="38"/>
                      </a:lnTo>
                      <a:lnTo>
                        <a:pt x="508" y="37"/>
                      </a:lnTo>
                      <a:lnTo>
                        <a:pt x="500" y="35"/>
                      </a:lnTo>
                      <a:lnTo>
                        <a:pt x="496" y="32"/>
                      </a:lnTo>
                      <a:lnTo>
                        <a:pt x="491" y="30"/>
                      </a:lnTo>
                      <a:lnTo>
                        <a:pt x="487" y="28"/>
                      </a:lnTo>
                      <a:lnTo>
                        <a:pt x="482" y="30"/>
                      </a:lnTo>
                      <a:lnTo>
                        <a:pt x="479" y="32"/>
                      </a:lnTo>
                      <a:lnTo>
                        <a:pt x="474" y="33"/>
                      </a:lnTo>
                      <a:lnTo>
                        <a:pt x="464" y="33"/>
                      </a:lnTo>
                      <a:lnTo>
                        <a:pt x="457" y="36"/>
                      </a:lnTo>
                      <a:lnTo>
                        <a:pt x="454" y="38"/>
                      </a:lnTo>
                      <a:lnTo>
                        <a:pt x="452" y="43"/>
                      </a:lnTo>
                      <a:lnTo>
                        <a:pt x="449" y="52"/>
                      </a:lnTo>
                      <a:lnTo>
                        <a:pt x="451" y="57"/>
                      </a:lnTo>
                      <a:lnTo>
                        <a:pt x="451" y="58"/>
                      </a:lnTo>
                      <a:lnTo>
                        <a:pt x="449" y="59"/>
                      </a:lnTo>
                      <a:lnTo>
                        <a:pt x="447" y="60"/>
                      </a:lnTo>
                      <a:lnTo>
                        <a:pt x="443" y="62"/>
                      </a:lnTo>
                      <a:lnTo>
                        <a:pt x="439" y="64"/>
                      </a:lnTo>
                      <a:lnTo>
                        <a:pt x="437" y="68"/>
                      </a:lnTo>
                      <a:lnTo>
                        <a:pt x="435" y="69"/>
                      </a:lnTo>
                      <a:lnTo>
                        <a:pt x="431" y="69"/>
                      </a:lnTo>
                      <a:lnTo>
                        <a:pt x="426" y="67"/>
                      </a:lnTo>
                      <a:lnTo>
                        <a:pt x="422" y="65"/>
                      </a:lnTo>
                      <a:lnTo>
                        <a:pt x="414" y="63"/>
                      </a:lnTo>
                      <a:lnTo>
                        <a:pt x="411" y="63"/>
                      </a:lnTo>
                      <a:lnTo>
                        <a:pt x="410" y="64"/>
                      </a:lnTo>
                      <a:lnTo>
                        <a:pt x="407" y="67"/>
                      </a:lnTo>
                      <a:lnTo>
                        <a:pt x="401" y="68"/>
                      </a:lnTo>
                      <a:lnTo>
                        <a:pt x="395" y="69"/>
                      </a:lnTo>
                      <a:lnTo>
                        <a:pt x="388" y="68"/>
                      </a:lnTo>
                      <a:lnTo>
                        <a:pt x="382" y="65"/>
                      </a:lnTo>
                      <a:lnTo>
                        <a:pt x="378" y="64"/>
                      </a:lnTo>
                      <a:lnTo>
                        <a:pt x="374" y="60"/>
                      </a:lnTo>
                      <a:lnTo>
                        <a:pt x="372" y="58"/>
                      </a:lnTo>
                      <a:lnTo>
                        <a:pt x="368" y="55"/>
                      </a:lnTo>
                      <a:lnTo>
                        <a:pt x="364" y="52"/>
                      </a:lnTo>
                      <a:lnTo>
                        <a:pt x="360" y="51"/>
                      </a:lnTo>
                      <a:lnTo>
                        <a:pt x="355" y="51"/>
                      </a:lnTo>
                      <a:lnTo>
                        <a:pt x="350" y="53"/>
                      </a:lnTo>
                      <a:lnTo>
                        <a:pt x="353" y="55"/>
                      </a:lnTo>
                      <a:lnTo>
                        <a:pt x="348" y="57"/>
                      </a:lnTo>
                      <a:lnTo>
                        <a:pt x="342" y="57"/>
                      </a:lnTo>
                      <a:lnTo>
                        <a:pt x="337" y="57"/>
                      </a:lnTo>
                      <a:lnTo>
                        <a:pt x="332" y="58"/>
                      </a:lnTo>
                      <a:lnTo>
                        <a:pt x="335" y="59"/>
                      </a:lnTo>
                      <a:lnTo>
                        <a:pt x="336" y="62"/>
                      </a:lnTo>
                      <a:lnTo>
                        <a:pt x="336" y="64"/>
                      </a:lnTo>
                      <a:lnTo>
                        <a:pt x="332" y="68"/>
                      </a:lnTo>
                      <a:lnTo>
                        <a:pt x="329" y="70"/>
                      </a:lnTo>
                      <a:lnTo>
                        <a:pt x="335" y="73"/>
                      </a:lnTo>
                      <a:lnTo>
                        <a:pt x="331" y="75"/>
                      </a:lnTo>
                      <a:lnTo>
                        <a:pt x="328" y="75"/>
                      </a:lnTo>
                      <a:lnTo>
                        <a:pt x="320" y="75"/>
                      </a:lnTo>
                      <a:lnTo>
                        <a:pt x="313" y="73"/>
                      </a:lnTo>
                      <a:lnTo>
                        <a:pt x="304" y="71"/>
                      </a:lnTo>
                      <a:lnTo>
                        <a:pt x="302" y="71"/>
                      </a:lnTo>
                      <a:lnTo>
                        <a:pt x="298" y="71"/>
                      </a:lnTo>
                      <a:lnTo>
                        <a:pt x="296" y="70"/>
                      </a:lnTo>
                      <a:lnTo>
                        <a:pt x="292" y="71"/>
                      </a:lnTo>
                      <a:lnTo>
                        <a:pt x="291" y="73"/>
                      </a:lnTo>
                      <a:lnTo>
                        <a:pt x="291" y="75"/>
                      </a:lnTo>
                      <a:lnTo>
                        <a:pt x="292" y="78"/>
                      </a:lnTo>
                      <a:lnTo>
                        <a:pt x="292" y="80"/>
                      </a:lnTo>
                      <a:lnTo>
                        <a:pt x="291" y="84"/>
                      </a:lnTo>
                      <a:lnTo>
                        <a:pt x="288" y="85"/>
                      </a:lnTo>
                      <a:lnTo>
                        <a:pt x="283" y="85"/>
                      </a:lnTo>
                      <a:lnTo>
                        <a:pt x="277" y="85"/>
                      </a:lnTo>
                      <a:lnTo>
                        <a:pt x="271" y="85"/>
                      </a:lnTo>
                      <a:lnTo>
                        <a:pt x="265" y="89"/>
                      </a:lnTo>
                      <a:lnTo>
                        <a:pt x="260" y="94"/>
                      </a:lnTo>
                      <a:lnTo>
                        <a:pt x="255" y="99"/>
                      </a:lnTo>
                      <a:lnTo>
                        <a:pt x="249" y="102"/>
                      </a:lnTo>
                      <a:lnTo>
                        <a:pt x="251" y="105"/>
                      </a:lnTo>
                      <a:lnTo>
                        <a:pt x="254" y="106"/>
                      </a:lnTo>
                      <a:lnTo>
                        <a:pt x="255" y="108"/>
                      </a:lnTo>
                      <a:lnTo>
                        <a:pt x="256" y="111"/>
                      </a:lnTo>
                      <a:lnTo>
                        <a:pt x="254" y="115"/>
                      </a:lnTo>
                      <a:lnTo>
                        <a:pt x="250" y="118"/>
                      </a:lnTo>
                      <a:lnTo>
                        <a:pt x="245" y="121"/>
                      </a:lnTo>
                      <a:lnTo>
                        <a:pt x="241" y="124"/>
                      </a:lnTo>
                      <a:lnTo>
                        <a:pt x="239" y="127"/>
                      </a:lnTo>
                      <a:lnTo>
                        <a:pt x="237" y="128"/>
                      </a:lnTo>
                      <a:lnTo>
                        <a:pt x="235" y="129"/>
                      </a:lnTo>
                      <a:lnTo>
                        <a:pt x="235" y="130"/>
                      </a:lnTo>
                      <a:lnTo>
                        <a:pt x="237" y="133"/>
                      </a:lnTo>
                      <a:lnTo>
                        <a:pt x="237" y="134"/>
                      </a:lnTo>
                      <a:lnTo>
                        <a:pt x="233" y="138"/>
                      </a:lnTo>
                      <a:lnTo>
                        <a:pt x="227" y="139"/>
                      </a:lnTo>
                      <a:lnTo>
                        <a:pt x="221" y="139"/>
                      </a:lnTo>
                      <a:lnTo>
                        <a:pt x="216" y="139"/>
                      </a:lnTo>
                      <a:lnTo>
                        <a:pt x="217" y="140"/>
                      </a:lnTo>
                      <a:lnTo>
                        <a:pt x="217" y="144"/>
                      </a:lnTo>
                      <a:lnTo>
                        <a:pt x="218" y="151"/>
                      </a:lnTo>
                      <a:lnTo>
                        <a:pt x="217" y="159"/>
                      </a:lnTo>
                      <a:lnTo>
                        <a:pt x="217" y="161"/>
                      </a:lnTo>
                      <a:lnTo>
                        <a:pt x="216" y="164"/>
                      </a:lnTo>
                      <a:lnTo>
                        <a:pt x="213" y="165"/>
                      </a:lnTo>
                      <a:lnTo>
                        <a:pt x="212" y="167"/>
                      </a:lnTo>
                      <a:lnTo>
                        <a:pt x="208" y="172"/>
                      </a:lnTo>
                      <a:lnTo>
                        <a:pt x="197" y="183"/>
                      </a:lnTo>
                      <a:lnTo>
                        <a:pt x="202" y="186"/>
                      </a:lnTo>
                      <a:lnTo>
                        <a:pt x="207" y="188"/>
                      </a:lnTo>
                      <a:lnTo>
                        <a:pt x="209" y="192"/>
                      </a:lnTo>
                      <a:lnTo>
                        <a:pt x="209" y="194"/>
                      </a:lnTo>
                      <a:lnTo>
                        <a:pt x="208" y="197"/>
                      </a:lnTo>
                      <a:lnTo>
                        <a:pt x="205" y="199"/>
                      </a:lnTo>
                      <a:lnTo>
                        <a:pt x="198" y="199"/>
                      </a:lnTo>
                      <a:lnTo>
                        <a:pt x="191" y="199"/>
                      </a:lnTo>
                      <a:lnTo>
                        <a:pt x="185" y="199"/>
                      </a:lnTo>
                      <a:lnTo>
                        <a:pt x="180" y="201"/>
                      </a:lnTo>
                      <a:lnTo>
                        <a:pt x="174" y="204"/>
                      </a:lnTo>
                      <a:lnTo>
                        <a:pt x="168" y="209"/>
                      </a:lnTo>
                      <a:lnTo>
                        <a:pt x="166" y="212"/>
                      </a:lnTo>
                      <a:lnTo>
                        <a:pt x="165" y="213"/>
                      </a:lnTo>
                      <a:lnTo>
                        <a:pt x="164" y="218"/>
                      </a:lnTo>
                      <a:lnTo>
                        <a:pt x="163" y="221"/>
                      </a:lnTo>
                      <a:lnTo>
                        <a:pt x="164" y="224"/>
                      </a:lnTo>
                      <a:lnTo>
                        <a:pt x="165" y="226"/>
                      </a:lnTo>
                      <a:lnTo>
                        <a:pt x="166" y="230"/>
                      </a:lnTo>
                      <a:lnTo>
                        <a:pt x="166" y="231"/>
                      </a:lnTo>
                      <a:lnTo>
                        <a:pt x="164" y="234"/>
                      </a:lnTo>
                      <a:lnTo>
                        <a:pt x="164" y="237"/>
                      </a:lnTo>
                      <a:lnTo>
                        <a:pt x="165" y="242"/>
                      </a:lnTo>
                      <a:lnTo>
                        <a:pt x="166" y="245"/>
                      </a:lnTo>
                      <a:lnTo>
                        <a:pt x="168" y="251"/>
                      </a:lnTo>
                      <a:lnTo>
                        <a:pt x="168" y="256"/>
                      </a:lnTo>
                      <a:lnTo>
                        <a:pt x="168" y="261"/>
                      </a:lnTo>
                      <a:lnTo>
                        <a:pt x="166" y="266"/>
                      </a:lnTo>
                      <a:lnTo>
                        <a:pt x="168" y="269"/>
                      </a:lnTo>
                      <a:lnTo>
                        <a:pt x="171" y="272"/>
                      </a:lnTo>
                      <a:lnTo>
                        <a:pt x="178" y="274"/>
                      </a:lnTo>
                      <a:lnTo>
                        <a:pt x="181" y="276"/>
                      </a:lnTo>
                      <a:lnTo>
                        <a:pt x="182" y="278"/>
                      </a:lnTo>
                      <a:lnTo>
                        <a:pt x="182" y="280"/>
                      </a:lnTo>
                      <a:lnTo>
                        <a:pt x="181" y="284"/>
                      </a:lnTo>
                      <a:lnTo>
                        <a:pt x="180" y="287"/>
                      </a:lnTo>
                      <a:lnTo>
                        <a:pt x="179" y="288"/>
                      </a:lnTo>
                      <a:lnTo>
                        <a:pt x="175" y="288"/>
                      </a:lnTo>
                      <a:lnTo>
                        <a:pt x="171" y="289"/>
                      </a:lnTo>
                      <a:lnTo>
                        <a:pt x="170" y="292"/>
                      </a:lnTo>
                      <a:lnTo>
                        <a:pt x="170" y="295"/>
                      </a:lnTo>
                      <a:lnTo>
                        <a:pt x="174" y="300"/>
                      </a:lnTo>
                      <a:lnTo>
                        <a:pt x="176" y="304"/>
                      </a:lnTo>
                      <a:lnTo>
                        <a:pt x="178" y="308"/>
                      </a:lnTo>
                      <a:lnTo>
                        <a:pt x="176" y="309"/>
                      </a:lnTo>
                      <a:lnTo>
                        <a:pt x="175" y="311"/>
                      </a:lnTo>
                      <a:lnTo>
                        <a:pt x="175" y="314"/>
                      </a:lnTo>
                      <a:lnTo>
                        <a:pt x="175" y="316"/>
                      </a:lnTo>
                      <a:lnTo>
                        <a:pt x="173" y="319"/>
                      </a:lnTo>
                      <a:lnTo>
                        <a:pt x="169" y="321"/>
                      </a:lnTo>
                      <a:lnTo>
                        <a:pt x="165" y="322"/>
                      </a:lnTo>
                      <a:lnTo>
                        <a:pt x="163" y="322"/>
                      </a:lnTo>
                      <a:lnTo>
                        <a:pt x="162" y="323"/>
                      </a:lnTo>
                      <a:lnTo>
                        <a:pt x="160" y="326"/>
                      </a:lnTo>
                      <a:lnTo>
                        <a:pt x="160" y="330"/>
                      </a:lnTo>
                      <a:lnTo>
                        <a:pt x="158" y="333"/>
                      </a:lnTo>
                      <a:lnTo>
                        <a:pt x="158" y="335"/>
                      </a:lnTo>
                      <a:lnTo>
                        <a:pt x="158" y="337"/>
                      </a:lnTo>
                      <a:lnTo>
                        <a:pt x="159" y="342"/>
                      </a:lnTo>
                      <a:lnTo>
                        <a:pt x="159" y="346"/>
                      </a:lnTo>
                      <a:lnTo>
                        <a:pt x="158" y="349"/>
                      </a:lnTo>
                      <a:lnTo>
                        <a:pt x="155" y="353"/>
                      </a:lnTo>
                      <a:lnTo>
                        <a:pt x="153" y="354"/>
                      </a:lnTo>
                      <a:lnTo>
                        <a:pt x="150" y="352"/>
                      </a:lnTo>
                      <a:lnTo>
                        <a:pt x="148" y="348"/>
                      </a:lnTo>
                      <a:lnTo>
                        <a:pt x="146" y="347"/>
                      </a:lnTo>
                      <a:lnTo>
                        <a:pt x="143" y="346"/>
                      </a:lnTo>
                      <a:lnTo>
                        <a:pt x="137" y="343"/>
                      </a:lnTo>
                      <a:lnTo>
                        <a:pt x="134" y="342"/>
                      </a:lnTo>
                      <a:lnTo>
                        <a:pt x="133" y="338"/>
                      </a:lnTo>
                      <a:lnTo>
                        <a:pt x="132" y="330"/>
                      </a:lnTo>
                      <a:lnTo>
                        <a:pt x="132" y="328"/>
                      </a:lnTo>
                      <a:lnTo>
                        <a:pt x="132" y="326"/>
                      </a:lnTo>
                      <a:lnTo>
                        <a:pt x="133" y="325"/>
                      </a:lnTo>
                      <a:lnTo>
                        <a:pt x="133" y="326"/>
                      </a:lnTo>
                      <a:lnTo>
                        <a:pt x="134" y="327"/>
                      </a:lnTo>
                      <a:lnTo>
                        <a:pt x="134" y="325"/>
                      </a:lnTo>
                      <a:lnTo>
                        <a:pt x="133" y="323"/>
                      </a:lnTo>
                      <a:lnTo>
                        <a:pt x="131" y="323"/>
                      </a:lnTo>
                      <a:lnTo>
                        <a:pt x="130" y="326"/>
                      </a:lnTo>
                      <a:lnTo>
                        <a:pt x="130" y="328"/>
                      </a:lnTo>
                      <a:lnTo>
                        <a:pt x="131" y="331"/>
                      </a:lnTo>
                      <a:lnTo>
                        <a:pt x="131" y="332"/>
                      </a:lnTo>
                      <a:lnTo>
                        <a:pt x="130" y="335"/>
                      </a:lnTo>
                      <a:lnTo>
                        <a:pt x="127" y="332"/>
                      </a:lnTo>
                      <a:lnTo>
                        <a:pt x="126" y="335"/>
                      </a:lnTo>
                      <a:lnTo>
                        <a:pt x="122" y="333"/>
                      </a:lnTo>
                      <a:lnTo>
                        <a:pt x="126" y="338"/>
                      </a:lnTo>
                      <a:lnTo>
                        <a:pt x="126" y="344"/>
                      </a:lnTo>
                      <a:lnTo>
                        <a:pt x="126" y="342"/>
                      </a:lnTo>
                      <a:lnTo>
                        <a:pt x="126" y="343"/>
                      </a:lnTo>
                      <a:lnTo>
                        <a:pt x="125" y="344"/>
                      </a:lnTo>
                      <a:lnTo>
                        <a:pt x="123" y="346"/>
                      </a:lnTo>
                      <a:lnTo>
                        <a:pt x="121" y="347"/>
                      </a:lnTo>
                      <a:lnTo>
                        <a:pt x="118" y="349"/>
                      </a:lnTo>
                      <a:lnTo>
                        <a:pt x="117" y="351"/>
                      </a:lnTo>
                      <a:lnTo>
                        <a:pt x="117" y="351"/>
                      </a:lnTo>
                      <a:lnTo>
                        <a:pt x="116" y="352"/>
                      </a:lnTo>
                      <a:lnTo>
                        <a:pt x="114" y="351"/>
                      </a:lnTo>
                      <a:lnTo>
                        <a:pt x="106" y="347"/>
                      </a:lnTo>
                      <a:lnTo>
                        <a:pt x="109" y="348"/>
                      </a:lnTo>
                      <a:lnTo>
                        <a:pt x="109" y="349"/>
                      </a:lnTo>
                      <a:lnTo>
                        <a:pt x="107" y="352"/>
                      </a:lnTo>
                      <a:lnTo>
                        <a:pt x="104" y="354"/>
                      </a:lnTo>
                      <a:lnTo>
                        <a:pt x="100" y="354"/>
                      </a:lnTo>
                      <a:lnTo>
                        <a:pt x="102" y="357"/>
                      </a:lnTo>
                      <a:lnTo>
                        <a:pt x="95" y="358"/>
                      </a:lnTo>
                      <a:lnTo>
                        <a:pt x="96" y="362"/>
                      </a:lnTo>
                      <a:lnTo>
                        <a:pt x="93" y="363"/>
                      </a:lnTo>
                      <a:lnTo>
                        <a:pt x="90" y="365"/>
                      </a:lnTo>
                      <a:lnTo>
                        <a:pt x="88" y="368"/>
                      </a:lnTo>
                      <a:lnTo>
                        <a:pt x="85" y="370"/>
                      </a:lnTo>
                      <a:lnTo>
                        <a:pt x="77" y="374"/>
                      </a:lnTo>
                      <a:lnTo>
                        <a:pt x="68" y="378"/>
                      </a:lnTo>
                      <a:lnTo>
                        <a:pt x="63" y="379"/>
                      </a:lnTo>
                      <a:lnTo>
                        <a:pt x="59" y="380"/>
                      </a:lnTo>
                      <a:lnTo>
                        <a:pt x="56" y="380"/>
                      </a:lnTo>
                      <a:lnTo>
                        <a:pt x="52" y="379"/>
                      </a:lnTo>
                      <a:lnTo>
                        <a:pt x="48" y="379"/>
                      </a:lnTo>
                      <a:lnTo>
                        <a:pt x="43" y="379"/>
                      </a:lnTo>
                      <a:lnTo>
                        <a:pt x="40" y="379"/>
                      </a:lnTo>
                      <a:lnTo>
                        <a:pt x="36" y="376"/>
                      </a:lnTo>
                      <a:lnTo>
                        <a:pt x="42" y="373"/>
                      </a:lnTo>
                      <a:lnTo>
                        <a:pt x="39" y="374"/>
                      </a:lnTo>
                      <a:lnTo>
                        <a:pt x="32" y="373"/>
                      </a:lnTo>
                      <a:lnTo>
                        <a:pt x="26" y="370"/>
                      </a:lnTo>
                      <a:lnTo>
                        <a:pt x="20" y="368"/>
                      </a:lnTo>
                      <a:lnTo>
                        <a:pt x="15" y="363"/>
                      </a:lnTo>
                      <a:lnTo>
                        <a:pt x="13" y="359"/>
                      </a:lnTo>
                      <a:lnTo>
                        <a:pt x="13" y="355"/>
                      </a:lnTo>
                      <a:lnTo>
                        <a:pt x="15" y="352"/>
                      </a:lnTo>
                      <a:lnTo>
                        <a:pt x="13" y="351"/>
                      </a:lnTo>
                      <a:lnTo>
                        <a:pt x="16" y="351"/>
                      </a:lnTo>
                      <a:lnTo>
                        <a:pt x="20" y="353"/>
                      </a:lnTo>
                      <a:lnTo>
                        <a:pt x="24" y="354"/>
                      </a:lnTo>
                      <a:lnTo>
                        <a:pt x="29" y="354"/>
                      </a:lnTo>
                      <a:lnTo>
                        <a:pt x="25" y="352"/>
                      </a:lnTo>
                      <a:lnTo>
                        <a:pt x="31" y="351"/>
                      </a:lnTo>
                      <a:lnTo>
                        <a:pt x="37" y="348"/>
                      </a:lnTo>
                      <a:lnTo>
                        <a:pt x="30" y="351"/>
                      </a:lnTo>
                      <a:lnTo>
                        <a:pt x="24" y="353"/>
                      </a:lnTo>
                      <a:lnTo>
                        <a:pt x="24" y="349"/>
                      </a:lnTo>
                      <a:lnTo>
                        <a:pt x="21" y="347"/>
                      </a:lnTo>
                      <a:lnTo>
                        <a:pt x="27" y="346"/>
                      </a:lnTo>
                      <a:lnTo>
                        <a:pt x="25" y="346"/>
                      </a:lnTo>
                      <a:lnTo>
                        <a:pt x="25" y="344"/>
                      </a:lnTo>
                      <a:lnTo>
                        <a:pt x="27" y="343"/>
                      </a:lnTo>
                      <a:lnTo>
                        <a:pt x="32" y="342"/>
                      </a:lnTo>
                      <a:lnTo>
                        <a:pt x="35" y="341"/>
                      </a:lnTo>
                      <a:lnTo>
                        <a:pt x="30" y="341"/>
                      </a:lnTo>
                      <a:lnTo>
                        <a:pt x="27" y="342"/>
                      </a:lnTo>
                      <a:lnTo>
                        <a:pt x="26" y="342"/>
                      </a:lnTo>
                      <a:lnTo>
                        <a:pt x="27" y="341"/>
                      </a:lnTo>
                      <a:lnTo>
                        <a:pt x="30" y="341"/>
                      </a:lnTo>
                      <a:lnTo>
                        <a:pt x="24" y="339"/>
                      </a:lnTo>
                      <a:lnTo>
                        <a:pt x="30" y="336"/>
                      </a:lnTo>
                      <a:lnTo>
                        <a:pt x="36" y="333"/>
                      </a:lnTo>
                      <a:lnTo>
                        <a:pt x="34" y="333"/>
                      </a:lnTo>
                      <a:lnTo>
                        <a:pt x="32" y="333"/>
                      </a:lnTo>
                      <a:lnTo>
                        <a:pt x="30" y="333"/>
                      </a:lnTo>
                      <a:lnTo>
                        <a:pt x="29" y="335"/>
                      </a:lnTo>
                      <a:lnTo>
                        <a:pt x="26" y="337"/>
                      </a:lnTo>
                      <a:lnTo>
                        <a:pt x="23" y="339"/>
                      </a:lnTo>
                      <a:lnTo>
                        <a:pt x="23" y="337"/>
                      </a:lnTo>
                      <a:lnTo>
                        <a:pt x="25" y="336"/>
                      </a:lnTo>
                      <a:lnTo>
                        <a:pt x="21" y="336"/>
                      </a:lnTo>
                      <a:lnTo>
                        <a:pt x="16" y="338"/>
                      </a:lnTo>
                      <a:lnTo>
                        <a:pt x="19" y="337"/>
                      </a:lnTo>
                      <a:lnTo>
                        <a:pt x="20" y="339"/>
                      </a:lnTo>
                      <a:lnTo>
                        <a:pt x="18" y="341"/>
                      </a:lnTo>
                      <a:lnTo>
                        <a:pt x="15" y="341"/>
                      </a:lnTo>
                      <a:lnTo>
                        <a:pt x="15" y="335"/>
                      </a:lnTo>
                      <a:lnTo>
                        <a:pt x="11" y="337"/>
                      </a:lnTo>
                      <a:lnTo>
                        <a:pt x="13" y="337"/>
                      </a:lnTo>
                      <a:lnTo>
                        <a:pt x="14" y="338"/>
                      </a:lnTo>
                      <a:lnTo>
                        <a:pt x="13" y="341"/>
                      </a:lnTo>
                      <a:lnTo>
                        <a:pt x="10" y="342"/>
                      </a:lnTo>
                      <a:lnTo>
                        <a:pt x="10" y="341"/>
                      </a:lnTo>
                      <a:lnTo>
                        <a:pt x="10" y="338"/>
                      </a:lnTo>
                      <a:lnTo>
                        <a:pt x="10" y="341"/>
                      </a:lnTo>
                      <a:lnTo>
                        <a:pt x="8" y="341"/>
                      </a:lnTo>
                      <a:lnTo>
                        <a:pt x="7" y="338"/>
                      </a:lnTo>
                      <a:lnTo>
                        <a:pt x="7" y="336"/>
                      </a:lnTo>
                      <a:lnTo>
                        <a:pt x="8" y="332"/>
                      </a:lnTo>
                      <a:lnTo>
                        <a:pt x="13" y="328"/>
                      </a:lnTo>
                      <a:lnTo>
                        <a:pt x="11" y="333"/>
                      </a:lnTo>
                      <a:lnTo>
                        <a:pt x="10" y="335"/>
                      </a:lnTo>
                      <a:lnTo>
                        <a:pt x="8" y="335"/>
                      </a:lnTo>
                      <a:lnTo>
                        <a:pt x="10" y="336"/>
                      </a:lnTo>
                      <a:lnTo>
                        <a:pt x="11" y="335"/>
                      </a:lnTo>
                      <a:lnTo>
                        <a:pt x="13" y="332"/>
                      </a:lnTo>
                      <a:lnTo>
                        <a:pt x="15" y="331"/>
                      </a:lnTo>
                      <a:lnTo>
                        <a:pt x="16" y="331"/>
                      </a:lnTo>
                      <a:lnTo>
                        <a:pt x="20" y="331"/>
                      </a:lnTo>
                      <a:lnTo>
                        <a:pt x="23" y="330"/>
                      </a:lnTo>
                      <a:lnTo>
                        <a:pt x="20" y="330"/>
                      </a:lnTo>
                      <a:lnTo>
                        <a:pt x="19" y="330"/>
                      </a:lnTo>
                      <a:lnTo>
                        <a:pt x="21" y="328"/>
                      </a:lnTo>
                      <a:lnTo>
                        <a:pt x="25" y="327"/>
                      </a:lnTo>
                      <a:lnTo>
                        <a:pt x="27" y="326"/>
                      </a:lnTo>
                      <a:lnTo>
                        <a:pt x="21" y="327"/>
                      </a:lnTo>
                      <a:lnTo>
                        <a:pt x="16" y="325"/>
                      </a:lnTo>
                      <a:lnTo>
                        <a:pt x="23" y="320"/>
                      </a:lnTo>
                      <a:lnTo>
                        <a:pt x="26" y="317"/>
                      </a:lnTo>
                      <a:lnTo>
                        <a:pt x="30" y="316"/>
                      </a:lnTo>
                      <a:lnTo>
                        <a:pt x="27" y="316"/>
                      </a:lnTo>
                      <a:lnTo>
                        <a:pt x="27" y="315"/>
                      </a:lnTo>
                      <a:lnTo>
                        <a:pt x="30" y="311"/>
                      </a:lnTo>
                      <a:lnTo>
                        <a:pt x="35" y="309"/>
                      </a:lnTo>
                      <a:lnTo>
                        <a:pt x="39" y="308"/>
                      </a:lnTo>
                      <a:lnTo>
                        <a:pt x="39" y="309"/>
                      </a:lnTo>
                      <a:lnTo>
                        <a:pt x="39" y="311"/>
                      </a:lnTo>
                      <a:lnTo>
                        <a:pt x="36" y="315"/>
                      </a:lnTo>
                      <a:lnTo>
                        <a:pt x="40" y="311"/>
                      </a:lnTo>
                      <a:lnTo>
                        <a:pt x="42" y="309"/>
                      </a:lnTo>
                      <a:lnTo>
                        <a:pt x="46" y="306"/>
                      </a:lnTo>
                      <a:lnTo>
                        <a:pt x="51" y="305"/>
                      </a:lnTo>
                      <a:lnTo>
                        <a:pt x="41" y="305"/>
                      </a:lnTo>
                      <a:lnTo>
                        <a:pt x="32" y="308"/>
                      </a:lnTo>
                      <a:lnTo>
                        <a:pt x="30" y="309"/>
                      </a:lnTo>
                      <a:lnTo>
                        <a:pt x="27" y="310"/>
                      </a:lnTo>
                      <a:lnTo>
                        <a:pt x="26" y="312"/>
                      </a:lnTo>
                      <a:lnTo>
                        <a:pt x="24" y="314"/>
                      </a:lnTo>
                      <a:lnTo>
                        <a:pt x="23" y="317"/>
                      </a:lnTo>
                      <a:lnTo>
                        <a:pt x="20" y="319"/>
                      </a:lnTo>
                      <a:lnTo>
                        <a:pt x="20" y="319"/>
                      </a:lnTo>
                      <a:lnTo>
                        <a:pt x="19" y="319"/>
                      </a:lnTo>
                      <a:lnTo>
                        <a:pt x="18" y="315"/>
                      </a:lnTo>
                      <a:lnTo>
                        <a:pt x="16" y="314"/>
                      </a:lnTo>
                      <a:lnTo>
                        <a:pt x="15" y="314"/>
                      </a:lnTo>
                      <a:lnTo>
                        <a:pt x="16" y="309"/>
                      </a:lnTo>
                      <a:lnTo>
                        <a:pt x="15" y="310"/>
                      </a:lnTo>
                      <a:lnTo>
                        <a:pt x="14" y="312"/>
                      </a:lnTo>
                      <a:lnTo>
                        <a:pt x="11" y="315"/>
                      </a:lnTo>
                      <a:lnTo>
                        <a:pt x="9" y="315"/>
                      </a:lnTo>
                      <a:lnTo>
                        <a:pt x="8" y="314"/>
                      </a:lnTo>
                      <a:lnTo>
                        <a:pt x="8" y="311"/>
                      </a:lnTo>
                      <a:lnTo>
                        <a:pt x="7" y="310"/>
                      </a:lnTo>
                      <a:lnTo>
                        <a:pt x="5" y="309"/>
                      </a:lnTo>
                      <a:lnTo>
                        <a:pt x="8" y="306"/>
                      </a:lnTo>
                      <a:lnTo>
                        <a:pt x="9" y="304"/>
                      </a:lnTo>
                      <a:lnTo>
                        <a:pt x="10" y="306"/>
                      </a:lnTo>
                      <a:lnTo>
                        <a:pt x="13" y="308"/>
                      </a:lnTo>
                      <a:lnTo>
                        <a:pt x="15" y="306"/>
                      </a:lnTo>
                      <a:lnTo>
                        <a:pt x="18" y="301"/>
                      </a:lnTo>
                      <a:lnTo>
                        <a:pt x="18" y="298"/>
                      </a:lnTo>
                      <a:lnTo>
                        <a:pt x="15" y="299"/>
                      </a:lnTo>
                      <a:lnTo>
                        <a:pt x="13" y="300"/>
                      </a:lnTo>
                      <a:lnTo>
                        <a:pt x="10" y="303"/>
                      </a:lnTo>
                      <a:lnTo>
                        <a:pt x="8" y="303"/>
                      </a:lnTo>
                      <a:lnTo>
                        <a:pt x="5" y="301"/>
                      </a:lnTo>
                      <a:lnTo>
                        <a:pt x="4" y="300"/>
                      </a:lnTo>
                      <a:lnTo>
                        <a:pt x="3" y="298"/>
                      </a:lnTo>
                      <a:lnTo>
                        <a:pt x="0" y="295"/>
                      </a:lnTo>
                      <a:lnTo>
                        <a:pt x="5" y="296"/>
                      </a:lnTo>
                      <a:lnTo>
                        <a:pt x="10" y="300"/>
                      </a:lnTo>
                      <a:lnTo>
                        <a:pt x="10" y="295"/>
                      </a:lnTo>
                      <a:lnTo>
                        <a:pt x="10" y="294"/>
                      </a:lnTo>
                      <a:lnTo>
                        <a:pt x="13" y="294"/>
                      </a:lnTo>
                      <a:lnTo>
                        <a:pt x="9" y="294"/>
                      </a:lnTo>
                      <a:lnTo>
                        <a:pt x="7" y="295"/>
                      </a:lnTo>
                      <a:lnTo>
                        <a:pt x="3" y="295"/>
                      </a:lnTo>
                      <a:lnTo>
                        <a:pt x="2" y="292"/>
                      </a:lnTo>
                      <a:lnTo>
                        <a:pt x="4" y="293"/>
                      </a:lnTo>
                      <a:lnTo>
                        <a:pt x="7" y="290"/>
                      </a:lnTo>
                      <a:lnTo>
                        <a:pt x="4" y="290"/>
                      </a:lnTo>
                      <a:lnTo>
                        <a:pt x="3" y="289"/>
                      </a:lnTo>
                      <a:lnTo>
                        <a:pt x="4" y="288"/>
                      </a:lnTo>
                      <a:lnTo>
                        <a:pt x="7" y="288"/>
                      </a:lnTo>
                      <a:lnTo>
                        <a:pt x="11" y="288"/>
                      </a:lnTo>
                      <a:lnTo>
                        <a:pt x="15" y="288"/>
                      </a:lnTo>
                      <a:lnTo>
                        <a:pt x="24" y="287"/>
                      </a:lnTo>
                      <a:lnTo>
                        <a:pt x="27" y="287"/>
                      </a:lnTo>
                      <a:lnTo>
                        <a:pt x="31" y="287"/>
                      </a:lnTo>
                      <a:lnTo>
                        <a:pt x="35" y="288"/>
                      </a:lnTo>
                      <a:lnTo>
                        <a:pt x="39" y="287"/>
                      </a:lnTo>
                      <a:lnTo>
                        <a:pt x="42" y="285"/>
                      </a:lnTo>
                      <a:lnTo>
                        <a:pt x="46" y="288"/>
                      </a:lnTo>
                      <a:lnTo>
                        <a:pt x="47" y="290"/>
                      </a:lnTo>
                      <a:lnTo>
                        <a:pt x="47" y="292"/>
                      </a:lnTo>
                      <a:lnTo>
                        <a:pt x="45" y="292"/>
                      </a:lnTo>
                      <a:lnTo>
                        <a:pt x="48" y="292"/>
                      </a:lnTo>
                      <a:lnTo>
                        <a:pt x="51" y="292"/>
                      </a:lnTo>
                      <a:lnTo>
                        <a:pt x="50" y="290"/>
                      </a:lnTo>
                      <a:lnTo>
                        <a:pt x="50" y="288"/>
                      </a:lnTo>
                      <a:lnTo>
                        <a:pt x="53" y="285"/>
                      </a:lnTo>
                      <a:lnTo>
                        <a:pt x="58" y="284"/>
                      </a:lnTo>
                      <a:lnTo>
                        <a:pt x="62" y="284"/>
                      </a:lnTo>
                      <a:lnTo>
                        <a:pt x="58" y="283"/>
                      </a:lnTo>
                      <a:lnTo>
                        <a:pt x="57" y="280"/>
                      </a:lnTo>
                      <a:lnTo>
                        <a:pt x="58" y="278"/>
                      </a:lnTo>
                      <a:lnTo>
                        <a:pt x="62" y="276"/>
                      </a:lnTo>
                      <a:lnTo>
                        <a:pt x="59" y="277"/>
                      </a:lnTo>
                      <a:lnTo>
                        <a:pt x="57" y="279"/>
                      </a:lnTo>
                      <a:lnTo>
                        <a:pt x="56" y="282"/>
                      </a:lnTo>
                      <a:lnTo>
                        <a:pt x="57" y="284"/>
                      </a:lnTo>
                      <a:lnTo>
                        <a:pt x="52" y="285"/>
                      </a:lnTo>
                      <a:lnTo>
                        <a:pt x="48" y="285"/>
                      </a:lnTo>
                      <a:lnTo>
                        <a:pt x="51" y="283"/>
                      </a:lnTo>
                      <a:lnTo>
                        <a:pt x="47" y="284"/>
                      </a:lnTo>
                      <a:lnTo>
                        <a:pt x="42" y="284"/>
                      </a:lnTo>
                      <a:lnTo>
                        <a:pt x="40" y="283"/>
                      </a:lnTo>
                      <a:lnTo>
                        <a:pt x="40" y="282"/>
                      </a:lnTo>
                      <a:lnTo>
                        <a:pt x="41" y="279"/>
                      </a:lnTo>
                      <a:lnTo>
                        <a:pt x="39" y="280"/>
                      </a:lnTo>
                      <a:lnTo>
                        <a:pt x="39" y="282"/>
                      </a:lnTo>
                      <a:lnTo>
                        <a:pt x="36" y="285"/>
                      </a:lnTo>
                      <a:lnTo>
                        <a:pt x="34" y="287"/>
                      </a:lnTo>
                      <a:lnTo>
                        <a:pt x="31" y="287"/>
                      </a:lnTo>
                      <a:lnTo>
                        <a:pt x="26" y="284"/>
                      </a:lnTo>
                      <a:lnTo>
                        <a:pt x="20" y="285"/>
                      </a:lnTo>
                      <a:lnTo>
                        <a:pt x="14" y="287"/>
                      </a:lnTo>
                      <a:lnTo>
                        <a:pt x="11" y="287"/>
                      </a:lnTo>
                      <a:lnTo>
                        <a:pt x="9" y="287"/>
                      </a:lnTo>
                      <a:lnTo>
                        <a:pt x="4" y="284"/>
                      </a:lnTo>
                      <a:lnTo>
                        <a:pt x="7" y="284"/>
                      </a:lnTo>
                      <a:lnTo>
                        <a:pt x="7" y="283"/>
                      </a:lnTo>
                      <a:lnTo>
                        <a:pt x="5" y="282"/>
                      </a:lnTo>
                      <a:lnTo>
                        <a:pt x="4" y="280"/>
                      </a:lnTo>
                      <a:lnTo>
                        <a:pt x="10" y="279"/>
                      </a:lnTo>
                      <a:lnTo>
                        <a:pt x="15" y="279"/>
                      </a:lnTo>
                      <a:lnTo>
                        <a:pt x="10" y="278"/>
                      </a:lnTo>
                      <a:lnTo>
                        <a:pt x="4" y="280"/>
                      </a:lnTo>
                      <a:lnTo>
                        <a:pt x="5" y="277"/>
                      </a:lnTo>
                      <a:lnTo>
                        <a:pt x="2" y="278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4" name="Freeform 1779">
                  <a:extLst>
                    <a:ext uri="{FF2B5EF4-FFF2-40B4-BE49-F238E27FC236}">
                      <a16:creationId xmlns:a16="http://schemas.microsoft.com/office/drawing/2014/main" id="{7B943403-4078-43C7-A6DB-393C181162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5788" y="5407943"/>
                  <a:ext cx="6716" cy="2653"/>
                </a:xfrm>
                <a:custGeom>
                  <a:avLst/>
                  <a:gdLst>
                    <a:gd name="T0" fmla="*/ 4 w 6"/>
                    <a:gd name="T1" fmla="*/ 2 h 2"/>
                    <a:gd name="T2" fmla="*/ 0 w 6"/>
                    <a:gd name="T3" fmla="*/ 0 h 2"/>
                    <a:gd name="T4" fmla="*/ 4 w 6"/>
                    <a:gd name="T5" fmla="*/ 0 h 2"/>
                    <a:gd name="T6" fmla="*/ 6 w 6"/>
                    <a:gd name="T7" fmla="*/ 2 h 2"/>
                    <a:gd name="T8" fmla="*/ 4 w 6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2">
                      <a:moveTo>
                        <a:pt x="4" y="2"/>
                      </a:move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6" y="2"/>
                      </a:lnTo>
                      <a:lnTo>
                        <a:pt x="4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5" name="Freeform 1780">
                  <a:extLst>
                    <a:ext uri="{FF2B5EF4-FFF2-40B4-BE49-F238E27FC236}">
                      <a16:creationId xmlns:a16="http://schemas.microsoft.com/office/drawing/2014/main" id="{5074F1EA-ABC4-4D77-BBD9-A5399EBB80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5788" y="5360205"/>
                  <a:ext cx="11193" cy="2653"/>
                </a:xfrm>
                <a:custGeom>
                  <a:avLst/>
                  <a:gdLst>
                    <a:gd name="T0" fmla="*/ 6 w 10"/>
                    <a:gd name="T1" fmla="*/ 0 h 1"/>
                    <a:gd name="T2" fmla="*/ 10 w 10"/>
                    <a:gd name="T3" fmla="*/ 1 h 1"/>
                    <a:gd name="T4" fmla="*/ 5 w 10"/>
                    <a:gd name="T5" fmla="*/ 1 h 1"/>
                    <a:gd name="T6" fmla="*/ 0 w 10"/>
                    <a:gd name="T7" fmla="*/ 0 h 1"/>
                    <a:gd name="T8" fmla="*/ 4 w 10"/>
                    <a:gd name="T9" fmla="*/ 0 h 1"/>
                    <a:gd name="T10" fmla="*/ 6 w 10"/>
                    <a:gd name="T11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" h="1">
                      <a:moveTo>
                        <a:pt x="6" y="0"/>
                      </a:moveTo>
                      <a:lnTo>
                        <a:pt x="10" y="1"/>
                      </a:lnTo>
                      <a:lnTo>
                        <a:pt x="5" y="1"/>
                      </a:ln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6" name="Freeform 1781">
                  <a:extLst>
                    <a:ext uri="{FF2B5EF4-FFF2-40B4-BE49-F238E27FC236}">
                      <a16:creationId xmlns:a16="http://schemas.microsoft.com/office/drawing/2014/main" id="{A8C902E5-2EAB-4865-A604-1E3C325F2E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6981" y="5407943"/>
                  <a:ext cx="8954" cy="10609"/>
                </a:xfrm>
                <a:custGeom>
                  <a:avLst/>
                  <a:gdLst>
                    <a:gd name="T0" fmla="*/ 5 w 9"/>
                    <a:gd name="T1" fmla="*/ 7 h 7"/>
                    <a:gd name="T2" fmla="*/ 0 w 9"/>
                    <a:gd name="T3" fmla="*/ 5 h 7"/>
                    <a:gd name="T4" fmla="*/ 5 w 9"/>
                    <a:gd name="T5" fmla="*/ 2 h 7"/>
                    <a:gd name="T6" fmla="*/ 9 w 9"/>
                    <a:gd name="T7" fmla="*/ 0 h 7"/>
                    <a:gd name="T8" fmla="*/ 9 w 9"/>
                    <a:gd name="T9" fmla="*/ 5 h 7"/>
                    <a:gd name="T10" fmla="*/ 7 w 9"/>
                    <a:gd name="T11" fmla="*/ 6 h 7"/>
                    <a:gd name="T12" fmla="*/ 5 w 9"/>
                    <a:gd name="T13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7">
                      <a:moveTo>
                        <a:pt x="5" y="7"/>
                      </a:moveTo>
                      <a:lnTo>
                        <a:pt x="0" y="5"/>
                      </a:lnTo>
                      <a:lnTo>
                        <a:pt x="5" y="2"/>
                      </a:lnTo>
                      <a:lnTo>
                        <a:pt x="9" y="0"/>
                      </a:lnTo>
                      <a:lnTo>
                        <a:pt x="9" y="5"/>
                      </a:lnTo>
                      <a:lnTo>
                        <a:pt x="7" y="6"/>
                      </a:lnTo>
                      <a:lnTo>
                        <a:pt x="5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7" name="Freeform 1782">
                  <a:extLst>
                    <a:ext uri="{FF2B5EF4-FFF2-40B4-BE49-F238E27FC236}">
                      <a16:creationId xmlns:a16="http://schemas.microsoft.com/office/drawing/2014/main" id="{F7661E80-2EAB-4532-9651-2F374694282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7126" y="5453029"/>
                  <a:ext cx="8954" cy="2653"/>
                </a:xfrm>
                <a:custGeom>
                  <a:avLst/>
                  <a:gdLst>
                    <a:gd name="T0" fmla="*/ 0 w 9"/>
                    <a:gd name="T1" fmla="*/ 3 h 3"/>
                    <a:gd name="T2" fmla="*/ 2 w 9"/>
                    <a:gd name="T3" fmla="*/ 0 h 3"/>
                    <a:gd name="T4" fmla="*/ 4 w 9"/>
                    <a:gd name="T5" fmla="*/ 0 h 3"/>
                    <a:gd name="T6" fmla="*/ 7 w 9"/>
                    <a:gd name="T7" fmla="*/ 0 h 3"/>
                    <a:gd name="T8" fmla="*/ 9 w 9"/>
                    <a:gd name="T9" fmla="*/ 0 h 3"/>
                    <a:gd name="T10" fmla="*/ 5 w 9"/>
                    <a:gd name="T11" fmla="*/ 2 h 3"/>
                    <a:gd name="T12" fmla="*/ 0 w 9"/>
                    <a:gd name="T13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3">
                      <a:moveTo>
                        <a:pt x="0" y="3"/>
                      </a:move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7" y="0"/>
                      </a:lnTo>
                      <a:lnTo>
                        <a:pt x="9" y="0"/>
                      </a:lnTo>
                      <a:lnTo>
                        <a:pt x="5" y="2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8" name="Freeform 1783">
                  <a:extLst>
                    <a:ext uri="{FF2B5EF4-FFF2-40B4-BE49-F238E27FC236}">
                      <a16:creationId xmlns:a16="http://schemas.microsoft.com/office/drawing/2014/main" id="{386F4D41-6ACB-4979-8F04-3949A303DB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09659" y="5312468"/>
                  <a:ext cx="2240" cy="5304"/>
                </a:xfrm>
                <a:custGeom>
                  <a:avLst/>
                  <a:gdLst>
                    <a:gd name="T0" fmla="*/ 0 w 1"/>
                    <a:gd name="T1" fmla="*/ 2 h 2"/>
                    <a:gd name="T2" fmla="*/ 1 w 1"/>
                    <a:gd name="T3" fmla="*/ 0 h 2"/>
                    <a:gd name="T4" fmla="*/ 1 w 1"/>
                    <a:gd name="T5" fmla="*/ 1 h 2"/>
                    <a:gd name="T6" fmla="*/ 0 w 1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2">
                      <a:moveTo>
                        <a:pt x="0" y="2"/>
                      </a:move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9" name="Freeform 1784">
                  <a:extLst>
                    <a:ext uri="{FF2B5EF4-FFF2-40B4-BE49-F238E27FC236}">
                      <a16:creationId xmlns:a16="http://schemas.microsoft.com/office/drawing/2014/main" id="{D97FEEC4-1E0C-4C5E-B416-DDBBF12CE7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31233" y="5055218"/>
                  <a:ext cx="8954" cy="2653"/>
                </a:xfrm>
                <a:custGeom>
                  <a:avLst/>
                  <a:gdLst>
                    <a:gd name="T0" fmla="*/ 2 w 6"/>
                    <a:gd name="T1" fmla="*/ 0 h 3"/>
                    <a:gd name="T2" fmla="*/ 0 w 6"/>
                    <a:gd name="T3" fmla="*/ 0 h 3"/>
                    <a:gd name="T4" fmla="*/ 0 w 6"/>
                    <a:gd name="T5" fmla="*/ 3 h 3"/>
                    <a:gd name="T6" fmla="*/ 2 w 6"/>
                    <a:gd name="T7" fmla="*/ 3 h 3"/>
                    <a:gd name="T8" fmla="*/ 6 w 6"/>
                    <a:gd name="T9" fmla="*/ 2 h 3"/>
                    <a:gd name="T10" fmla="*/ 4 w 6"/>
                    <a:gd name="T11" fmla="*/ 3 h 3"/>
                    <a:gd name="T12" fmla="*/ 2 w 6"/>
                    <a:gd name="T13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6" y="2"/>
                      </a:lnTo>
                      <a:lnTo>
                        <a:pt x="4" y="3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0" name="Freeform 1785">
                  <a:extLst>
                    <a:ext uri="{FF2B5EF4-FFF2-40B4-BE49-F238E27FC236}">
                      <a16:creationId xmlns:a16="http://schemas.microsoft.com/office/drawing/2014/main" id="{A3869061-0562-409E-9A3E-579AC5DE2A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2426" y="5914490"/>
                  <a:ext cx="105211" cy="127299"/>
                </a:xfrm>
                <a:custGeom>
                  <a:avLst/>
                  <a:gdLst>
                    <a:gd name="T0" fmla="*/ 2 w 94"/>
                    <a:gd name="T1" fmla="*/ 6 h 97"/>
                    <a:gd name="T2" fmla="*/ 3 w 94"/>
                    <a:gd name="T3" fmla="*/ 4 h 97"/>
                    <a:gd name="T4" fmla="*/ 8 w 94"/>
                    <a:gd name="T5" fmla="*/ 2 h 97"/>
                    <a:gd name="T6" fmla="*/ 22 w 94"/>
                    <a:gd name="T7" fmla="*/ 0 h 97"/>
                    <a:gd name="T8" fmla="*/ 27 w 94"/>
                    <a:gd name="T9" fmla="*/ 0 h 97"/>
                    <a:gd name="T10" fmla="*/ 36 w 94"/>
                    <a:gd name="T11" fmla="*/ 9 h 97"/>
                    <a:gd name="T12" fmla="*/ 43 w 94"/>
                    <a:gd name="T13" fmla="*/ 10 h 97"/>
                    <a:gd name="T14" fmla="*/ 45 w 94"/>
                    <a:gd name="T15" fmla="*/ 11 h 97"/>
                    <a:gd name="T16" fmla="*/ 47 w 94"/>
                    <a:gd name="T17" fmla="*/ 14 h 97"/>
                    <a:gd name="T18" fmla="*/ 51 w 94"/>
                    <a:gd name="T19" fmla="*/ 10 h 97"/>
                    <a:gd name="T20" fmla="*/ 55 w 94"/>
                    <a:gd name="T21" fmla="*/ 14 h 97"/>
                    <a:gd name="T22" fmla="*/ 60 w 94"/>
                    <a:gd name="T23" fmla="*/ 17 h 97"/>
                    <a:gd name="T24" fmla="*/ 62 w 94"/>
                    <a:gd name="T25" fmla="*/ 16 h 97"/>
                    <a:gd name="T26" fmla="*/ 66 w 94"/>
                    <a:gd name="T27" fmla="*/ 20 h 97"/>
                    <a:gd name="T28" fmla="*/ 68 w 94"/>
                    <a:gd name="T29" fmla="*/ 26 h 97"/>
                    <a:gd name="T30" fmla="*/ 72 w 94"/>
                    <a:gd name="T31" fmla="*/ 32 h 97"/>
                    <a:gd name="T32" fmla="*/ 75 w 94"/>
                    <a:gd name="T33" fmla="*/ 38 h 97"/>
                    <a:gd name="T34" fmla="*/ 76 w 94"/>
                    <a:gd name="T35" fmla="*/ 38 h 97"/>
                    <a:gd name="T36" fmla="*/ 77 w 94"/>
                    <a:gd name="T37" fmla="*/ 38 h 97"/>
                    <a:gd name="T38" fmla="*/ 77 w 94"/>
                    <a:gd name="T39" fmla="*/ 45 h 97"/>
                    <a:gd name="T40" fmla="*/ 75 w 94"/>
                    <a:gd name="T41" fmla="*/ 49 h 97"/>
                    <a:gd name="T42" fmla="*/ 77 w 94"/>
                    <a:gd name="T43" fmla="*/ 47 h 97"/>
                    <a:gd name="T44" fmla="*/ 83 w 94"/>
                    <a:gd name="T45" fmla="*/ 48 h 97"/>
                    <a:gd name="T46" fmla="*/ 89 w 94"/>
                    <a:gd name="T47" fmla="*/ 54 h 97"/>
                    <a:gd name="T48" fmla="*/ 91 w 94"/>
                    <a:gd name="T49" fmla="*/ 60 h 97"/>
                    <a:gd name="T50" fmla="*/ 92 w 94"/>
                    <a:gd name="T51" fmla="*/ 64 h 97"/>
                    <a:gd name="T52" fmla="*/ 92 w 94"/>
                    <a:gd name="T53" fmla="*/ 68 h 97"/>
                    <a:gd name="T54" fmla="*/ 83 w 94"/>
                    <a:gd name="T55" fmla="*/ 66 h 97"/>
                    <a:gd name="T56" fmla="*/ 75 w 94"/>
                    <a:gd name="T57" fmla="*/ 65 h 97"/>
                    <a:gd name="T58" fmla="*/ 71 w 94"/>
                    <a:gd name="T59" fmla="*/ 63 h 97"/>
                    <a:gd name="T60" fmla="*/ 66 w 94"/>
                    <a:gd name="T61" fmla="*/ 65 h 97"/>
                    <a:gd name="T62" fmla="*/ 66 w 94"/>
                    <a:gd name="T63" fmla="*/ 75 h 97"/>
                    <a:gd name="T64" fmla="*/ 63 w 94"/>
                    <a:gd name="T65" fmla="*/ 80 h 97"/>
                    <a:gd name="T66" fmla="*/ 56 w 94"/>
                    <a:gd name="T67" fmla="*/ 92 h 97"/>
                    <a:gd name="T68" fmla="*/ 55 w 94"/>
                    <a:gd name="T69" fmla="*/ 96 h 97"/>
                    <a:gd name="T70" fmla="*/ 50 w 94"/>
                    <a:gd name="T71" fmla="*/ 96 h 97"/>
                    <a:gd name="T72" fmla="*/ 47 w 94"/>
                    <a:gd name="T73" fmla="*/ 96 h 97"/>
                    <a:gd name="T74" fmla="*/ 45 w 94"/>
                    <a:gd name="T75" fmla="*/ 89 h 97"/>
                    <a:gd name="T76" fmla="*/ 44 w 94"/>
                    <a:gd name="T77" fmla="*/ 74 h 97"/>
                    <a:gd name="T78" fmla="*/ 45 w 94"/>
                    <a:gd name="T79" fmla="*/ 61 h 97"/>
                    <a:gd name="T80" fmla="*/ 41 w 94"/>
                    <a:gd name="T81" fmla="*/ 52 h 97"/>
                    <a:gd name="T82" fmla="*/ 35 w 94"/>
                    <a:gd name="T83" fmla="*/ 44 h 97"/>
                    <a:gd name="T84" fmla="*/ 25 w 94"/>
                    <a:gd name="T85" fmla="*/ 34 h 97"/>
                    <a:gd name="T86" fmla="*/ 18 w 94"/>
                    <a:gd name="T87" fmla="*/ 23 h 97"/>
                    <a:gd name="T88" fmla="*/ 6 w 94"/>
                    <a:gd name="T89" fmla="*/ 9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94" h="97">
                      <a:moveTo>
                        <a:pt x="0" y="7"/>
                      </a:moveTo>
                      <a:lnTo>
                        <a:pt x="2" y="6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6" y="2"/>
                      </a:lnTo>
                      <a:lnTo>
                        <a:pt x="8" y="2"/>
                      </a:lnTo>
                      <a:lnTo>
                        <a:pt x="15" y="2"/>
                      </a:lnTo>
                      <a:lnTo>
                        <a:pt x="22" y="0"/>
                      </a:lnTo>
                      <a:lnTo>
                        <a:pt x="24" y="0"/>
                      </a:lnTo>
                      <a:lnTo>
                        <a:pt x="27" y="0"/>
                      </a:lnTo>
                      <a:lnTo>
                        <a:pt x="31" y="5"/>
                      </a:lnTo>
                      <a:lnTo>
                        <a:pt x="36" y="9"/>
                      </a:lnTo>
                      <a:lnTo>
                        <a:pt x="40" y="10"/>
                      </a:lnTo>
                      <a:lnTo>
                        <a:pt x="43" y="10"/>
                      </a:lnTo>
                      <a:lnTo>
                        <a:pt x="44" y="11"/>
                      </a:lnTo>
                      <a:lnTo>
                        <a:pt x="45" y="11"/>
                      </a:lnTo>
                      <a:lnTo>
                        <a:pt x="46" y="11"/>
                      </a:lnTo>
                      <a:lnTo>
                        <a:pt x="47" y="14"/>
                      </a:lnTo>
                      <a:lnTo>
                        <a:pt x="49" y="11"/>
                      </a:lnTo>
                      <a:lnTo>
                        <a:pt x="51" y="10"/>
                      </a:lnTo>
                      <a:lnTo>
                        <a:pt x="54" y="11"/>
                      </a:lnTo>
                      <a:lnTo>
                        <a:pt x="55" y="14"/>
                      </a:lnTo>
                      <a:lnTo>
                        <a:pt x="59" y="16"/>
                      </a:lnTo>
                      <a:lnTo>
                        <a:pt x="60" y="17"/>
                      </a:lnTo>
                      <a:lnTo>
                        <a:pt x="61" y="16"/>
                      </a:lnTo>
                      <a:lnTo>
                        <a:pt x="62" y="16"/>
                      </a:lnTo>
                      <a:lnTo>
                        <a:pt x="63" y="16"/>
                      </a:lnTo>
                      <a:lnTo>
                        <a:pt x="66" y="20"/>
                      </a:lnTo>
                      <a:lnTo>
                        <a:pt x="67" y="23"/>
                      </a:lnTo>
                      <a:lnTo>
                        <a:pt x="68" y="26"/>
                      </a:lnTo>
                      <a:lnTo>
                        <a:pt x="70" y="28"/>
                      </a:lnTo>
                      <a:lnTo>
                        <a:pt x="72" y="32"/>
                      </a:lnTo>
                      <a:lnTo>
                        <a:pt x="73" y="36"/>
                      </a:lnTo>
                      <a:lnTo>
                        <a:pt x="75" y="38"/>
                      </a:lnTo>
                      <a:lnTo>
                        <a:pt x="75" y="38"/>
                      </a:lnTo>
                      <a:lnTo>
                        <a:pt x="76" y="38"/>
                      </a:lnTo>
                      <a:lnTo>
                        <a:pt x="77" y="37"/>
                      </a:lnTo>
                      <a:lnTo>
                        <a:pt x="77" y="38"/>
                      </a:lnTo>
                      <a:lnTo>
                        <a:pt x="78" y="42"/>
                      </a:lnTo>
                      <a:lnTo>
                        <a:pt x="77" y="45"/>
                      </a:lnTo>
                      <a:lnTo>
                        <a:pt x="76" y="49"/>
                      </a:lnTo>
                      <a:lnTo>
                        <a:pt x="75" y="49"/>
                      </a:lnTo>
                      <a:lnTo>
                        <a:pt x="75" y="48"/>
                      </a:lnTo>
                      <a:lnTo>
                        <a:pt x="77" y="47"/>
                      </a:lnTo>
                      <a:lnTo>
                        <a:pt x="79" y="47"/>
                      </a:lnTo>
                      <a:lnTo>
                        <a:pt x="83" y="48"/>
                      </a:lnTo>
                      <a:lnTo>
                        <a:pt x="86" y="50"/>
                      </a:lnTo>
                      <a:lnTo>
                        <a:pt x="89" y="54"/>
                      </a:lnTo>
                      <a:lnTo>
                        <a:pt x="91" y="58"/>
                      </a:lnTo>
                      <a:lnTo>
                        <a:pt x="91" y="60"/>
                      </a:lnTo>
                      <a:lnTo>
                        <a:pt x="89" y="61"/>
                      </a:lnTo>
                      <a:lnTo>
                        <a:pt x="92" y="64"/>
                      </a:lnTo>
                      <a:lnTo>
                        <a:pt x="94" y="66"/>
                      </a:lnTo>
                      <a:lnTo>
                        <a:pt x="92" y="68"/>
                      </a:lnTo>
                      <a:lnTo>
                        <a:pt x="89" y="68"/>
                      </a:lnTo>
                      <a:lnTo>
                        <a:pt x="83" y="66"/>
                      </a:lnTo>
                      <a:lnTo>
                        <a:pt x="77" y="64"/>
                      </a:lnTo>
                      <a:lnTo>
                        <a:pt x="75" y="65"/>
                      </a:lnTo>
                      <a:lnTo>
                        <a:pt x="73" y="68"/>
                      </a:lnTo>
                      <a:lnTo>
                        <a:pt x="71" y="63"/>
                      </a:lnTo>
                      <a:lnTo>
                        <a:pt x="68" y="64"/>
                      </a:lnTo>
                      <a:lnTo>
                        <a:pt x="66" y="65"/>
                      </a:lnTo>
                      <a:lnTo>
                        <a:pt x="66" y="70"/>
                      </a:lnTo>
                      <a:lnTo>
                        <a:pt x="66" y="75"/>
                      </a:lnTo>
                      <a:lnTo>
                        <a:pt x="65" y="77"/>
                      </a:lnTo>
                      <a:lnTo>
                        <a:pt x="63" y="80"/>
                      </a:lnTo>
                      <a:lnTo>
                        <a:pt x="60" y="86"/>
                      </a:lnTo>
                      <a:lnTo>
                        <a:pt x="56" y="92"/>
                      </a:lnTo>
                      <a:lnTo>
                        <a:pt x="56" y="93"/>
                      </a:lnTo>
                      <a:lnTo>
                        <a:pt x="55" y="96"/>
                      </a:lnTo>
                      <a:lnTo>
                        <a:pt x="51" y="96"/>
                      </a:lnTo>
                      <a:lnTo>
                        <a:pt x="50" y="96"/>
                      </a:lnTo>
                      <a:lnTo>
                        <a:pt x="49" y="97"/>
                      </a:lnTo>
                      <a:lnTo>
                        <a:pt x="47" y="96"/>
                      </a:lnTo>
                      <a:lnTo>
                        <a:pt x="46" y="93"/>
                      </a:lnTo>
                      <a:lnTo>
                        <a:pt x="45" y="89"/>
                      </a:lnTo>
                      <a:lnTo>
                        <a:pt x="44" y="81"/>
                      </a:lnTo>
                      <a:lnTo>
                        <a:pt x="44" y="74"/>
                      </a:lnTo>
                      <a:lnTo>
                        <a:pt x="45" y="68"/>
                      </a:lnTo>
                      <a:lnTo>
                        <a:pt x="45" y="61"/>
                      </a:lnTo>
                      <a:lnTo>
                        <a:pt x="44" y="57"/>
                      </a:lnTo>
                      <a:lnTo>
                        <a:pt x="41" y="52"/>
                      </a:lnTo>
                      <a:lnTo>
                        <a:pt x="38" y="47"/>
                      </a:lnTo>
                      <a:lnTo>
                        <a:pt x="35" y="44"/>
                      </a:lnTo>
                      <a:lnTo>
                        <a:pt x="29" y="39"/>
                      </a:lnTo>
                      <a:lnTo>
                        <a:pt x="25" y="34"/>
                      </a:lnTo>
                      <a:lnTo>
                        <a:pt x="22" y="30"/>
                      </a:lnTo>
                      <a:lnTo>
                        <a:pt x="18" y="23"/>
                      </a:lnTo>
                      <a:lnTo>
                        <a:pt x="11" y="12"/>
                      </a:lnTo>
                      <a:lnTo>
                        <a:pt x="6" y="9"/>
                      </a:lnTo>
                      <a:lnTo>
                        <a:pt x="0" y="7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1" name="Freeform 1786">
                  <a:extLst>
                    <a:ext uri="{FF2B5EF4-FFF2-40B4-BE49-F238E27FC236}">
                      <a16:creationId xmlns:a16="http://schemas.microsoft.com/office/drawing/2014/main" id="{F80C5EDE-3883-4DEF-A4AC-08BD7BF13B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14830" y="5747409"/>
                  <a:ext cx="510382" cy="339466"/>
                </a:xfrm>
                <a:custGeom>
                  <a:avLst/>
                  <a:gdLst>
                    <a:gd name="T0" fmla="*/ 16 w 456"/>
                    <a:gd name="T1" fmla="*/ 104 h 256"/>
                    <a:gd name="T2" fmla="*/ 27 w 456"/>
                    <a:gd name="T3" fmla="*/ 70 h 256"/>
                    <a:gd name="T4" fmla="*/ 35 w 456"/>
                    <a:gd name="T5" fmla="*/ 39 h 256"/>
                    <a:gd name="T6" fmla="*/ 51 w 456"/>
                    <a:gd name="T7" fmla="*/ 16 h 256"/>
                    <a:gd name="T8" fmla="*/ 115 w 456"/>
                    <a:gd name="T9" fmla="*/ 18 h 256"/>
                    <a:gd name="T10" fmla="*/ 137 w 456"/>
                    <a:gd name="T11" fmla="*/ 24 h 256"/>
                    <a:gd name="T12" fmla="*/ 159 w 456"/>
                    <a:gd name="T13" fmla="*/ 31 h 256"/>
                    <a:gd name="T14" fmla="*/ 182 w 456"/>
                    <a:gd name="T15" fmla="*/ 28 h 256"/>
                    <a:gd name="T16" fmla="*/ 204 w 456"/>
                    <a:gd name="T17" fmla="*/ 34 h 256"/>
                    <a:gd name="T18" fmla="*/ 218 w 456"/>
                    <a:gd name="T19" fmla="*/ 10 h 256"/>
                    <a:gd name="T20" fmla="*/ 250 w 456"/>
                    <a:gd name="T21" fmla="*/ 1 h 256"/>
                    <a:gd name="T22" fmla="*/ 282 w 456"/>
                    <a:gd name="T23" fmla="*/ 1 h 256"/>
                    <a:gd name="T24" fmla="*/ 292 w 456"/>
                    <a:gd name="T25" fmla="*/ 22 h 256"/>
                    <a:gd name="T26" fmla="*/ 313 w 456"/>
                    <a:gd name="T27" fmla="*/ 37 h 256"/>
                    <a:gd name="T28" fmla="*/ 332 w 456"/>
                    <a:gd name="T29" fmla="*/ 61 h 256"/>
                    <a:gd name="T30" fmla="*/ 364 w 456"/>
                    <a:gd name="T31" fmla="*/ 67 h 256"/>
                    <a:gd name="T32" fmla="*/ 399 w 456"/>
                    <a:gd name="T33" fmla="*/ 79 h 256"/>
                    <a:gd name="T34" fmla="*/ 431 w 456"/>
                    <a:gd name="T35" fmla="*/ 82 h 256"/>
                    <a:gd name="T36" fmla="*/ 453 w 456"/>
                    <a:gd name="T37" fmla="*/ 91 h 256"/>
                    <a:gd name="T38" fmla="*/ 451 w 456"/>
                    <a:gd name="T39" fmla="*/ 110 h 256"/>
                    <a:gd name="T40" fmla="*/ 454 w 456"/>
                    <a:gd name="T41" fmla="*/ 126 h 256"/>
                    <a:gd name="T42" fmla="*/ 447 w 456"/>
                    <a:gd name="T43" fmla="*/ 145 h 256"/>
                    <a:gd name="T44" fmla="*/ 419 w 456"/>
                    <a:gd name="T45" fmla="*/ 154 h 256"/>
                    <a:gd name="T46" fmla="*/ 412 w 456"/>
                    <a:gd name="T47" fmla="*/ 169 h 256"/>
                    <a:gd name="T48" fmla="*/ 384 w 456"/>
                    <a:gd name="T49" fmla="*/ 178 h 256"/>
                    <a:gd name="T50" fmla="*/ 348 w 456"/>
                    <a:gd name="T51" fmla="*/ 193 h 256"/>
                    <a:gd name="T52" fmla="*/ 342 w 456"/>
                    <a:gd name="T53" fmla="*/ 192 h 256"/>
                    <a:gd name="T54" fmla="*/ 333 w 456"/>
                    <a:gd name="T55" fmla="*/ 204 h 256"/>
                    <a:gd name="T56" fmla="*/ 325 w 456"/>
                    <a:gd name="T57" fmla="*/ 205 h 256"/>
                    <a:gd name="T58" fmla="*/ 324 w 456"/>
                    <a:gd name="T59" fmla="*/ 199 h 256"/>
                    <a:gd name="T60" fmla="*/ 315 w 456"/>
                    <a:gd name="T61" fmla="*/ 198 h 256"/>
                    <a:gd name="T62" fmla="*/ 316 w 456"/>
                    <a:gd name="T63" fmla="*/ 205 h 256"/>
                    <a:gd name="T64" fmla="*/ 326 w 456"/>
                    <a:gd name="T65" fmla="*/ 211 h 256"/>
                    <a:gd name="T66" fmla="*/ 344 w 456"/>
                    <a:gd name="T67" fmla="*/ 225 h 256"/>
                    <a:gd name="T68" fmla="*/ 349 w 456"/>
                    <a:gd name="T69" fmla="*/ 222 h 256"/>
                    <a:gd name="T70" fmla="*/ 376 w 456"/>
                    <a:gd name="T71" fmla="*/ 221 h 256"/>
                    <a:gd name="T72" fmla="*/ 363 w 456"/>
                    <a:gd name="T73" fmla="*/ 235 h 256"/>
                    <a:gd name="T74" fmla="*/ 332 w 456"/>
                    <a:gd name="T75" fmla="*/ 244 h 256"/>
                    <a:gd name="T76" fmla="*/ 305 w 456"/>
                    <a:gd name="T77" fmla="*/ 247 h 256"/>
                    <a:gd name="T78" fmla="*/ 278 w 456"/>
                    <a:gd name="T79" fmla="*/ 225 h 256"/>
                    <a:gd name="T80" fmla="*/ 306 w 456"/>
                    <a:gd name="T81" fmla="*/ 205 h 256"/>
                    <a:gd name="T82" fmla="*/ 287 w 456"/>
                    <a:gd name="T83" fmla="*/ 199 h 256"/>
                    <a:gd name="T84" fmla="*/ 258 w 456"/>
                    <a:gd name="T85" fmla="*/ 190 h 256"/>
                    <a:gd name="T86" fmla="*/ 266 w 456"/>
                    <a:gd name="T87" fmla="*/ 185 h 256"/>
                    <a:gd name="T88" fmla="*/ 256 w 456"/>
                    <a:gd name="T89" fmla="*/ 182 h 256"/>
                    <a:gd name="T90" fmla="*/ 241 w 456"/>
                    <a:gd name="T91" fmla="*/ 184 h 256"/>
                    <a:gd name="T92" fmla="*/ 214 w 456"/>
                    <a:gd name="T93" fmla="*/ 192 h 256"/>
                    <a:gd name="T94" fmla="*/ 208 w 456"/>
                    <a:gd name="T95" fmla="*/ 214 h 256"/>
                    <a:gd name="T96" fmla="*/ 199 w 456"/>
                    <a:gd name="T97" fmla="*/ 214 h 256"/>
                    <a:gd name="T98" fmla="*/ 201 w 456"/>
                    <a:gd name="T99" fmla="*/ 226 h 256"/>
                    <a:gd name="T100" fmla="*/ 167 w 456"/>
                    <a:gd name="T101" fmla="*/ 225 h 256"/>
                    <a:gd name="T102" fmla="*/ 178 w 456"/>
                    <a:gd name="T103" fmla="*/ 204 h 256"/>
                    <a:gd name="T104" fmla="*/ 192 w 456"/>
                    <a:gd name="T105" fmla="*/ 188 h 256"/>
                    <a:gd name="T106" fmla="*/ 204 w 456"/>
                    <a:gd name="T107" fmla="*/ 179 h 256"/>
                    <a:gd name="T108" fmla="*/ 188 w 456"/>
                    <a:gd name="T109" fmla="*/ 162 h 256"/>
                    <a:gd name="T110" fmla="*/ 175 w 456"/>
                    <a:gd name="T111" fmla="*/ 141 h 256"/>
                    <a:gd name="T112" fmla="*/ 159 w 456"/>
                    <a:gd name="T113" fmla="*/ 135 h 256"/>
                    <a:gd name="T114" fmla="*/ 129 w 456"/>
                    <a:gd name="T115" fmla="*/ 128 h 256"/>
                    <a:gd name="T116" fmla="*/ 102 w 456"/>
                    <a:gd name="T117" fmla="*/ 140 h 256"/>
                    <a:gd name="T118" fmla="*/ 62 w 456"/>
                    <a:gd name="T119" fmla="*/ 141 h 256"/>
                    <a:gd name="T120" fmla="*/ 26 w 456"/>
                    <a:gd name="T121" fmla="*/ 138 h 256"/>
                    <a:gd name="T122" fmla="*/ 4 w 456"/>
                    <a:gd name="T123" fmla="*/ 128 h 2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456" h="256">
                      <a:moveTo>
                        <a:pt x="0" y="126"/>
                      </a:moveTo>
                      <a:lnTo>
                        <a:pt x="0" y="122"/>
                      </a:lnTo>
                      <a:lnTo>
                        <a:pt x="1" y="118"/>
                      </a:lnTo>
                      <a:lnTo>
                        <a:pt x="6" y="112"/>
                      </a:lnTo>
                      <a:lnTo>
                        <a:pt x="8" y="107"/>
                      </a:lnTo>
                      <a:lnTo>
                        <a:pt x="9" y="104"/>
                      </a:lnTo>
                      <a:lnTo>
                        <a:pt x="12" y="104"/>
                      </a:lnTo>
                      <a:lnTo>
                        <a:pt x="17" y="107"/>
                      </a:lnTo>
                      <a:lnTo>
                        <a:pt x="16" y="104"/>
                      </a:lnTo>
                      <a:lnTo>
                        <a:pt x="15" y="103"/>
                      </a:lnTo>
                      <a:lnTo>
                        <a:pt x="14" y="102"/>
                      </a:lnTo>
                      <a:lnTo>
                        <a:pt x="14" y="99"/>
                      </a:lnTo>
                      <a:lnTo>
                        <a:pt x="12" y="95"/>
                      </a:lnTo>
                      <a:lnTo>
                        <a:pt x="11" y="90"/>
                      </a:lnTo>
                      <a:lnTo>
                        <a:pt x="14" y="85"/>
                      </a:lnTo>
                      <a:lnTo>
                        <a:pt x="17" y="81"/>
                      </a:lnTo>
                      <a:lnTo>
                        <a:pt x="21" y="76"/>
                      </a:lnTo>
                      <a:lnTo>
                        <a:pt x="27" y="70"/>
                      </a:lnTo>
                      <a:lnTo>
                        <a:pt x="35" y="64"/>
                      </a:lnTo>
                      <a:lnTo>
                        <a:pt x="39" y="61"/>
                      </a:lnTo>
                      <a:lnTo>
                        <a:pt x="43" y="58"/>
                      </a:lnTo>
                      <a:lnTo>
                        <a:pt x="43" y="55"/>
                      </a:lnTo>
                      <a:lnTo>
                        <a:pt x="43" y="53"/>
                      </a:lnTo>
                      <a:lnTo>
                        <a:pt x="41" y="50"/>
                      </a:lnTo>
                      <a:lnTo>
                        <a:pt x="44" y="48"/>
                      </a:lnTo>
                      <a:lnTo>
                        <a:pt x="39" y="45"/>
                      </a:lnTo>
                      <a:lnTo>
                        <a:pt x="35" y="39"/>
                      </a:lnTo>
                      <a:lnTo>
                        <a:pt x="31" y="32"/>
                      </a:lnTo>
                      <a:lnTo>
                        <a:pt x="30" y="26"/>
                      </a:lnTo>
                      <a:lnTo>
                        <a:pt x="31" y="23"/>
                      </a:lnTo>
                      <a:lnTo>
                        <a:pt x="33" y="23"/>
                      </a:lnTo>
                      <a:lnTo>
                        <a:pt x="37" y="24"/>
                      </a:lnTo>
                      <a:lnTo>
                        <a:pt x="41" y="23"/>
                      </a:lnTo>
                      <a:lnTo>
                        <a:pt x="44" y="21"/>
                      </a:lnTo>
                      <a:lnTo>
                        <a:pt x="48" y="17"/>
                      </a:lnTo>
                      <a:lnTo>
                        <a:pt x="51" y="16"/>
                      </a:lnTo>
                      <a:lnTo>
                        <a:pt x="53" y="15"/>
                      </a:lnTo>
                      <a:lnTo>
                        <a:pt x="59" y="15"/>
                      </a:lnTo>
                      <a:lnTo>
                        <a:pt x="71" y="15"/>
                      </a:lnTo>
                      <a:lnTo>
                        <a:pt x="83" y="13"/>
                      </a:lnTo>
                      <a:lnTo>
                        <a:pt x="92" y="15"/>
                      </a:lnTo>
                      <a:lnTo>
                        <a:pt x="102" y="17"/>
                      </a:lnTo>
                      <a:lnTo>
                        <a:pt x="105" y="18"/>
                      </a:lnTo>
                      <a:lnTo>
                        <a:pt x="110" y="18"/>
                      </a:lnTo>
                      <a:lnTo>
                        <a:pt x="115" y="18"/>
                      </a:lnTo>
                      <a:lnTo>
                        <a:pt x="117" y="20"/>
                      </a:lnTo>
                      <a:lnTo>
                        <a:pt x="121" y="23"/>
                      </a:lnTo>
                      <a:lnTo>
                        <a:pt x="123" y="24"/>
                      </a:lnTo>
                      <a:lnTo>
                        <a:pt x="126" y="24"/>
                      </a:lnTo>
                      <a:lnTo>
                        <a:pt x="128" y="24"/>
                      </a:lnTo>
                      <a:lnTo>
                        <a:pt x="130" y="24"/>
                      </a:lnTo>
                      <a:lnTo>
                        <a:pt x="134" y="27"/>
                      </a:lnTo>
                      <a:lnTo>
                        <a:pt x="135" y="24"/>
                      </a:lnTo>
                      <a:lnTo>
                        <a:pt x="137" y="24"/>
                      </a:lnTo>
                      <a:lnTo>
                        <a:pt x="138" y="24"/>
                      </a:lnTo>
                      <a:lnTo>
                        <a:pt x="140" y="24"/>
                      </a:lnTo>
                      <a:lnTo>
                        <a:pt x="145" y="24"/>
                      </a:lnTo>
                      <a:lnTo>
                        <a:pt x="149" y="26"/>
                      </a:lnTo>
                      <a:lnTo>
                        <a:pt x="150" y="26"/>
                      </a:lnTo>
                      <a:lnTo>
                        <a:pt x="151" y="26"/>
                      </a:lnTo>
                      <a:lnTo>
                        <a:pt x="155" y="26"/>
                      </a:lnTo>
                      <a:lnTo>
                        <a:pt x="156" y="28"/>
                      </a:lnTo>
                      <a:lnTo>
                        <a:pt x="159" y="31"/>
                      </a:lnTo>
                      <a:lnTo>
                        <a:pt x="160" y="27"/>
                      </a:lnTo>
                      <a:lnTo>
                        <a:pt x="162" y="24"/>
                      </a:lnTo>
                      <a:lnTo>
                        <a:pt x="165" y="24"/>
                      </a:lnTo>
                      <a:lnTo>
                        <a:pt x="169" y="26"/>
                      </a:lnTo>
                      <a:lnTo>
                        <a:pt x="171" y="27"/>
                      </a:lnTo>
                      <a:lnTo>
                        <a:pt x="174" y="29"/>
                      </a:lnTo>
                      <a:lnTo>
                        <a:pt x="176" y="31"/>
                      </a:lnTo>
                      <a:lnTo>
                        <a:pt x="180" y="29"/>
                      </a:lnTo>
                      <a:lnTo>
                        <a:pt x="182" y="28"/>
                      </a:lnTo>
                      <a:lnTo>
                        <a:pt x="185" y="29"/>
                      </a:lnTo>
                      <a:lnTo>
                        <a:pt x="187" y="29"/>
                      </a:lnTo>
                      <a:lnTo>
                        <a:pt x="190" y="28"/>
                      </a:lnTo>
                      <a:lnTo>
                        <a:pt x="192" y="28"/>
                      </a:lnTo>
                      <a:lnTo>
                        <a:pt x="194" y="28"/>
                      </a:lnTo>
                      <a:lnTo>
                        <a:pt x="197" y="29"/>
                      </a:lnTo>
                      <a:lnTo>
                        <a:pt x="199" y="33"/>
                      </a:lnTo>
                      <a:lnTo>
                        <a:pt x="203" y="34"/>
                      </a:lnTo>
                      <a:lnTo>
                        <a:pt x="204" y="34"/>
                      </a:lnTo>
                      <a:lnTo>
                        <a:pt x="206" y="33"/>
                      </a:lnTo>
                      <a:lnTo>
                        <a:pt x="206" y="29"/>
                      </a:lnTo>
                      <a:lnTo>
                        <a:pt x="204" y="26"/>
                      </a:lnTo>
                      <a:lnTo>
                        <a:pt x="203" y="22"/>
                      </a:lnTo>
                      <a:lnTo>
                        <a:pt x="204" y="18"/>
                      </a:lnTo>
                      <a:lnTo>
                        <a:pt x="207" y="15"/>
                      </a:lnTo>
                      <a:lnTo>
                        <a:pt x="210" y="11"/>
                      </a:lnTo>
                      <a:lnTo>
                        <a:pt x="214" y="10"/>
                      </a:lnTo>
                      <a:lnTo>
                        <a:pt x="218" y="10"/>
                      </a:lnTo>
                      <a:lnTo>
                        <a:pt x="220" y="10"/>
                      </a:lnTo>
                      <a:lnTo>
                        <a:pt x="224" y="8"/>
                      </a:lnTo>
                      <a:lnTo>
                        <a:pt x="229" y="8"/>
                      </a:lnTo>
                      <a:lnTo>
                        <a:pt x="233" y="8"/>
                      </a:lnTo>
                      <a:lnTo>
                        <a:pt x="237" y="10"/>
                      </a:lnTo>
                      <a:lnTo>
                        <a:pt x="241" y="8"/>
                      </a:lnTo>
                      <a:lnTo>
                        <a:pt x="244" y="7"/>
                      </a:lnTo>
                      <a:lnTo>
                        <a:pt x="245" y="1"/>
                      </a:lnTo>
                      <a:lnTo>
                        <a:pt x="250" y="1"/>
                      </a:lnTo>
                      <a:lnTo>
                        <a:pt x="253" y="2"/>
                      </a:lnTo>
                      <a:lnTo>
                        <a:pt x="257" y="2"/>
                      </a:lnTo>
                      <a:lnTo>
                        <a:pt x="261" y="2"/>
                      </a:lnTo>
                      <a:lnTo>
                        <a:pt x="266" y="0"/>
                      </a:lnTo>
                      <a:lnTo>
                        <a:pt x="269" y="1"/>
                      </a:lnTo>
                      <a:lnTo>
                        <a:pt x="273" y="1"/>
                      </a:lnTo>
                      <a:lnTo>
                        <a:pt x="276" y="2"/>
                      </a:lnTo>
                      <a:lnTo>
                        <a:pt x="279" y="1"/>
                      </a:lnTo>
                      <a:lnTo>
                        <a:pt x="282" y="1"/>
                      </a:lnTo>
                      <a:lnTo>
                        <a:pt x="284" y="2"/>
                      </a:lnTo>
                      <a:lnTo>
                        <a:pt x="287" y="5"/>
                      </a:lnTo>
                      <a:lnTo>
                        <a:pt x="288" y="7"/>
                      </a:lnTo>
                      <a:lnTo>
                        <a:pt x="292" y="12"/>
                      </a:lnTo>
                      <a:lnTo>
                        <a:pt x="294" y="15"/>
                      </a:lnTo>
                      <a:lnTo>
                        <a:pt x="298" y="17"/>
                      </a:lnTo>
                      <a:lnTo>
                        <a:pt x="300" y="20"/>
                      </a:lnTo>
                      <a:lnTo>
                        <a:pt x="295" y="21"/>
                      </a:lnTo>
                      <a:lnTo>
                        <a:pt x="292" y="22"/>
                      </a:lnTo>
                      <a:lnTo>
                        <a:pt x="293" y="24"/>
                      </a:lnTo>
                      <a:lnTo>
                        <a:pt x="295" y="28"/>
                      </a:lnTo>
                      <a:lnTo>
                        <a:pt x="298" y="32"/>
                      </a:lnTo>
                      <a:lnTo>
                        <a:pt x="297" y="33"/>
                      </a:lnTo>
                      <a:lnTo>
                        <a:pt x="297" y="34"/>
                      </a:lnTo>
                      <a:lnTo>
                        <a:pt x="299" y="35"/>
                      </a:lnTo>
                      <a:lnTo>
                        <a:pt x="304" y="37"/>
                      </a:lnTo>
                      <a:lnTo>
                        <a:pt x="309" y="38"/>
                      </a:lnTo>
                      <a:lnTo>
                        <a:pt x="313" y="37"/>
                      </a:lnTo>
                      <a:lnTo>
                        <a:pt x="316" y="37"/>
                      </a:lnTo>
                      <a:lnTo>
                        <a:pt x="320" y="39"/>
                      </a:lnTo>
                      <a:lnTo>
                        <a:pt x="322" y="40"/>
                      </a:lnTo>
                      <a:lnTo>
                        <a:pt x="326" y="42"/>
                      </a:lnTo>
                      <a:lnTo>
                        <a:pt x="326" y="43"/>
                      </a:lnTo>
                      <a:lnTo>
                        <a:pt x="326" y="45"/>
                      </a:lnTo>
                      <a:lnTo>
                        <a:pt x="327" y="51"/>
                      </a:lnTo>
                      <a:lnTo>
                        <a:pt x="330" y="55"/>
                      </a:lnTo>
                      <a:lnTo>
                        <a:pt x="332" y="61"/>
                      </a:lnTo>
                      <a:lnTo>
                        <a:pt x="336" y="63"/>
                      </a:lnTo>
                      <a:lnTo>
                        <a:pt x="338" y="63"/>
                      </a:lnTo>
                      <a:lnTo>
                        <a:pt x="342" y="63"/>
                      </a:lnTo>
                      <a:lnTo>
                        <a:pt x="343" y="61"/>
                      </a:lnTo>
                      <a:lnTo>
                        <a:pt x="348" y="61"/>
                      </a:lnTo>
                      <a:lnTo>
                        <a:pt x="352" y="64"/>
                      </a:lnTo>
                      <a:lnTo>
                        <a:pt x="356" y="66"/>
                      </a:lnTo>
                      <a:lnTo>
                        <a:pt x="360" y="67"/>
                      </a:lnTo>
                      <a:lnTo>
                        <a:pt x="364" y="67"/>
                      </a:lnTo>
                      <a:lnTo>
                        <a:pt x="368" y="65"/>
                      </a:lnTo>
                      <a:lnTo>
                        <a:pt x="378" y="61"/>
                      </a:lnTo>
                      <a:lnTo>
                        <a:pt x="381" y="61"/>
                      </a:lnTo>
                      <a:lnTo>
                        <a:pt x="384" y="63"/>
                      </a:lnTo>
                      <a:lnTo>
                        <a:pt x="388" y="67"/>
                      </a:lnTo>
                      <a:lnTo>
                        <a:pt x="390" y="71"/>
                      </a:lnTo>
                      <a:lnTo>
                        <a:pt x="394" y="74"/>
                      </a:lnTo>
                      <a:lnTo>
                        <a:pt x="396" y="76"/>
                      </a:lnTo>
                      <a:lnTo>
                        <a:pt x="399" y="79"/>
                      </a:lnTo>
                      <a:lnTo>
                        <a:pt x="402" y="76"/>
                      </a:lnTo>
                      <a:lnTo>
                        <a:pt x="404" y="75"/>
                      </a:lnTo>
                      <a:lnTo>
                        <a:pt x="406" y="75"/>
                      </a:lnTo>
                      <a:lnTo>
                        <a:pt x="410" y="76"/>
                      </a:lnTo>
                      <a:lnTo>
                        <a:pt x="413" y="79"/>
                      </a:lnTo>
                      <a:lnTo>
                        <a:pt x="419" y="80"/>
                      </a:lnTo>
                      <a:lnTo>
                        <a:pt x="424" y="80"/>
                      </a:lnTo>
                      <a:lnTo>
                        <a:pt x="428" y="79"/>
                      </a:lnTo>
                      <a:lnTo>
                        <a:pt x="431" y="82"/>
                      </a:lnTo>
                      <a:lnTo>
                        <a:pt x="433" y="82"/>
                      </a:lnTo>
                      <a:lnTo>
                        <a:pt x="435" y="83"/>
                      </a:lnTo>
                      <a:lnTo>
                        <a:pt x="438" y="85"/>
                      </a:lnTo>
                      <a:lnTo>
                        <a:pt x="445" y="88"/>
                      </a:lnTo>
                      <a:lnTo>
                        <a:pt x="448" y="88"/>
                      </a:lnTo>
                      <a:lnTo>
                        <a:pt x="450" y="88"/>
                      </a:lnTo>
                      <a:lnTo>
                        <a:pt x="451" y="87"/>
                      </a:lnTo>
                      <a:lnTo>
                        <a:pt x="454" y="87"/>
                      </a:lnTo>
                      <a:lnTo>
                        <a:pt x="453" y="91"/>
                      </a:lnTo>
                      <a:lnTo>
                        <a:pt x="454" y="96"/>
                      </a:lnTo>
                      <a:lnTo>
                        <a:pt x="454" y="101"/>
                      </a:lnTo>
                      <a:lnTo>
                        <a:pt x="454" y="102"/>
                      </a:lnTo>
                      <a:lnTo>
                        <a:pt x="451" y="104"/>
                      </a:lnTo>
                      <a:lnTo>
                        <a:pt x="448" y="106"/>
                      </a:lnTo>
                      <a:lnTo>
                        <a:pt x="447" y="107"/>
                      </a:lnTo>
                      <a:lnTo>
                        <a:pt x="447" y="109"/>
                      </a:lnTo>
                      <a:lnTo>
                        <a:pt x="449" y="110"/>
                      </a:lnTo>
                      <a:lnTo>
                        <a:pt x="451" y="110"/>
                      </a:lnTo>
                      <a:lnTo>
                        <a:pt x="454" y="112"/>
                      </a:lnTo>
                      <a:lnTo>
                        <a:pt x="454" y="114"/>
                      </a:lnTo>
                      <a:lnTo>
                        <a:pt x="451" y="114"/>
                      </a:lnTo>
                      <a:lnTo>
                        <a:pt x="449" y="115"/>
                      </a:lnTo>
                      <a:lnTo>
                        <a:pt x="448" y="117"/>
                      </a:lnTo>
                      <a:lnTo>
                        <a:pt x="448" y="120"/>
                      </a:lnTo>
                      <a:lnTo>
                        <a:pt x="449" y="122"/>
                      </a:lnTo>
                      <a:lnTo>
                        <a:pt x="453" y="124"/>
                      </a:lnTo>
                      <a:lnTo>
                        <a:pt x="454" y="126"/>
                      </a:lnTo>
                      <a:lnTo>
                        <a:pt x="454" y="128"/>
                      </a:lnTo>
                      <a:lnTo>
                        <a:pt x="453" y="129"/>
                      </a:lnTo>
                      <a:lnTo>
                        <a:pt x="456" y="130"/>
                      </a:lnTo>
                      <a:lnTo>
                        <a:pt x="456" y="133"/>
                      </a:lnTo>
                      <a:lnTo>
                        <a:pt x="456" y="136"/>
                      </a:lnTo>
                      <a:lnTo>
                        <a:pt x="455" y="140"/>
                      </a:lnTo>
                      <a:lnTo>
                        <a:pt x="454" y="142"/>
                      </a:lnTo>
                      <a:lnTo>
                        <a:pt x="450" y="145"/>
                      </a:lnTo>
                      <a:lnTo>
                        <a:pt x="447" y="145"/>
                      </a:lnTo>
                      <a:lnTo>
                        <a:pt x="442" y="144"/>
                      </a:lnTo>
                      <a:lnTo>
                        <a:pt x="438" y="144"/>
                      </a:lnTo>
                      <a:lnTo>
                        <a:pt x="433" y="144"/>
                      </a:lnTo>
                      <a:lnTo>
                        <a:pt x="432" y="144"/>
                      </a:lnTo>
                      <a:lnTo>
                        <a:pt x="429" y="145"/>
                      </a:lnTo>
                      <a:lnTo>
                        <a:pt x="427" y="147"/>
                      </a:lnTo>
                      <a:lnTo>
                        <a:pt x="426" y="150"/>
                      </a:lnTo>
                      <a:lnTo>
                        <a:pt x="423" y="151"/>
                      </a:lnTo>
                      <a:lnTo>
                        <a:pt x="419" y="154"/>
                      </a:lnTo>
                      <a:lnTo>
                        <a:pt x="417" y="155"/>
                      </a:lnTo>
                      <a:lnTo>
                        <a:pt x="416" y="158"/>
                      </a:lnTo>
                      <a:lnTo>
                        <a:pt x="417" y="161"/>
                      </a:lnTo>
                      <a:lnTo>
                        <a:pt x="418" y="162"/>
                      </a:lnTo>
                      <a:lnTo>
                        <a:pt x="417" y="163"/>
                      </a:lnTo>
                      <a:lnTo>
                        <a:pt x="417" y="166"/>
                      </a:lnTo>
                      <a:lnTo>
                        <a:pt x="417" y="167"/>
                      </a:lnTo>
                      <a:lnTo>
                        <a:pt x="416" y="168"/>
                      </a:lnTo>
                      <a:lnTo>
                        <a:pt x="412" y="169"/>
                      </a:lnTo>
                      <a:lnTo>
                        <a:pt x="408" y="169"/>
                      </a:lnTo>
                      <a:lnTo>
                        <a:pt x="405" y="169"/>
                      </a:lnTo>
                      <a:lnTo>
                        <a:pt x="401" y="169"/>
                      </a:lnTo>
                      <a:lnTo>
                        <a:pt x="399" y="169"/>
                      </a:lnTo>
                      <a:lnTo>
                        <a:pt x="397" y="172"/>
                      </a:lnTo>
                      <a:lnTo>
                        <a:pt x="395" y="173"/>
                      </a:lnTo>
                      <a:lnTo>
                        <a:pt x="392" y="174"/>
                      </a:lnTo>
                      <a:lnTo>
                        <a:pt x="386" y="176"/>
                      </a:lnTo>
                      <a:lnTo>
                        <a:pt x="384" y="178"/>
                      </a:lnTo>
                      <a:lnTo>
                        <a:pt x="383" y="182"/>
                      </a:lnTo>
                      <a:lnTo>
                        <a:pt x="380" y="179"/>
                      </a:lnTo>
                      <a:lnTo>
                        <a:pt x="378" y="179"/>
                      </a:lnTo>
                      <a:lnTo>
                        <a:pt x="372" y="181"/>
                      </a:lnTo>
                      <a:lnTo>
                        <a:pt x="368" y="182"/>
                      </a:lnTo>
                      <a:lnTo>
                        <a:pt x="365" y="182"/>
                      </a:lnTo>
                      <a:lnTo>
                        <a:pt x="358" y="183"/>
                      </a:lnTo>
                      <a:lnTo>
                        <a:pt x="352" y="187"/>
                      </a:lnTo>
                      <a:lnTo>
                        <a:pt x="348" y="193"/>
                      </a:lnTo>
                      <a:lnTo>
                        <a:pt x="343" y="198"/>
                      </a:lnTo>
                      <a:lnTo>
                        <a:pt x="338" y="201"/>
                      </a:lnTo>
                      <a:lnTo>
                        <a:pt x="340" y="199"/>
                      </a:lnTo>
                      <a:lnTo>
                        <a:pt x="343" y="195"/>
                      </a:lnTo>
                      <a:lnTo>
                        <a:pt x="344" y="193"/>
                      </a:lnTo>
                      <a:lnTo>
                        <a:pt x="344" y="190"/>
                      </a:lnTo>
                      <a:lnTo>
                        <a:pt x="343" y="189"/>
                      </a:lnTo>
                      <a:lnTo>
                        <a:pt x="341" y="188"/>
                      </a:lnTo>
                      <a:lnTo>
                        <a:pt x="342" y="192"/>
                      </a:lnTo>
                      <a:lnTo>
                        <a:pt x="341" y="194"/>
                      </a:lnTo>
                      <a:lnTo>
                        <a:pt x="337" y="195"/>
                      </a:lnTo>
                      <a:lnTo>
                        <a:pt x="335" y="197"/>
                      </a:lnTo>
                      <a:lnTo>
                        <a:pt x="335" y="199"/>
                      </a:lnTo>
                      <a:lnTo>
                        <a:pt x="335" y="203"/>
                      </a:lnTo>
                      <a:lnTo>
                        <a:pt x="336" y="206"/>
                      </a:lnTo>
                      <a:lnTo>
                        <a:pt x="336" y="208"/>
                      </a:lnTo>
                      <a:lnTo>
                        <a:pt x="335" y="206"/>
                      </a:lnTo>
                      <a:lnTo>
                        <a:pt x="333" y="204"/>
                      </a:lnTo>
                      <a:lnTo>
                        <a:pt x="331" y="203"/>
                      </a:lnTo>
                      <a:lnTo>
                        <a:pt x="331" y="203"/>
                      </a:lnTo>
                      <a:lnTo>
                        <a:pt x="331" y="201"/>
                      </a:lnTo>
                      <a:lnTo>
                        <a:pt x="331" y="200"/>
                      </a:lnTo>
                      <a:lnTo>
                        <a:pt x="331" y="199"/>
                      </a:lnTo>
                      <a:lnTo>
                        <a:pt x="330" y="198"/>
                      </a:lnTo>
                      <a:lnTo>
                        <a:pt x="327" y="203"/>
                      </a:lnTo>
                      <a:lnTo>
                        <a:pt x="326" y="204"/>
                      </a:lnTo>
                      <a:lnTo>
                        <a:pt x="325" y="205"/>
                      </a:lnTo>
                      <a:lnTo>
                        <a:pt x="324" y="204"/>
                      </a:lnTo>
                      <a:lnTo>
                        <a:pt x="324" y="201"/>
                      </a:lnTo>
                      <a:lnTo>
                        <a:pt x="324" y="200"/>
                      </a:lnTo>
                      <a:lnTo>
                        <a:pt x="326" y="201"/>
                      </a:lnTo>
                      <a:lnTo>
                        <a:pt x="326" y="197"/>
                      </a:lnTo>
                      <a:lnTo>
                        <a:pt x="326" y="197"/>
                      </a:lnTo>
                      <a:lnTo>
                        <a:pt x="326" y="198"/>
                      </a:lnTo>
                      <a:lnTo>
                        <a:pt x="325" y="199"/>
                      </a:lnTo>
                      <a:lnTo>
                        <a:pt x="324" y="199"/>
                      </a:lnTo>
                      <a:lnTo>
                        <a:pt x="321" y="198"/>
                      </a:lnTo>
                      <a:lnTo>
                        <a:pt x="321" y="198"/>
                      </a:lnTo>
                      <a:lnTo>
                        <a:pt x="320" y="200"/>
                      </a:lnTo>
                      <a:lnTo>
                        <a:pt x="320" y="199"/>
                      </a:lnTo>
                      <a:lnTo>
                        <a:pt x="319" y="198"/>
                      </a:lnTo>
                      <a:lnTo>
                        <a:pt x="316" y="195"/>
                      </a:lnTo>
                      <a:lnTo>
                        <a:pt x="316" y="195"/>
                      </a:lnTo>
                      <a:lnTo>
                        <a:pt x="316" y="197"/>
                      </a:lnTo>
                      <a:lnTo>
                        <a:pt x="315" y="198"/>
                      </a:lnTo>
                      <a:lnTo>
                        <a:pt x="311" y="198"/>
                      </a:lnTo>
                      <a:lnTo>
                        <a:pt x="309" y="198"/>
                      </a:lnTo>
                      <a:lnTo>
                        <a:pt x="304" y="197"/>
                      </a:lnTo>
                      <a:lnTo>
                        <a:pt x="306" y="200"/>
                      </a:lnTo>
                      <a:lnTo>
                        <a:pt x="311" y="203"/>
                      </a:lnTo>
                      <a:lnTo>
                        <a:pt x="313" y="203"/>
                      </a:lnTo>
                      <a:lnTo>
                        <a:pt x="313" y="201"/>
                      </a:lnTo>
                      <a:lnTo>
                        <a:pt x="314" y="203"/>
                      </a:lnTo>
                      <a:lnTo>
                        <a:pt x="316" y="205"/>
                      </a:lnTo>
                      <a:lnTo>
                        <a:pt x="316" y="203"/>
                      </a:lnTo>
                      <a:lnTo>
                        <a:pt x="317" y="203"/>
                      </a:lnTo>
                      <a:lnTo>
                        <a:pt x="321" y="204"/>
                      </a:lnTo>
                      <a:lnTo>
                        <a:pt x="325" y="206"/>
                      </a:lnTo>
                      <a:lnTo>
                        <a:pt x="326" y="206"/>
                      </a:lnTo>
                      <a:lnTo>
                        <a:pt x="327" y="205"/>
                      </a:lnTo>
                      <a:lnTo>
                        <a:pt x="328" y="208"/>
                      </a:lnTo>
                      <a:lnTo>
                        <a:pt x="327" y="209"/>
                      </a:lnTo>
                      <a:lnTo>
                        <a:pt x="326" y="211"/>
                      </a:lnTo>
                      <a:lnTo>
                        <a:pt x="331" y="208"/>
                      </a:lnTo>
                      <a:lnTo>
                        <a:pt x="332" y="210"/>
                      </a:lnTo>
                      <a:lnTo>
                        <a:pt x="335" y="213"/>
                      </a:lnTo>
                      <a:lnTo>
                        <a:pt x="338" y="215"/>
                      </a:lnTo>
                      <a:lnTo>
                        <a:pt x="341" y="216"/>
                      </a:lnTo>
                      <a:lnTo>
                        <a:pt x="342" y="219"/>
                      </a:lnTo>
                      <a:lnTo>
                        <a:pt x="342" y="220"/>
                      </a:lnTo>
                      <a:lnTo>
                        <a:pt x="342" y="222"/>
                      </a:lnTo>
                      <a:lnTo>
                        <a:pt x="344" y="225"/>
                      </a:lnTo>
                      <a:lnTo>
                        <a:pt x="347" y="226"/>
                      </a:lnTo>
                      <a:lnTo>
                        <a:pt x="351" y="227"/>
                      </a:lnTo>
                      <a:lnTo>
                        <a:pt x="348" y="225"/>
                      </a:lnTo>
                      <a:lnTo>
                        <a:pt x="344" y="220"/>
                      </a:lnTo>
                      <a:lnTo>
                        <a:pt x="341" y="216"/>
                      </a:lnTo>
                      <a:lnTo>
                        <a:pt x="341" y="215"/>
                      </a:lnTo>
                      <a:lnTo>
                        <a:pt x="341" y="215"/>
                      </a:lnTo>
                      <a:lnTo>
                        <a:pt x="344" y="219"/>
                      </a:lnTo>
                      <a:lnTo>
                        <a:pt x="349" y="222"/>
                      </a:lnTo>
                      <a:lnTo>
                        <a:pt x="354" y="225"/>
                      </a:lnTo>
                      <a:lnTo>
                        <a:pt x="359" y="225"/>
                      </a:lnTo>
                      <a:lnTo>
                        <a:pt x="360" y="224"/>
                      </a:lnTo>
                      <a:lnTo>
                        <a:pt x="362" y="221"/>
                      </a:lnTo>
                      <a:lnTo>
                        <a:pt x="363" y="224"/>
                      </a:lnTo>
                      <a:lnTo>
                        <a:pt x="365" y="224"/>
                      </a:lnTo>
                      <a:lnTo>
                        <a:pt x="369" y="222"/>
                      </a:lnTo>
                      <a:lnTo>
                        <a:pt x="373" y="221"/>
                      </a:lnTo>
                      <a:lnTo>
                        <a:pt x="376" y="221"/>
                      </a:lnTo>
                      <a:lnTo>
                        <a:pt x="384" y="225"/>
                      </a:lnTo>
                      <a:lnTo>
                        <a:pt x="381" y="226"/>
                      </a:lnTo>
                      <a:lnTo>
                        <a:pt x="380" y="227"/>
                      </a:lnTo>
                      <a:lnTo>
                        <a:pt x="379" y="231"/>
                      </a:lnTo>
                      <a:lnTo>
                        <a:pt x="379" y="233"/>
                      </a:lnTo>
                      <a:lnTo>
                        <a:pt x="376" y="235"/>
                      </a:lnTo>
                      <a:lnTo>
                        <a:pt x="372" y="236"/>
                      </a:lnTo>
                      <a:lnTo>
                        <a:pt x="367" y="236"/>
                      </a:lnTo>
                      <a:lnTo>
                        <a:pt x="363" y="235"/>
                      </a:lnTo>
                      <a:lnTo>
                        <a:pt x="359" y="232"/>
                      </a:lnTo>
                      <a:lnTo>
                        <a:pt x="356" y="232"/>
                      </a:lnTo>
                      <a:lnTo>
                        <a:pt x="354" y="233"/>
                      </a:lnTo>
                      <a:lnTo>
                        <a:pt x="354" y="235"/>
                      </a:lnTo>
                      <a:lnTo>
                        <a:pt x="353" y="236"/>
                      </a:lnTo>
                      <a:lnTo>
                        <a:pt x="348" y="240"/>
                      </a:lnTo>
                      <a:lnTo>
                        <a:pt x="343" y="242"/>
                      </a:lnTo>
                      <a:lnTo>
                        <a:pt x="336" y="243"/>
                      </a:lnTo>
                      <a:lnTo>
                        <a:pt x="332" y="244"/>
                      </a:lnTo>
                      <a:lnTo>
                        <a:pt x="328" y="247"/>
                      </a:lnTo>
                      <a:lnTo>
                        <a:pt x="322" y="252"/>
                      </a:lnTo>
                      <a:lnTo>
                        <a:pt x="315" y="256"/>
                      </a:lnTo>
                      <a:lnTo>
                        <a:pt x="311" y="256"/>
                      </a:lnTo>
                      <a:lnTo>
                        <a:pt x="308" y="256"/>
                      </a:lnTo>
                      <a:lnTo>
                        <a:pt x="304" y="253"/>
                      </a:lnTo>
                      <a:lnTo>
                        <a:pt x="301" y="249"/>
                      </a:lnTo>
                      <a:lnTo>
                        <a:pt x="303" y="249"/>
                      </a:lnTo>
                      <a:lnTo>
                        <a:pt x="305" y="247"/>
                      </a:lnTo>
                      <a:lnTo>
                        <a:pt x="306" y="241"/>
                      </a:lnTo>
                      <a:lnTo>
                        <a:pt x="304" y="235"/>
                      </a:lnTo>
                      <a:lnTo>
                        <a:pt x="303" y="232"/>
                      </a:lnTo>
                      <a:lnTo>
                        <a:pt x="300" y="231"/>
                      </a:lnTo>
                      <a:lnTo>
                        <a:pt x="294" y="229"/>
                      </a:lnTo>
                      <a:lnTo>
                        <a:pt x="289" y="226"/>
                      </a:lnTo>
                      <a:lnTo>
                        <a:pt x="285" y="225"/>
                      </a:lnTo>
                      <a:lnTo>
                        <a:pt x="283" y="225"/>
                      </a:lnTo>
                      <a:lnTo>
                        <a:pt x="278" y="225"/>
                      </a:lnTo>
                      <a:lnTo>
                        <a:pt x="276" y="225"/>
                      </a:lnTo>
                      <a:lnTo>
                        <a:pt x="277" y="224"/>
                      </a:lnTo>
                      <a:lnTo>
                        <a:pt x="279" y="220"/>
                      </a:lnTo>
                      <a:lnTo>
                        <a:pt x="284" y="216"/>
                      </a:lnTo>
                      <a:lnTo>
                        <a:pt x="287" y="215"/>
                      </a:lnTo>
                      <a:lnTo>
                        <a:pt x="292" y="214"/>
                      </a:lnTo>
                      <a:lnTo>
                        <a:pt x="298" y="211"/>
                      </a:lnTo>
                      <a:lnTo>
                        <a:pt x="303" y="209"/>
                      </a:lnTo>
                      <a:lnTo>
                        <a:pt x="306" y="205"/>
                      </a:lnTo>
                      <a:lnTo>
                        <a:pt x="304" y="205"/>
                      </a:lnTo>
                      <a:lnTo>
                        <a:pt x="303" y="204"/>
                      </a:lnTo>
                      <a:lnTo>
                        <a:pt x="303" y="200"/>
                      </a:lnTo>
                      <a:lnTo>
                        <a:pt x="300" y="201"/>
                      </a:lnTo>
                      <a:lnTo>
                        <a:pt x="299" y="201"/>
                      </a:lnTo>
                      <a:lnTo>
                        <a:pt x="297" y="201"/>
                      </a:lnTo>
                      <a:lnTo>
                        <a:pt x="294" y="200"/>
                      </a:lnTo>
                      <a:lnTo>
                        <a:pt x="290" y="199"/>
                      </a:lnTo>
                      <a:lnTo>
                        <a:pt x="287" y="199"/>
                      </a:lnTo>
                      <a:lnTo>
                        <a:pt x="279" y="200"/>
                      </a:lnTo>
                      <a:lnTo>
                        <a:pt x="273" y="200"/>
                      </a:lnTo>
                      <a:lnTo>
                        <a:pt x="267" y="198"/>
                      </a:lnTo>
                      <a:lnTo>
                        <a:pt x="261" y="195"/>
                      </a:lnTo>
                      <a:lnTo>
                        <a:pt x="257" y="194"/>
                      </a:lnTo>
                      <a:lnTo>
                        <a:pt x="253" y="194"/>
                      </a:lnTo>
                      <a:lnTo>
                        <a:pt x="257" y="192"/>
                      </a:lnTo>
                      <a:lnTo>
                        <a:pt x="258" y="190"/>
                      </a:lnTo>
                      <a:lnTo>
                        <a:pt x="258" y="190"/>
                      </a:lnTo>
                      <a:lnTo>
                        <a:pt x="256" y="189"/>
                      </a:lnTo>
                      <a:lnTo>
                        <a:pt x="251" y="188"/>
                      </a:lnTo>
                      <a:lnTo>
                        <a:pt x="249" y="187"/>
                      </a:lnTo>
                      <a:lnTo>
                        <a:pt x="246" y="185"/>
                      </a:lnTo>
                      <a:lnTo>
                        <a:pt x="253" y="188"/>
                      </a:lnTo>
                      <a:lnTo>
                        <a:pt x="261" y="188"/>
                      </a:lnTo>
                      <a:lnTo>
                        <a:pt x="268" y="187"/>
                      </a:lnTo>
                      <a:lnTo>
                        <a:pt x="274" y="183"/>
                      </a:lnTo>
                      <a:lnTo>
                        <a:pt x="266" y="185"/>
                      </a:lnTo>
                      <a:lnTo>
                        <a:pt x="262" y="184"/>
                      </a:lnTo>
                      <a:lnTo>
                        <a:pt x="258" y="182"/>
                      </a:lnTo>
                      <a:lnTo>
                        <a:pt x="256" y="179"/>
                      </a:lnTo>
                      <a:lnTo>
                        <a:pt x="256" y="176"/>
                      </a:lnTo>
                      <a:lnTo>
                        <a:pt x="256" y="173"/>
                      </a:lnTo>
                      <a:lnTo>
                        <a:pt x="253" y="169"/>
                      </a:lnTo>
                      <a:lnTo>
                        <a:pt x="255" y="173"/>
                      </a:lnTo>
                      <a:lnTo>
                        <a:pt x="256" y="176"/>
                      </a:lnTo>
                      <a:lnTo>
                        <a:pt x="256" y="182"/>
                      </a:lnTo>
                      <a:lnTo>
                        <a:pt x="255" y="183"/>
                      </a:lnTo>
                      <a:lnTo>
                        <a:pt x="252" y="183"/>
                      </a:lnTo>
                      <a:lnTo>
                        <a:pt x="249" y="183"/>
                      </a:lnTo>
                      <a:lnTo>
                        <a:pt x="246" y="184"/>
                      </a:lnTo>
                      <a:lnTo>
                        <a:pt x="246" y="181"/>
                      </a:lnTo>
                      <a:lnTo>
                        <a:pt x="246" y="178"/>
                      </a:lnTo>
                      <a:lnTo>
                        <a:pt x="245" y="181"/>
                      </a:lnTo>
                      <a:lnTo>
                        <a:pt x="242" y="183"/>
                      </a:lnTo>
                      <a:lnTo>
                        <a:pt x="241" y="184"/>
                      </a:lnTo>
                      <a:lnTo>
                        <a:pt x="239" y="184"/>
                      </a:lnTo>
                      <a:lnTo>
                        <a:pt x="235" y="184"/>
                      </a:lnTo>
                      <a:lnTo>
                        <a:pt x="229" y="187"/>
                      </a:lnTo>
                      <a:lnTo>
                        <a:pt x="226" y="190"/>
                      </a:lnTo>
                      <a:lnTo>
                        <a:pt x="224" y="197"/>
                      </a:lnTo>
                      <a:lnTo>
                        <a:pt x="220" y="201"/>
                      </a:lnTo>
                      <a:lnTo>
                        <a:pt x="219" y="198"/>
                      </a:lnTo>
                      <a:lnTo>
                        <a:pt x="217" y="194"/>
                      </a:lnTo>
                      <a:lnTo>
                        <a:pt x="214" y="192"/>
                      </a:lnTo>
                      <a:lnTo>
                        <a:pt x="210" y="192"/>
                      </a:lnTo>
                      <a:lnTo>
                        <a:pt x="213" y="195"/>
                      </a:lnTo>
                      <a:lnTo>
                        <a:pt x="215" y="197"/>
                      </a:lnTo>
                      <a:lnTo>
                        <a:pt x="218" y="198"/>
                      </a:lnTo>
                      <a:lnTo>
                        <a:pt x="219" y="200"/>
                      </a:lnTo>
                      <a:lnTo>
                        <a:pt x="219" y="203"/>
                      </a:lnTo>
                      <a:lnTo>
                        <a:pt x="218" y="205"/>
                      </a:lnTo>
                      <a:lnTo>
                        <a:pt x="213" y="210"/>
                      </a:lnTo>
                      <a:lnTo>
                        <a:pt x="208" y="214"/>
                      </a:lnTo>
                      <a:lnTo>
                        <a:pt x="204" y="216"/>
                      </a:lnTo>
                      <a:lnTo>
                        <a:pt x="209" y="213"/>
                      </a:lnTo>
                      <a:lnTo>
                        <a:pt x="212" y="208"/>
                      </a:lnTo>
                      <a:lnTo>
                        <a:pt x="209" y="210"/>
                      </a:lnTo>
                      <a:lnTo>
                        <a:pt x="206" y="213"/>
                      </a:lnTo>
                      <a:lnTo>
                        <a:pt x="202" y="215"/>
                      </a:lnTo>
                      <a:lnTo>
                        <a:pt x="202" y="214"/>
                      </a:lnTo>
                      <a:lnTo>
                        <a:pt x="201" y="211"/>
                      </a:lnTo>
                      <a:lnTo>
                        <a:pt x="199" y="214"/>
                      </a:lnTo>
                      <a:lnTo>
                        <a:pt x="199" y="216"/>
                      </a:lnTo>
                      <a:lnTo>
                        <a:pt x="199" y="217"/>
                      </a:lnTo>
                      <a:lnTo>
                        <a:pt x="202" y="217"/>
                      </a:lnTo>
                      <a:lnTo>
                        <a:pt x="201" y="220"/>
                      </a:lnTo>
                      <a:lnTo>
                        <a:pt x="203" y="221"/>
                      </a:lnTo>
                      <a:lnTo>
                        <a:pt x="204" y="225"/>
                      </a:lnTo>
                      <a:lnTo>
                        <a:pt x="204" y="227"/>
                      </a:lnTo>
                      <a:lnTo>
                        <a:pt x="202" y="230"/>
                      </a:lnTo>
                      <a:lnTo>
                        <a:pt x="201" y="226"/>
                      </a:lnTo>
                      <a:lnTo>
                        <a:pt x="199" y="224"/>
                      </a:lnTo>
                      <a:lnTo>
                        <a:pt x="196" y="222"/>
                      </a:lnTo>
                      <a:lnTo>
                        <a:pt x="191" y="224"/>
                      </a:lnTo>
                      <a:lnTo>
                        <a:pt x="186" y="225"/>
                      </a:lnTo>
                      <a:lnTo>
                        <a:pt x="181" y="226"/>
                      </a:lnTo>
                      <a:lnTo>
                        <a:pt x="177" y="227"/>
                      </a:lnTo>
                      <a:lnTo>
                        <a:pt x="175" y="229"/>
                      </a:lnTo>
                      <a:lnTo>
                        <a:pt x="170" y="226"/>
                      </a:lnTo>
                      <a:lnTo>
                        <a:pt x="167" y="225"/>
                      </a:lnTo>
                      <a:lnTo>
                        <a:pt x="165" y="222"/>
                      </a:lnTo>
                      <a:lnTo>
                        <a:pt x="164" y="221"/>
                      </a:lnTo>
                      <a:lnTo>
                        <a:pt x="164" y="220"/>
                      </a:lnTo>
                      <a:lnTo>
                        <a:pt x="166" y="220"/>
                      </a:lnTo>
                      <a:lnTo>
                        <a:pt x="170" y="219"/>
                      </a:lnTo>
                      <a:lnTo>
                        <a:pt x="171" y="216"/>
                      </a:lnTo>
                      <a:lnTo>
                        <a:pt x="172" y="214"/>
                      </a:lnTo>
                      <a:lnTo>
                        <a:pt x="174" y="210"/>
                      </a:lnTo>
                      <a:lnTo>
                        <a:pt x="178" y="204"/>
                      </a:lnTo>
                      <a:lnTo>
                        <a:pt x="181" y="200"/>
                      </a:lnTo>
                      <a:lnTo>
                        <a:pt x="181" y="195"/>
                      </a:lnTo>
                      <a:lnTo>
                        <a:pt x="180" y="193"/>
                      </a:lnTo>
                      <a:lnTo>
                        <a:pt x="181" y="190"/>
                      </a:lnTo>
                      <a:lnTo>
                        <a:pt x="182" y="188"/>
                      </a:lnTo>
                      <a:lnTo>
                        <a:pt x="186" y="187"/>
                      </a:lnTo>
                      <a:lnTo>
                        <a:pt x="188" y="192"/>
                      </a:lnTo>
                      <a:lnTo>
                        <a:pt x="190" y="189"/>
                      </a:lnTo>
                      <a:lnTo>
                        <a:pt x="192" y="188"/>
                      </a:lnTo>
                      <a:lnTo>
                        <a:pt x="198" y="190"/>
                      </a:lnTo>
                      <a:lnTo>
                        <a:pt x="204" y="192"/>
                      </a:lnTo>
                      <a:lnTo>
                        <a:pt x="207" y="192"/>
                      </a:lnTo>
                      <a:lnTo>
                        <a:pt x="209" y="190"/>
                      </a:lnTo>
                      <a:lnTo>
                        <a:pt x="207" y="188"/>
                      </a:lnTo>
                      <a:lnTo>
                        <a:pt x="203" y="185"/>
                      </a:lnTo>
                      <a:lnTo>
                        <a:pt x="206" y="184"/>
                      </a:lnTo>
                      <a:lnTo>
                        <a:pt x="206" y="182"/>
                      </a:lnTo>
                      <a:lnTo>
                        <a:pt x="204" y="179"/>
                      </a:lnTo>
                      <a:lnTo>
                        <a:pt x="203" y="177"/>
                      </a:lnTo>
                      <a:lnTo>
                        <a:pt x="197" y="172"/>
                      </a:lnTo>
                      <a:lnTo>
                        <a:pt x="192" y="169"/>
                      </a:lnTo>
                      <a:lnTo>
                        <a:pt x="193" y="167"/>
                      </a:lnTo>
                      <a:lnTo>
                        <a:pt x="193" y="163"/>
                      </a:lnTo>
                      <a:lnTo>
                        <a:pt x="192" y="161"/>
                      </a:lnTo>
                      <a:lnTo>
                        <a:pt x="191" y="162"/>
                      </a:lnTo>
                      <a:lnTo>
                        <a:pt x="190" y="162"/>
                      </a:lnTo>
                      <a:lnTo>
                        <a:pt x="188" y="162"/>
                      </a:lnTo>
                      <a:lnTo>
                        <a:pt x="187" y="158"/>
                      </a:lnTo>
                      <a:lnTo>
                        <a:pt x="186" y="155"/>
                      </a:lnTo>
                      <a:lnTo>
                        <a:pt x="185" y="152"/>
                      </a:lnTo>
                      <a:lnTo>
                        <a:pt x="182" y="147"/>
                      </a:lnTo>
                      <a:lnTo>
                        <a:pt x="180" y="144"/>
                      </a:lnTo>
                      <a:lnTo>
                        <a:pt x="178" y="141"/>
                      </a:lnTo>
                      <a:lnTo>
                        <a:pt x="177" y="140"/>
                      </a:lnTo>
                      <a:lnTo>
                        <a:pt x="176" y="141"/>
                      </a:lnTo>
                      <a:lnTo>
                        <a:pt x="175" y="141"/>
                      </a:lnTo>
                      <a:lnTo>
                        <a:pt x="174" y="140"/>
                      </a:lnTo>
                      <a:lnTo>
                        <a:pt x="172" y="139"/>
                      </a:lnTo>
                      <a:lnTo>
                        <a:pt x="170" y="136"/>
                      </a:lnTo>
                      <a:lnTo>
                        <a:pt x="167" y="135"/>
                      </a:lnTo>
                      <a:lnTo>
                        <a:pt x="164" y="135"/>
                      </a:lnTo>
                      <a:lnTo>
                        <a:pt x="162" y="138"/>
                      </a:lnTo>
                      <a:lnTo>
                        <a:pt x="161" y="135"/>
                      </a:lnTo>
                      <a:lnTo>
                        <a:pt x="160" y="135"/>
                      </a:lnTo>
                      <a:lnTo>
                        <a:pt x="159" y="135"/>
                      </a:lnTo>
                      <a:lnTo>
                        <a:pt x="158" y="134"/>
                      </a:lnTo>
                      <a:lnTo>
                        <a:pt x="155" y="134"/>
                      </a:lnTo>
                      <a:lnTo>
                        <a:pt x="153" y="134"/>
                      </a:lnTo>
                      <a:lnTo>
                        <a:pt x="149" y="130"/>
                      </a:lnTo>
                      <a:lnTo>
                        <a:pt x="144" y="126"/>
                      </a:lnTo>
                      <a:lnTo>
                        <a:pt x="140" y="124"/>
                      </a:lnTo>
                      <a:lnTo>
                        <a:pt x="138" y="124"/>
                      </a:lnTo>
                      <a:lnTo>
                        <a:pt x="134" y="126"/>
                      </a:lnTo>
                      <a:lnTo>
                        <a:pt x="129" y="128"/>
                      </a:lnTo>
                      <a:lnTo>
                        <a:pt x="122" y="126"/>
                      </a:lnTo>
                      <a:lnTo>
                        <a:pt x="119" y="128"/>
                      </a:lnTo>
                      <a:lnTo>
                        <a:pt x="118" y="130"/>
                      </a:lnTo>
                      <a:lnTo>
                        <a:pt x="116" y="131"/>
                      </a:lnTo>
                      <a:lnTo>
                        <a:pt x="111" y="131"/>
                      </a:lnTo>
                      <a:lnTo>
                        <a:pt x="108" y="133"/>
                      </a:lnTo>
                      <a:lnTo>
                        <a:pt x="106" y="135"/>
                      </a:lnTo>
                      <a:lnTo>
                        <a:pt x="105" y="138"/>
                      </a:lnTo>
                      <a:lnTo>
                        <a:pt x="102" y="140"/>
                      </a:lnTo>
                      <a:lnTo>
                        <a:pt x="96" y="140"/>
                      </a:lnTo>
                      <a:lnTo>
                        <a:pt x="87" y="141"/>
                      </a:lnTo>
                      <a:lnTo>
                        <a:pt x="83" y="142"/>
                      </a:lnTo>
                      <a:lnTo>
                        <a:pt x="79" y="145"/>
                      </a:lnTo>
                      <a:lnTo>
                        <a:pt x="76" y="147"/>
                      </a:lnTo>
                      <a:lnTo>
                        <a:pt x="74" y="147"/>
                      </a:lnTo>
                      <a:lnTo>
                        <a:pt x="70" y="147"/>
                      </a:lnTo>
                      <a:lnTo>
                        <a:pt x="65" y="144"/>
                      </a:lnTo>
                      <a:lnTo>
                        <a:pt x="62" y="141"/>
                      </a:lnTo>
                      <a:lnTo>
                        <a:pt x="57" y="141"/>
                      </a:lnTo>
                      <a:lnTo>
                        <a:pt x="52" y="141"/>
                      </a:lnTo>
                      <a:lnTo>
                        <a:pt x="47" y="141"/>
                      </a:lnTo>
                      <a:lnTo>
                        <a:pt x="42" y="140"/>
                      </a:lnTo>
                      <a:lnTo>
                        <a:pt x="37" y="140"/>
                      </a:lnTo>
                      <a:lnTo>
                        <a:pt x="35" y="140"/>
                      </a:lnTo>
                      <a:lnTo>
                        <a:pt x="31" y="139"/>
                      </a:lnTo>
                      <a:lnTo>
                        <a:pt x="28" y="136"/>
                      </a:lnTo>
                      <a:lnTo>
                        <a:pt x="26" y="138"/>
                      </a:lnTo>
                      <a:lnTo>
                        <a:pt x="24" y="139"/>
                      </a:lnTo>
                      <a:lnTo>
                        <a:pt x="20" y="141"/>
                      </a:lnTo>
                      <a:lnTo>
                        <a:pt x="19" y="138"/>
                      </a:lnTo>
                      <a:lnTo>
                        <a:pt x="16" y="136"/>
                      </a:lnTo>
                      <a:lnTo>
                        <a:pt x="14" y="135"/>
                      </a:lnTo>
                      <a:lnTo>
                        <a:pt x="11" y="134"/>
                      </a:lnTo>
                      <a:lnTo>
                        <a:pt x="9" y="133"/>
                      </a:lnTo>
                      <a:lnTo>
                        <a:pt x="6" y="131"/>
                      </a:lnTo>
                      <a:lnTo>
                        <a:pt x="4" y="128"/>
                      </a:lnTo>
                      <a:lnTo>
                        <a:pt x="0" y="126"/>
                      </a:lnTo>
                      <a:lnTo>
                        <a:pt x="0" y="126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2" name="Freeform 1787">
                  <a:extLst>
                    <a:ext uri="{FF2B5EF4-FFF2-40B4-BE49-F238E27FC236}">
                      <a16:creationId xmlns:a16="http://schemas.microsoft.com/office/drawing/2014/main" id="{A7CAA553-D81C-4A87-A6DB-1C3AD334A4C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42387" y="6508554"/>
                  <a:ext cx="42533" cy="71607"/>
                </a:xfrm>
                <a:custGeom>
                  <a:avLst/>
                  <a:gdLst>
                    <a:gd name="T0" fmla="*/ 0 w 38"/>
                    <a:gd name="T1" fmla="*/ 53 h 53"/>
                    <a:gd name="T2" fmla="*/ 4 w 38"/>
                    <a:gd name="T3" fmla="*/ 47 h 53"/>
                    <a:gd name="T4" fmla="*/ 6 w 38"/>
                    <a:gd name="T5" fmla="*/ 39 h 53"/>
                    <a:gd name="T6" fmla="*/ 8 w 38"/>
                    <a:gd name="T7" fmla="*/ 32 h 53"/>
                    <a:gd name="T8" fmla="*/ 11 w 38"/>
                    <a:gd name="T9" fmla="*/ 25 h 53"/>
                    <a:gd name="T10" fmla="*/ 12 w 38"/>
                    <a:gd name="T11" fmla="*/ 22 h 53"/>
                    <a:gd name="T12" fmla="*/ 12 w 38"/>
                    <a:gd name="T13" fmla="*/ 18 h 53"/>
                    <a:gd name="T14" fmla="*/ 12 w 38"/>
                    <a:gd name="T15" fmla="*/ 15 h 53"/>
                    <a:gd name="T16" fmla="*/ 13 w 38"/>
                    <a:gd name="T17" fmla="*/ 11 h 53"/>
                    <a:gd name="T18" fmla="*/ 16 w 38"/>
                    <a:gd name="T19" fmla="*/ 10 h 53"/>
                    <a:gd name="T20" fmla="*/ 18 w 38"/>
                    <a:gd name="T21" fmla="*/ 7 h 53"/>
                    <a:gd name="T22" fmla="*/ 20 w 38"/>
                    <a:gd name="T23" fmla="*/ 4 h 53"/>
                    <a:gd name="T24" fmla="*/ 20 w 38"/>
                    <a:gd name="T25" fmla="*/ 1 h 53"/>
                    <a:gd name="T26" fmla="*/ 24 w 38"/>
                    <a:gd name="T27" fmla="*/ 1 h 53"/>
                    <a:gd name="T28" fmla="*/ 28 w 38"/>
                    <a:gd name="T29" fmla="*/ 1 h 53"/>
                    <a:gd name="T30" fmla="*/ 31 w 38"/>
                    <a:gd name="T31" fmla="*/ 0 h 53"/>
                    <a:gd name="T32" fmla="*/ 31 w 38"/>
                    <a:gd name="T33" fmla="*/ 1 h 53"/>
                    <a:gd name="T34" fmla="*/ 31 w 38"/>
                    <a:gd name="T35" fmla="*/ 4 h 53"/>
                    <a:gd name="T36" fmla="*/ 31 w 38"/>
                    <a:gd name="T37" fmla="*/ 6 h 53"/>
                    <a:gd name="T38" fmla="*/ 31 w 38"/>
                    <a:gd name="T39" fmla="*/ 6 h 53"/>
                    <a:gd name="T40" fmla="*/ 32 w 38"/>
                    <a:gd name="T41" fmla="*/ 6 h 53"/>
                    <a:gd name="T42" fmla="*/ 34 w 38"/>
                    <a:gd name="T43" fmla="*/ 7 h 53"/>
                    <a:gd name="T44" fmla="*/ 35 w 38"/>
                    <a:gd name="T45" fmla="*/ 9 h 53"/>
                    <a:gd name="T46" fmla="*/ 35 w 38"/>
                    <a:gd name="T47" fmla="*/ 10 h 53"/>
                    <a:gd name="T48" fmla="*/ 37 w 38"/>
                    <a:gd name="T49" fmla="*/ 11 h 53"/>
                    <a:gd name="T50" fmla="*/ 37 w 38"/>
                    <a:gd name="T51" fmla="*/ 12 h 53"/>
                    <a:gd name="T52" fmla="*/ 38 w 38"/>
                    <a:gd name="T53" fmla="*/ 15 h 53"/>
                    <a:gd name="T54" fmla="*/ 38 w 38"/>
                    <a:gd name="T55" fmla="*/ 17 h 53"/>
                    <a:gd name="T56" fmla="*/ 35 w 38"/>
                    <a:gd name="T57" fmla="*/ 21 h 53"/>
                    <a:gd name="T58" fmla="*/ 32 w 38"/>
                    <a:gd name="T59" fmla="*/ 23 h 53"/>
                    <a:gd name="T60" fmla="*/ 32 w 38"/>
                    <a:gd name="T61" fmla="*/ 26 h 53"/>
                    <a:gd name="T62" fmla="*/ 33 w 38"/>
                    <a:gd name="T63" fmla="*/ 28 h 53"/>
                    <a:gd name="T64" fmla="*/ 29 w 38"/>
                    <a:gd name="T65" fmla="*/ 28 h 53"/>
                    <a:gd name="T66" fmla="*/ 24 w 38"/>
                    <a:gd name="T67" fmla="*/ 29 h 53"/>
                    <a:gd name="T68" fmla="*/ 23 w 38"/>
                    <a:gd name="T69" fmla="*/ 32 h 53"/>
                    <a:gd name="T70" fmla="*/ 23 w 38"/>
                    <a:gd name="T71" fmla="*/ 34 h 53"/>
                    <a:gd name="T72" fmla="*/ 26 w 38"/>
                    <a:gd name="T73" fmla="*/ 36 h 53"/>
                    <a:gd name="T74" fmla="*/ 22 w 38"/>
                    <a:gd name="T75" fmla="*/ 38 h 53"/>
                    <a:gd name="T76" fmla="*/ 20 w 38"/>
                    <a:gd name="T77" fmla="*/ 41 h 53"/>
                    <a:gd name="T78" fmla="*/ 16 w 38"/>
                    <a:gd name="T79" fmla="*/ 44 h 53"/>
                    <a:gd name="T80" fmla="*/ 15 w 38"/>
                    <a:gd name="T81" fmla="*/ 47 h 53"/>
                    <a:gd name="T82" fmla="*/ 13 w 38"/>
                    <a:gd name="T83" fmla="*/ 45 h 53"/>
                    <a:gd name="T84" fmla="*/ 12 w 38"/>
                    <a:gd name="T85" fmla="*/ 49 h 53"/>
                    <a:gd name="T86" fmla="*/ 11 w 38"/>
                    <a:gd name="T87" fmla="*/ 52 h 53"/>
                    <a:gd name="T88" fmla="*/ 8 w 38"/>
                    <a:gd name="T89" fmla="*/ 53 h 53"/>
                    <a:gd name="T90" fmla="*/ 6 w 38"/>
                    <a:gd name="T91" fmla="*/ 53 h 53"/>
                    <a:gd name="T92" fmla="*/ 2 w 38"/>
                    <a:gd name="T93" fmla="*/ 52 h 53"/>
                    <a:gd name="T94" fmla="*/ 0 w 38"/>
                    <a:gd name="T95" fmla="*/ 53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38" h="53">
                      <a:moveTo>
                        <a:pt x="0" y="53"/>
                      </a:moveTo>
                      <a:lnTo>
                        <a:pt x="4" y="47"/>
                      </a:lnTo>
                      <a:lnTo>
                        <a:pt x="6" y="39"/>
                      </a:lnTo>
                      <a:lnTo>
                        <a:pt x="8" y="32"/>
                      </a:lnTo>
                      <a:lnTo>
                        <a:pt x="11" y="25"/>
                      </a:lnTo>
                      <a:lnTo>
                        <a:pt x="12" y="22"/>
                      </a:lnTo>
                      <a:lnTo>
                        <a:pt x="12" y="18"/>
                      </a:lnTo>
                      <a:lnTo>
                        <a:pt x="12" y="15"/>
                      </a:lnTo>
                      <a:lnTo>
                        <a:pt x="13" y="11"/>
                      </a:lnTo>
                      <a:lnTo>
                        <a:pt x="16" y="10"/>
                      </a:lnTo>
                      <a:lnTo>
                        <a:pt x="18" y="7"/>
                      </a:lnTo>
                      <a:lnTo>
                        <a:pt x="20" y="4"/>
                      </a:lnTo>
                      <a:lnTo>
                        <a:pt x="20" y="1"/>
                      </a:lnTo>
                      <a:lnTo>
                        <a:pt x="24" y="1"/>
                      </a:lnTo>
                      <a:lnTo>
                        <a:pt x="28" y="1"/>
                      </a:lnTo>
                      <a:lnTo>
                        <a:pt x="31" y="0"/>
                      </a:lnTo>
                      <a:lnTo>
                        <a:pt x="31" y="1"/>
                      </a:lnTo>
                      <a:lnTo>
                        <a:pt x="31" y="4"/>
                      </a:lnTo>
                      <a:lnTo>
                        <a:pt x="31" y="6"/>
                      </a:lnTo>
                      <a:lnTo>
                        <a:pt x="31" y="6"/>
                      </a:lnTo>
                      <a:lnTo>
                        <a:pt x="32" y="6"/>
                      </a:lnTo>
                      <a:lnTo>
                        <a:pt x="34" y="7"/>
                      </a:lnTo>
                      <a:lnTo>
                        <a:pt x="35" y="9"/>
                      </a:lnTo>
                      <a:lnTo>
                        <a:pt x="35" y="10"/>
                      </a:lnTo>
                      <a:lnTo>
                        <a:pt x="37" y="11"/>
                      </a:lnTo>
                      <a:lnTo>
                        <a:pt x="37" y="12"/>
                      </a:lnTo>
                      <a:lnTo>
                        <a:pt x="38" y="15"/>
                      </a:lnTo>
                      <a:lnTo>
                        <a:pt x="38" y="17"/>
                      </a:lnTo>
                      <a:lnTo>
                        <a:pt x="35" y="21"/>
                      </a:lnTo>
                      <a:lnTo>
                        <a:pt x="32" y="23"/>
                      </a:lnTo>
                      <a:lnTo>
                        <a:pt x="32" y="26"/>
                      </a:lnTo>
                      <a:lnTo>
                        <a:pt x="33" y="28"/>
                      </a:lnTo>
                      <a:lnTo>
                        <a:pt x="29" y="28"/>
                      </a:lnTo>
                      <a:lnTo>
                        <a:pt x="24" y="29"/>
                      </a:lnTo>
                      <a:lnTo>
                        <a:pt x="23" y="32"/>
                      </a:lnTo>
                      <a:lnTo>
                        <a:pt x="23" y="34"/>
                      </a:lnTo>
                      <a:lnTo>
                        <a:pt x="26" y="36"/>
                      </a:lnTo>
                      <a:lnTo>
                        <a:pt x="22" y="38"/>
                      </a:lnTo>
                      <a:lnTo>
                        <a:pt x="20" y="41"/>
                      </a:lnTo>
                      <a:lnTo>
                        <a:pt x="16" y="44"/>
                      </a:lnTo>
                      <a:lnTo>
                        <a:pt x="15" y="47"/>
                      </a:lnTo>
                      <a:lnTo>
                        <a:pt x="13" y="45"/>
                      </a:lnTo>
                      <a:lnTo>
                        <a:pt x="12" y="49"/>
                      </a:lnTo>
                      <a:lnTo>
                        <a:pt x="11" y="52"/>
                      </a:lnTo>
                      <a:lnTo>
                        <a:pt x="8" y="53"/>
                      </a:lnTo>
                      <a:lnTo>
                        <a:pt x="6" y="53"/>
                      </a:lnTo>
                      <a:lnTo>
                        <a:pt x="2" y="52"/>
                      </a:lnTo>
                      <a:lnTo>
                        <a:pt x="0" y="5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3" name="Freeform 1944">
                  <a:extLst>
                    <a:ext uri="{FF2B5EF4-FFF2-40B4-BE49-F238E27FC236}">
                      <a16:creationId xmlns:a16="http://schemas.microsoft.com/office/drawing/2014/main" id="{9488E858-9EBB-4AF0-9D88-02B1F08F23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11009" y="5620108"/>
                  <a:ext cx="1157313" cy="631194"/>
                </a:xfrm>
                <a:custGeom>
                  <a:avLst/>
                  <a:gdLst>
                    <a:gd name="T0" fmla="*/ 441 w 1033"/>
                    <a:gd name="T1" fmla="*/ 23 h 476"/>
                    <a:gd name="T2" fmla="*/ 392 w 1033"/>
                    <a:gd name="T3" fmla="*/ 34 h 476"/>
                    <a:gd name="T4" fmla="*/ 346 w 1033"/>
                    <a:gd name="T5" fmla="*/ 43 h 476"/>
                    <a:gd name="T6" fmla="*/ 318 w 1033"/>
                    <a:gd name="T7" fmla="*/ 55 h 476"/>
                    <a:gd name="T8" fmla="*/ 353 w 1033"/>
                    <a:gd name="T9" fmla="*/ 72 h 476"/>
                    <a:gd name="T10" fmla="*/ 324 w 1033"/>
                    <a:gd name="T11" fmla="*/ 87 h 476"/>
                    <a:gd name="T12" fmla="*/ 319 w 1033"/>
                    <a:gd name="T13" fmla="*/ 113 h 476"/>
                    <a:gd name="T14" fmla="*/ 359 w 1033"/>
                    <a:gd name="T15" fmla="*/ 140 h 476"/>
                    <a:gd name="T16" fmla="*/ 321 w 1033"/>
                    <a:gd name="T17" fmla="*/ 151 h 476"/>
                    <a:gd name="T18" fmla="*/ 274 w 1033"/>
                    <a:gd name="T19" fmla="*/ 136 h 476"/>
                    <a:gd name="T20" fmla="*/ 237 w 1033"/>
                    <a:gd name="T21" fmla="*/ 140 h 476"/>
                    <a:gd name="T22" fmla="*/ 196 w 1033"/>
                    <a:gd name="T23" fmla="*/ 144 h 476"/>
                    <a:gd name="T24" fmla="*/ 174 w 1033"/>
                    <a:gd name="T25" fmla="*/ 138 h 476"/>
                    <a:gd name="T26" fmla="*/ 113 w 1033"/>
                    <a:gd name="T27" fmla="*/ 118 h 476"/>
                    <a:gd name="T28" fmla="*/ 84 w 1033"/>
                    <a:gd name="T29" fmla="*/ 120 h 476"/>
                    <a:gd name="T30" fmla="*/ 55 w 1033"/>
                    <a:gd name="T31" fmla="*/ 143 h 476"/>
                    <a:gd name="T32" fmla="*/ 38 w 1033"/>
                    <a:gd name="T33" fmla="*/ 176 h 476"/>
                    <a:gd name="T34" fmla="*/ 0 w 1033"/>
                    <a:gd name="T35" fmla="*/ 186 h 476"/>
                    <a:gd name="T36" fmla="*/ 9 w 1033"/>
                    <a:gd name="T37" fmla="*/ 225 h 476"/>
                    <a:gd name="T38" fmla="*/ 61 w 1033"/>
                    <a:gd name="T39" fmla="*/ 261 h 476"/>
                    <a:gd name="T40" fmla="*/ 80 w 1033"/>
                    <a:gd name="T41" fmla="*/ 286 h 476"/>
                    <a:gd name="T42" fmla="*/ 109 w 1033"/>
                    <a:gd name="T43" fmla="*/ 272 h 476"/>
                    <a:gd name="T44" fmla="*/ 167 w 1033"/>
                    <a:gd name="T45" fmla="*/ 269 h 476"/>
                    <a:gd name="T46" fmla="*/ 172 w 1033"/>
                    <a:gd name="T47" fmla="*/ 320 h 476"/>
                    <a:gd name="T48" fmla="*/ 151 w 1033"/>
                    <a:gd name="T49" fmla="*/ 345 h 476"/>
                    <a:gd name="T50" fmla="*/ 131 w 1033"/>
                    <a:gd name="T51" fmla="*/ 356 h 476"/>
                    <a:gd name="T52" fmla="*/ 173 w 1033"/>
                    <a:gd name="T53" fmla="*/ 401 h 476"/>
                    <a:gd name="T54" fmla="*/ 193 w 1033"/>
                    <a:gd name="T55" fmla="*/ 428 h 476"/>
                    <a:gd name="T56" fmla="*/ 276 w 1033"/>
                    <a:gd name="T57" fmla="*/ 450 h 476"/>
                    <a:gd name="T58" fmla="*/ 334 w 1033"/>
                    <a:gd name="T59" fmla="*/ 304 h 476"/>
                    <a:gd name="T60" fmla="*/ 354 w 1033"/>
                    <a:gd name="T61" fmla="*/ 307 h 476"/>
                    <a:gd name="T62" fmla="*/ 366 w 1033"/>
                    <a:gd name="T63" fmla="*/ 296 h 476"/>
                    <a:gd name="T64" fmla="*/ 371 w 1033"/>
                    <a:gd name="T65" fmla="*/ 306 h 476"/>
                    <a:gd name="T66" fmla="*/ 366 w 1033"/>
                    <a:gd name="T67" fmla="*/ 313 h 476"/>
                    <a:gd name="T68" fmla="*/ 391 w 1033"/>
                    <a:gd name="T69" fmla="*/ 343 h 476"/>
                    <a:gd name="T70" fmla="*/ 489 w 1033"/>
                    <a:gd name="T71" fmla="*/ 380 h 476"/>
                    <a:gd name="T72" fmla="*/ 549 w 1033"/>
                    <a:gd name="T73" fmla="*/ 406 h 476"/>
                    <a:gd name="T74" fmla="*/ 613 w 1033"/>
                    <a:gd name="T75" fmla="*/ 457 h 476"/>
                    <a:gd name="T76" fmla="*/ 642 w 1033"/>
                    <a:gd name="T77" fmla="*/ 455 h 476"/>
                    <a:gd name="T78" fmla="*/ 680 w 1033"/>
                    <a:gd name="T79" fmla="*/ 424 h 476"/>
                    <a:gd name="T80" fmla="*/ 713 w 1033"/>
                    <a:gd name="T81" fmla="*/ 404 h 476"/>
                    <a:gd name="T82" fmla="*/ 755 w 1033"/>
                    <a:gd name="T83" fmla="*/ 392 h 476"/>
                    <a:gd name="T84" fmla="*/ 826 w 1033"/>
                    <a:gd name="T85" fmla="*/ 400 h 476"/>
                    <a:gd name="T86" fmla="*/ 905 w 1033"/>
                    <a:gd name="T87" fmla="*/ 413 h 476"/>
                    <a:gd name="T88" fmla="*/ 932 w 1033"/>
                    <a:gd name="T89" fmla="*/ 401 h 476"/>
                    <a:gd name="T90" fmla="*/ 908 w 1033"/>
                    <a:gd name="T91" fmla="*/ 340 h 476"/>
                    <a:gd name="T92" fmla="*/ 940 w 1033"/>
                    <a:gd name="T93" fmla="*/ 326 h 476"/>
                    <a:gd name="T94" fmla="*/ 948 w 1033"/>
                    <a:gd name="T95" fmla="*/ 302 h 476"/>
                    <a:gd name="T96" fmla="*/ 997 w 1033"/>
                    <a:gd name="T97" fmla="*/ 272 h 476"/>
                    <a:gd name="T98" fmla="*/ 1017 w 1033"/>
                    <a:gd name="T99" fmla="*/ 220 h 476"/>
                    <a:gd name="T100" fmla="*/ 1013 w 1033"/>
                    <a:gd name="T101" fmla="*/ 186 h 476"/>
                    <a:gd name="T102" fmla="*/ 972 w 1033"/>
                    <a:gd name="T103" fmla="*/ 182 h 476"/>
                    <a:gd name="T104" fmla="*/ 901 w 1033"/>
                    <a:gd name="T105" fmla="*/ 140 h 476"/>
                    <a:gd name="T106" fmla="*/ 858 w 1033"/>
                    <a:gd name="T107" fmla="*/ 141 h 476"/>
                    <a:gd name="T108" fmla="*/ 832 w 1033"/>
                    <a:gd name="T109" fmla="*/ 133 h 476"/>
                    <a:gd name="T110" fmla="*/ 749 w 1033"/>
                    <a:gd name="T111" fmla="*/ 74 h 476"/>
                    <a:gd name="T112" fmla="*/ 687 w 1033"/>
                    <a:gd name="T113" fmla="*/ 34 h 476"/>
                    <a:gd name="T114" fmla="*/ 643 w 1033"/>
                    <a:gd name="T115" fmla="*/ 58 h 476"/>
                    <a:gd name="T116" fmla="*/ 624 w 1033"/>
                    <a:gd name="T117" fmla="*/ 45 h 476"/>
                    <a:gd name="T118" fmla="*/ 594 w 1033"/>
                    <a:gd name="T119" fmla="*/ 39 h 476"/>
                    <a:gd name="T120" fmla="*/ 558 w 1033"/>
                    <a:gd name="T121" fmla="*/ 36 h 476"/>
                    <a:gd name="T122" fmla="*/ 532 w 1033"/>
                    <a:gd name="T123" fmla="*/ 6 h 4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033" h="476">
                      <a:moveTo>
                        <a:pt x="494" y="0"/>
                      </a:moveTo>
                      <a:lnTo>
                        <a:pt x="496" y="2"/>
                      </a:lnTo>
                      <a:lnTo>
                        <a:pt x="489" y="2"/>
                      </a:lnTo>
                      <a:lnTo>
                        <a:pt x="489" y="5"/>
                      </a:lnTo>
                      <a:lnTo>
                        <a:pt x="488" y="6"/>
                      </a:lnTo>
                      <a:lnTo>
                        <a:pt x="485" y="6"/>
                      </a:lnTo>
                      <a:lnTo>
                        <a:pt x="482" y="9"/>
                      </a:lnTo>
                      <a:lnTo>
                        <a:pt x="480" y="10"/>
                      </a:lnTo>
                      <a:lnTo>
                        <a:pt x="480" y="11"/>
                      </a:lnTo>
                      <a:lnTo>
                        <a:pt x="484" y="11"/>
                      </a:lnTo>
                      <a:lnTo>
                        <a:pt x="473" y="16"/>
                      </a:lnTo>
                      <a:lnTo>
                        <a:pt x="463" y="18"/>
                      </a:lnTo>
                      <a:lnTo>
                        <a:pt x="453" y="20"/>
                      </a:lnTo>
                      <a:lnTo>
                        <a:pt x="445" y="22"/>
                      </a:lnTo>
                      <a:lnTo>
                        <a:pt x="441" y="23"/>
                      </a:lnTo>
                      <a:lnTo>
                        <a:pt x="437" y="23"/>
                      </a:lnTo>
                      <a:lnTo>
                        <a:pt x="428" y="23"/>
                      </a:lnTo>
                      <a:lnTo>
                        <a:pt x="423" y="25"/>
                      </a:lnTo>
                      <a:lnTo>
                        <a:pt x="419" y="26"/>
                      </a:lnTo>
                      <a:lnTo>
                        <a:pt x="415" y="27"/>
                      </a:lnTo>
                      <a:lnTo>
                        <a:pt x="414" y="31"/>
                      </a:lnTo>
                      <a:lnTo>
                        <a:pt x="414" y="34"/>
                      </a:lnTo>
                      <a:lnTo>
                        <a:pt x="413" y="34"/>
                      </a:lnTo>
                      <a:lnTo>
                        <a:pt x="412" y="33"/>
                      </a:lnTo>
                      <a:lnTo>
                        <a:pt x="409" y="32"/>
                      </a:lnTo>
                      <a:lnTo>
                        <a:pt x="407" y="33"/>
                      </a:lnTo>
                      <a:lnTo>
                        <a:pt x="405" y="33"/>
                      </a:lnTo>
                      <a:lnTo>
                        <a:pt x="403" y="33"/>
                      </a:lnTo>
                      <a:lnTo>
                        <a:pt x="397" y="33"/>
                      </a:lnTo>
                      <a:lnTo>
                        <a:pt x="392" y="34"/>
                      </a:lnTo>
                      <a:lnTo>
                        <a:pt x="389" y="34"/>
                      </a:lnTo>
                      <a:lnTo>
                        <a:pt x="388" y="36"/>
                      </a:lnTo>
                      <a:lnTo>
                        <a:pt x="387" y="37"/>
                      </a:lnTo>
                      <a:lnTo>
                        <a:pt x="378" y="37"/>
                      </a:lnTo>
                      <a:lnTo>
                        <a:pt x="373" y="38"/>
                      </a:lnTo>
                      <a:lnTo>
                        <a:pt x="369" y="39"/>
                      </a:lnTo>
                      <a:lnTo>
                        <a:pt x="367" y="42"/>
                      </a:lnTo>
                      <a:lnTo>
                        <a:pt x="364" y="42"/>
                      </a:lnTo>
                      <a:lnTo>
                        <a:pt x="360" y="42"/>
                      </a:lnTo>
                      <a:lnTo>
                        <a:pt x="356" y="43"/>
                      </a:lnTo>
                      <a:lnTo>
                        <a:pt x="356" y="47"/>
                      </a:lnTo>
                      <a:lnTo>
                        <a:pt x="354" y="47"/>
                      </a:lnTo>
                      <a:lnTo>
                        <a:pt x="351" y="45"/>
                      </a:lnTo>
                      <a:lnTo>
                        <a:pt x="349" y="44"/>
                      </a:lnTo>
                      <a:lnTo>
                        <a:pt x="346" y="43"/>
                      </a:lnTo>
                      <a:lnTo>
                        <a:pt x="343" y="45"/>
                      </a:lnTo>
                      <a:lnTo>
                        <a:pt x="340" y="45"/>
                      </a:lnTo>
                      <a:lnTo>
                        <a:pt x="338" y="45"/>
                      </a:lnTo>
                      <a:lnTo>
                        <a:pt x="334" y="44"/>
                      </a:lnTo>
                      <a:lnTo>
                        <a:pt x="329" y="43"/>
                      </a:lnTo>
                      <a:lnTo>
                        <a:pt x="324" y="44"/>
                      </a:lnTo>
                      <a:lnTo>
                        <a:pt x="323" y="44"/>
                      </a:lnTo>
                      <a:lnTo>
                        <a:pt x="323" y="47"/>
                      </a:lnTo>
                      <a:lnTo>
                        <a:pt x="321" y="45"/>
                      </a:lnTo>
                      <a:lnTo>
                        <a:pt x="317" y="47"/>
                      </a:lnTo>
                      <a:lnTo>
                        <a:pt x="321" y="48"/>
                      </a:lnTo>
                      <a:lnTo>
                        <a:pt x="323" y="52"/>
                      </a:lnTo>
                      <a:lnTo>
                        <a:pt x="323" y="54"/>
                      </a:lnTo>
                      <a:lnTo>
                        <a:pt x="322" y="55"/>
                      </a:lnTo>
                      <a:lnTo>
                        <a:pt x="318" y="55"/>
                      </a:lnTo>
                      <a:lnTo>
                        <a:pt x="324" y="58"/>
                      </a:lnTo>
                      <a:lnTo>
                        <a:pt x="329" y="59"/>
                      </a:lnTo>
                      <a:lnTo>
                        <a:pt x="333" y="58"/>
                      </a:lnTo>
                      <a:lnTo>
                        <a:pt x="334" y="59"/>
                      </a:lnTo>
                      <a:lnTo>
                        <a:pt x="335" y="60"/>
                      </a:lnTo>
                      <a:lnTo>
                        <a:pt x="335" y="60"/>
                      </a:lnTo>
                      <a:lnTo>
                        <a:pt x="333" y="61"/>
                      </a:lnTo>
                      <a:lnTo>
                        <a:pt x="329" y="63"/>
                      </a:lnTo>
                      <a:lnTo>
                        <a:pt x="327" y="64"/>
                      </a:lnTo>
                      <a:lnTo>
                        <a:pt x="327" y="65"/>
                      </a:lnTo>
                      <a:lnTo>
                        <a:pt x="328" y="66"/>
                      </a:lnTo>
                      <a:lnTo>
                        <a:pt x="338" y="69"/>
                      </a:lnTo>
                      <a:lnTo>
                        <a:pt x="346" y="71"/>
                      </a:lnTo>
                      <a:lnTo>
                        <a:pt x="349" y="71"/>
                      </a:lnTo>
                      <a:lnTo>
                        <a:pt x="353" y="72"/>
                      </a:lnTo>
                      <a:lnTo>
                        <a:pt x="354" y="74"/>
                      </a:lnTo>
                      <a:lnTo>
                        <a:pt x="353" y="75"/>
                      </a:lnTo>
                      <a:lnTo>
                        <a:pt x="349" y="77"/>
                      </a:lnTo>
                      <a:lnTo>
                        <a:pt x="345" y="77"/>
                      </a:lnTo>
                      <a:lnTo>
                        <a:pt x="341" y="76"/>
                      </a:lnTo>
                      <a:lnTo>
                        <a:pt x="338" y="76"/>
                      </a:lnTo>
                      <a:lnTo>
                        <a:pt x="335" y="75"/>
                      </a:lnTo>
                      <a:lnTo>
                        <a:pt x="333" y="76"/>
                      </a:lnTo>
                      <a:lnTo>
                        <a:pt x="330" y="76"/>
                      </a:lnTo>
                      <a:lnTo>
                        <a:pt x="327" y="76"/>
                      </a:lnTo>
                      <a:lnTo>
                        <a:pt x="327" y="79"/>
                      </a:lnTo>
                      <a:lnTo>
                        <a:pt x="326" y="81"/>
                      </a:lnTo>
                      <a:lnTo>
                        <a:pt x="323" y="84"/>
                      </a:lnTo>
                      <a:lnTo>
                        <a:pt x="322" y="86"/>
                      </a:lnTo>
                      <a:lnTo>
                        <a:pt x="324" y="87"/>
                      </a:lnTo>
                      <a:lnTo>
                        <a:pt x="328" y="91"/>
                      </a:lnTo>
                      <a:lnTo>
                        <a:pt x="332" y="95"/>
                      </a:lnTo>
                      <a:lnTo>
                        <a:pt x="334" y="97"/>
                      </a:lnTo>
                      <a:lnTo>
                        <a:pt x="330" y="100"/>
                      </a:lnTo>
                      <a:lnTo>
                        <a:pt x="328" y="102"/>
                      </a:lnTo>
                      <a:lnTo>
                        <a:pt x="326" y="102"/>
                      </a:lnTo>
                      <a:lnTo>
                        <a:pt x="324" y="102"/>
                      </a:lnTo>
                      <a:lnTo>
                        <a:pt x="323" y="103"/>
                      </a:lnTo>
                      <a:lnTo>
                        <a:pt x="319" y="104"/>
                      </a:lnTo>
                      <a:lnTo>
                        <a:pt x="314" y="108"/>
                      </a:lnTo>
                      <a:lnTo>
                        <a:pt x="312" y="108"/>
                      </a:lnTo>
                      <a:lnTo>
                        <a:pt x="312" y="109"/>
                      </a:lnTo>
                      <a:lnTo>
                        <a:pt x="312" y="111"/>
                      </a:lnTo>
                      <a:lnTo>
                        <a:pt x="314" y="112"/>
                      </a:lnTo>
                      <a:lnTo>
                        <a:pt x="319" y="113"/>
                      </a:lnTo>
                      <a:lnTo>
                        <a:pt x="323" y="114"/>
                      </a:lnTo>
                      <a:lnTo>
                        <a:pt x="326" y="117"/>
                      </a:lnTo>
                      <a:lnTo>
                        <a:pt x="327" y="118"/>
                      </a:lnTo>
                      <a:lnTo>
                        <a:pt x="329" y="119"/>
                      </a:lnTo>
                      <a:lnTo>
                        <a:pt x="332" y="119"/>
                      </a:lnTo>
                      <a:lnTo>
                        <a:pt x="337" y="120"/>
                      </a:lnTo>
                      <a:lnTo>
                        <a:pt x="341" y="123"/>
                      </a:lnTo>
                      <a:lnTo>
                        <a:pt x="344" y="124"/>
                      </a:lnTo>
                      <a:lnTo>
                        <a:pt x="345" y="125"/>
                      </a:lnTo>
                      <a:lnTo>
                        <a:pt x="349" y="125"/>
                      </a:lnTo>
                      <a:lnTo>
                        <a:pt x="355" y="128"/>
                      </a:lnTo>
                      <a:lnTo>
                        <a:pt x="360" y="130"/>
                      </a:lnTo>
                      <a:lnTo>
                        <a:pt x="357" y="133"/>
                      </a:lnTo>
                      <a:lnTo>
                        <a:pt x="357" y="136"/>
                      </a:lnTo>
                      <a:lnTo>
                        <a:pt x="359" y="140"/>
                      </a:lnTo>
                      <a:lnTo>
                        <a:pt x="359" y="144"/>
                      </a:lnTo>
                      <a:lnTo>
                        <a:pt x="356" y="146"/>
                      </a:lnTo>
                      <a:lnTo>
                        <a:pt x="351" y="149"/>
                      </a:lnTo>
                      <a:lnTo>
                        <a:pt x="346" y="150"/>
                      </a:lnTo>
                      <a:lnTo>
                        <a:pt x="343" y="150"/>
                      </a:lnTo>
                      <a:lnTo>
                        <a:pt x="337" y="150"/>
                      </a:lnTo>
                      <a:lnTo>
                        <a:pt x="330" y="149"/>
                      </a:lnTo>
                      <a:lnTo>
                        <a:pt x="329" y="146"/>
                      </a:lnTo>
                      <a:lnTo>
                        <a:pt x="327" y="145"/>
                      </a:lnTo>
                      <a:lnTo>
                        <a:pt x="326" y="144"/>
                      </a:lnTo>
                      <a:lnTo>
                        <a:pt x="323" y="144"/>
                      </a:lnTo>
                      <a:lnTo>
                        <a:pt x="322" y="145"/>
                      </a:lnTo>
                      <a:lnTo>
                        <a:pt x="322" y="147"/>
                      </a:lnTo>
                      <a:lnTo>
                        <a:pt x="322" y="150"/>
                      </a:lnTo>
                      <a:lnTo>
                        <a:pt x="321" y="151"/>
                      </a:lnTo>
                      <a:lnTo>
                        <a:pt x="319" y="154"/>
                      </a:lnTo>
                      <a:lnTo>
                        <a:pt x="317" y="154"/>
                      </a:lnTo>
                      <a:lnTo>
                        <a:pt x="313" y="155"/>
                      </a:lnTo>
                      <a:lnTo>
                        <a:pt x="313" y="152"/>
                      </a:lnTo>
                      <a:lnTo>
                        <a:pt x="312" y="151"/>
                      </a:lnTo>
                      <a:lnTo>
                        <a:pt x="308" y="150"/>
                      </a:lnTo>
                      <a:lnTo>
                        <a:pt x="305" y="150"/>
                      </a:lnTo>
                      <a:lnTo>
                        <a:pt x="295" y="149"/>
                      </a:lnTo>
                      <a:lnTo>
                        <a:pt x="291" y="146"/>
                      </a:lnTo>
                      <a:lnTo>
                        <a:pt x="289" y="144"/>
                      </a:lnTo>
                      <a:lnTo>
                        <a:pt x="285" y="139"/>
                      </a:lnTo>
                      <a:lnTo>
                        <a:pt x="280" y="135"/>
                      </a:lnTo>
                      <a:lnTo>
                        <a:pt x="278" y="134"/>
                      </a:lnTo>
                      <a:lnTo>
                        <a:pt x="276" y="135"/>
                      </a:lnTo>
                      <a:lnTo>
                        <a:pt x="274" y="136"/>
                      </a:lnTo>
                      <a:lnTo>
                        <a:pt x="271" y="136"/>
                      </a:lnTo>
                      <a:lnTo>
                        <a:pt x="268" y="136"/>
                      </a:lnTo>
                      <a:lnTo>
                        <a:pt x="265" y="136"/>
                      </a:lnTo>
                      <a:lnTo>
                        <a:pt x="265" y="138"/>
                      </a:lnTo>
                      <a:lnTo>
                        <a:pt x="265" y="143"/>
                      </a:lnTo>
                      <a:lnTo>
                        <a:pt x="263" y="143"/>
                      </a:lnTo>
                      <a:lnTo>
                        <a:pt x="260" y="143"/>
                      </a:lnTo>
                      <a:lnTo>
                        <a:pt x="259" y="143"/>
                      </a:lnTo>
                      <a:lnTo>
                        <a:pt x="257" y="143"/>
                      </a:lnTo>
                      <a:lnTo>
                        <a:pt x="253" y="140"/>
                      </a:lnTo>
                      <a:lnTo>
                        <a:pt x="250" y="138"/>
                      </a:lnTo>
                      <a:lnTo>
                        <a:pt x="248" y="136"/>
                      </a:lnTo>
                      <a:lnTo>
                        <a:pt x="243" y="136"/>
                      </a:lnTo>
                      <a:lnTo>
                        <a:pt x="239" y="138"/>
                      </a:lnTo>
                      <a:lnTo>
                        <a:pt x="237" y="140"/>
                      </a:lnTo>
                      <a:lnTo>
                        <a:pt x="235" y="139"/>
                      </a:lnTo>
                      <a:lnTo>
                        <a:pt x="231" y="138"/>
                      </a:lnTo>
                      <a:lnTo>
                        <a:pt x="231" y="140"/>
                      </a:lnTo>
                      <a:lnTo>
                        <a:pt x="230" y="141"/>
                      </a:lnTo>
                      <a:lnTo>
                        <a:pt x="226" y="144"/>
                      </a:lnTo>
                      <a:lnTo>
                        <a:pt x="225" y="146"/>
                      </a:lnTo>
                      <a:lnTo>
                        <a:pt x="223" y="149"/>
                      </a:lnTo>
                      <a:lnTo>
                        <a:pt x="221" y="151"/>
                      </a:lnTo>
                      <a:lnTo>
                        <a:pt x="219" y="152"/>
                      </a:lnTo>
                      <a:lnTo>
                        <a:pt x="215" y="152"/>
                      </a:lnTo>
                      <a:lnTo>
                        <a:pt x="212" y="151"/>
                      </a:lnTo>
                      <a:lnTo>
                        <a:pt x="209" y="149"/>
                      </a:lnTo>
                      <a:lnTo>
                        <a:pt x="205" y="147"/>
                      </a:lnTo>
                      <a:lnTo>
                        <a:pt x="200" y="146"/>
                      </a:lnTo>
                      <a:lnTo>
                        <a:pt x="196" y="144"/>
                      </a:lnTo>
                      <a:lnTo>
                        <a:pt x="194" y="141"/>
                      </a:lnTo>
                      <a:lnTo>
                        <a:pt x="190" y="139"/>
                      </a:lnTo>
                      <a:lnTo>
                        <a:pt x="187" y="138"/>
                      </a:lnTo>
                      <a:lnTo>
                        <a:pt x="184" y="139"/>
                      </a:lnTo>
                      <a:lnTo>
                        <a:pt x="185" y="141"/>
                      </a:lnTo>
                      <a:lnTo>
                        <a:pt x="188" y="146"/>
                      </a:lnTo>
                      <a:lnTo>
                        <a:pt x="190" y="150"/>
                      </a:lnTo>
                      <a:lnTo>
                        <a:pt x="189" y="152"/>
                      </a:lnTo>
                      <a:lnTo>
                        <a:pt x="188" y="154"/>
                      </a:lnTo>
                      <a:lnTo>
                        <a:pt x="187" y="154"/>
                      </a:lnTo>
                      <a:lnTo>
                        <a:pt x="184" y="151"/>
                      </a:lnTo>
                      <a:lnTo>
                        <a:pt x="184" y="147"/>
                      </a:lnTo>
                      <a:lnTo>
                        <a:pt x="184" y="144"/>
                      </a:lnTo>
                      <a:lnTo>
                        <a:pt x="177" y="140"/>
                      </a:lnTo>
                      <a:lnTo>
                        <a:pt x="174" y="138"/>
                      </a:lnTo>
                      <a:lnTo>
                        <a:pt x="171" y="134"/>
                      </a:lnTo>
                      <a:lnTo>
                        <a:pt x="166" y="133"/>
                      </a:lnTo>
                      <a:lnTo>
                        <a:pt x="162" y="133"/>
                      </a:lnTo>
                      <a:lnTo>
                        <a:pt x="158" y="130"/>
                      </a:lnTo>
                      <a:lnTo>
                        <a:pt x="157" y="128"/>
                      </a:lnTo>
                      <a:lnTo>
                        <a:pt x="155" y="125"/>
                      </a:lnTo>
                      <a:lnTo>
                        <a:pt x="151" y="124"/>
                      </a:lnTo>
                      <a:lnTo>
                        <a:pt x="146" y="123"/>
                      </a:lnTo>
                      <a:lnTo>
                        <a:pt x="136" y="124"/>
                      </a:lnTo>
                      <a:lnTo>
                        <a:pt x="132" y="123"/>
                      </a:lnTo>
                      <a:lnTo>
                        <a:pt x="129" y="122"/>
                      </a:lnTo>
                      <a:lnTo>
                        <a:pt x="125" y="119"/>
                      </a:lnTo>
                      <a:lnTo>
                        <a:pt x="123" y="114"/>
                      </a:lnTo>
                      <a:lnTo>
                        <a:pt x="118" y="116"/>
                      </a:lnTo>
                      <a:lnTo>
                        <a:pt x="113" y="118"/>
                      </a:lnTo>
                      <a:lnTo>
                        <a:pt x="110" y="119"/>
                      </a:lnTo>
                      <a:lnTo>
                        <a:pt x="110" y="120"/>
                      </a:lnTo>
                      <a:lnTo>
                        <a:pt x="110" y="123"/>
                      </a:lnTo>
                      <a:lnTo>
                        <a:pt x="109" y="124"/>
                      </a:lnTo>
                      <a:lnTo>
                        <a:pt x="108" y="123"/>
                      </a:lnTo>
                      <a:lnTo>
                        <a:pt x="107" y="123"/>
                      </a:lnTo>
                      <a:lnTo>
                        <a:pt x="103" y="123"/>
                      </a:lnTo>
                      <a:lnTo>
                        <a:pt x="100" y="123"/>
                      </a:lnTo>
                      <a:lnTo>
                        <a:pt x="99" y="122"/>
                      </a:lnTo>
                      <a:lnTo>
                        <a:pt x="99" y="119"/>
                      </a:lnTo>
                      <a:lnTo>
                        <a:pt x="97" y="118"/>
                      </a:lnTo>
                      <a:lnTo>
                        <a:pt x="92" y="117"/>
                      </a:lnTo>
                      <a:lnTo>
                        <a:pt x="87" y="116"/>
                      </a:lnTo>
                      <a:lnTo>
                        <a:pt x="83" y="114"/>
                      </a:lnTo>
                      <a:lnTo>
                        <a:pt x="84" y="120"/>
                      </a:lnTo>
                      <a:lnTo>
                        <a:pt x="82" y="119"/>
                      </a:lnTo>
                      <a:lnTo>
                        <a:pt x="81" y="120"/>
                      </a:lnTo>
                      <a:lnTo>
                        <a:pt x="78" y="123"/>
                      </a:lnTo>
                      <a:lnTo>
                        <a:pt x="77" y="128"/>
                      </a:lnTo>
                      <a:lnTo>
                        <a:pt x="75" y="130"/>
                      </a:lnTo>
                      <a:lnTo>
                        <a:pt x="71" y="130"/>
                      </a:lnTo>
                      <a:lnTo>
                        <a:pt x="68" y="131"/>
                      </a:lnTo>
                      <a:lnTo>
                        <a:pt x="65" y="134"/>
                      </a:lnTo>
                      <a:lnTo>
                        <a:pt x="62" y="135"/>
                      </a:lnTo>
                      <a:lnTo>
                        <a:pt x="60" y="135"/>
                      </a:lnTo>
                      <a:lnTo>
                        <a:pt x="56" y="135"/>
                      </a:lnTo>
                      <a:lnTo>
                        <a:pt x="54" y="136"/>
                      </a:lnTo>
                      <a:lnTo>
                        <a:pt x="54" y="138"/>
                      </a:lnTo>
                      <a:lnTo>
                        <a:pt x="55" y="140"/>
                      </a:lnTo>
                      <a:lnTo>
                        <a:pt x="55" y="143"/>
                      </a:lnTo>
                      <a:lnTo>
                        <a:pt x="55" y="144"/>
                      </a:lnTo>
                      <a:lnTo>
                        <a:pt x="54" y="145"/>
                      </a:lnTo>
                      <a:lnTo>
                        <a:pt x="49" y="149"/>
                      </a:lnTo>
                      <a:lnTo>
                        <a:pt x="45" y="150"/>
                      </a:lnTo>
                      <a:lnTo>
                        <a:pt x="41" y="151"/>
                      </a:lnTo>
                      <a:lnTo>
                        <a:pt x="37" y="151"/>
                      </a:lnTo>
                      <a:lnTo>
                        <a:pt x="40" y="154"/>
                      </a:lnTo>
                      <a:lnTo>
                        <a:pt x="43" y="159"/>
                      </a:lnTo>
                      <a:lnTo>
                        <a:pt x="44" y="163"/>
                      </a:lnTo>
                      <a:lnTo>
                        <a:pt x="46" y="167"/>
                      </a:lnTo>
                      <a:lnTo>
                        <a:pt x="49" y="168"/>
                      </a:lnTo>
                      <a:lnTo>
                        <a:pt x="49" y="171"/>
                      </a:lnTo>
                      <a:lnTo>
                        <a:pt x="46" y="173"/>
                      </a:lnTo>
                      <a:lnTo>
                        <a:pt x="41" y="176"/>
                      </a:lnTo>
                      <a:lnTo>
                        <a:pt x="38" y="176"/>
                      </a:lnTo>
                      <a:lnTo>
                        <a:pt x="35" y="175"/>
                      </a:lnTo>
                      <a:lnTo>
                        <a:pt x="32" y="171"/>
                      </a:lnTo>
                      <a:lnTo>
                        <a:pt x="24" y="163"/>
                      </a:lnTo>
                      <a:lnTo>
                        <a:pt x="19" y="160"/>
                      </a:lnTo>
                      <a:lnTo>
                        <a:pt x="16" y="157"/>
                      </a:lnTo>
                      <a:lnTo>
                        <a:pt x="12" y="157"/>
                      </a:lnTo>
                      <a:lnTo>
                        <a:pt x="8" y="159"/>
                      </a:lnTo>
                      <a:lnTo>
                        <a:pt x="7" y="161"/>
                      </a:lnTo>
                      <a:lnTo>
                        <a:pt x="8" y="165"/>
                      </a:lnTo>
                      <a:lnTo>
                        <a:pt x="8" y="168"/>
                      </a:lnTo>
                      <a:lnTo>
                        <a:pt x="7" y="171"/>
                      </a:lnTo>
                      <a:lnTo>
                        <a:pt x="3" y="175"/>
                      </a:lnTo>
                      <a:lnTo>
                        <a:pt x="1" y="177"/>
                      </a:lnTo>
                      <a:lnTo>
                        <a:pt x="0" y="181"/>
                      </a:lnTo>
                      <a:lnTo>
                        <a:pt x="0" y="186"/>
                      </a:lnTo>
                      <a:lnTo>
                        <a:pt x="0" y="189"/>
                      </a:lnTo>
                      <a:lnTo>
                        <a:pt x="2" y="192"/>
                      </a:lnTo>
                      <a:lnTo>
                        <a:pt x="5" y="194"/>
                      </a:lnTo>
                      <a:lnTo>
                        <a:pt x="7" y="198"/>
                      </a:lnTo>
                      <a:lnTo>
                        <a:pt x="8" y="200"/>
                      </a:lnTo>
                      <a:lnTo>
                        <a:pt x="6" y="203"/>
                      </a:lnTo>
                      <a:lnTo>
                        <a:pt x="1" y="208"/>
                      </a:lnTo>
                      <a:lnTo>
                        <a:pt x="0" y="214"/>
                      </a:lnTo>
                      <a:lnTo>
                        <a:pt x="0" y="215"/>
                      </a:lnTo>
                      <a:lnTo>
                        <a:pt x="0" y="216"/>
                      </a:lnTo>
                      <a:lnTo>
                        <a:pt x="0" y="219"/>
                      </a:lnTo>
                      <a:lnTo>
                        <a:pt x="0" y="220"/>
                      </a:lnTo>
                      <a:lnTo>
                        <a:pt x="1" y="221"/>
                      </a:lnTo>
                      <a:lnTo>
                        <a:pt x="5" y="224"/>
                      </a:lnTo>
                      <a:lnTo>
                        <a:pt x="9" y="225"/>
                      </a:lnTo>
                      <a:lnTo>
                        <a:pt x="12" y="226"/>
                      </a:lnTo>
                      <a:lnTo>
                        <a:pt x="13" y="226"/>
                      </a:lnTo>
                      <a:lnTo>
                        <a:pt x="14" y="229"/>
                      </a:lnTo>
                      <a:lnTo>
                        <a:pt x="16" y="230"/>
                      </a:lnTo>
                      <a:lnTo>
                        <a:pt x="18" y="232"/>
                      </a:lnTo>
                      <a:lnTo>
                        <a:pt x="16" y="235"/>
                      </a:lnTo>
                      <a:lnTo>
                        <a:pt x="19" y="240"/>
                      </a:lnTo>
                      <a:lnTo>
                        <a:pt x="22" y="243"/>
                      </a:lnTo>
                      <a:lnTo>
                        <a:pt x="24" y="243"/>
                      </a:lnTo>
                      <a:lnTo>
                        <a:pt x="27" y="242"/>
                      </a:lnTo>
                      <a:lnTo>
                        <a:pt x="34" y="241"/>
                      </a:lnTo>
                      <a:lnTo>
                        <a:pt x="40" y="243"/>
                      </a:lnTo>
                      <a:lnTo>
                        <a:pt x="49" y="247"/>
                      </a:lnTo>
                      <a:lnTo>
                        <a:pt x="55" y="253"/>
                      </a:lnTo>
                      <a:lnTo>
                        <a:pt x="61" y="261"/>
                      </a:lnTo>
                      <a:lnTo>
                        <a:pt x="67" y="268"/>
                      </a:lnTo>
                      <a:lnTo>
                        <a:pt x="71" y="273"/>
                      </a:lnTo>
                      <a:lnTo>
                        <a:pt x="72" y="275"/>
                      </a:lnTo>
                      <a:lnTo>
                        <a:pt x="71" y="275"/>
                      </a:lnTo>
                      <a:lnTo>
                        <a:pt x="68" y="277"/>
                      </a:lnTo>
                      <a:lnTo>
                        <a:pt x="62" y="275"/>
                      </a:lnTo>
                      <a:lnTo>
                        <a:pt x="61" y="277"/>
                      </a:lnTo>
                      <a:lnTo>
                        <a:pt x="60" y="278"/>
                      </a:lnTo>
                      <a:lnTo>
                        <a:pt x="61" y="279"/>
                      </a:lnTo>
                      <a:lnTo>
                        <a:pt x="64" y="280"/>
                      </a:lnTo>
                      <a:lnTo>
                        <a:pt x="70" y="283"/>
                      </a:lnTo>
                      <a:lnTo>
                        <a:pt x="76" y="286"/>
                      </a:lnTo>
                      <a:lnTo>
                        <a:pt x="80" y="288"/>
                      </a:lnTo>
                      <a:lnTo>
                        <a:pt x="81" y="289"/>
                      </a:lnTo>
                      <a:lnTo>
                        <a:pt x="80" y="286"/>
                      </a:lnTo>
                      <a:lnTo>
                        <a:pt x="81" y="286"/>
                      </a:lnTo>
                      <a:lnTo>
                        <a:pt x="81" y="286"/>
                      </a:lnTo>
                      <a:lnTo>
                        <a:pt x="82" y="285"/>
                      </a:lnTo>
                      <a:lnTo>
                        <a:pt x="83" y="284"/>
                      </a:lnTo>
                      <a:lnTo>
                        <a:pt x="84" y="284"/>
                      </a:lnTo>
                      <a:lnTo>
                        <a:pt x="82" y="280"/>
                      </a:lnTo>
                      <a:lnTo>
                        <a:pt x="87" y="284"/>
                      </a:lnTo>
                      <a:lnTo>
                        <a:pt x="86" y="281"/>
                      </a:lnTo>
                      <a:lnTo>
                        <a:pt x="87" y="281"/>
                      </a:lnTo>
                      <a:lnTo>
                        <a:pt x="88" y="281"/>
                      </a:lnTo>
                      <a:lnTo>
                        <a:pt x="91" y="283"/>
                      </a:lnTo>
                      <a:lnTo>
                        <a:pt x="97" y="280"/>
                      </a:lnTo>
                      <a:lnTo>
                        <a:pt x="104" y="277"/>
                      </a:lnTo>
                      <a:lnTo>
                        <a:pt x="107" y="273"/>
                      </a:lnTo>
                      <a:lnTo>
                        <a:pt x="109" y="272"/>
                      </a:lnTo>
                      <a:lnTo>
                        <a:pt x="112" y="270"/>
                      </a:lnTo>
                      <a:lnTo>
                        <a:pt x="113" y="270"/>
                      </a:lnTo>
                      <a:lnTo>
                        <a:pt x="114" y="270"/>
                      </a:lnTo>
                      <a:lnTo>
                        <a:pt x="116" y="270"/>
                      </a:lnTo>
                      <a:lnTo>
                        <a:pt x="118" y="269"/>
                      </a:lnTo>
                      <a:lnTo>
                        <a:pt x="121" y="265"/>
                      </a:lnTo>
                      <a:lnTo>
                        <a:pt x="126" y="264"/>
                      </a:lnTo>
                      <a:lnTo>
                        <a:pt x="132" y="265"/>
                      </a:lnTo>
                      <a:lnTo>
                        <a:pt x="137" y="268"/>
                      </a:lnTo>
                      <a:lnTo>
                        <a:pt x="144" y="270"/>
                      </a:lnTo>
                      <a:lnTo>
                        <a:pt x="150" y="273"/>
                      </a:lnTo>
                      <a:lnTo>
                        <a:pt x="155" y="273"/>
                      </a:lnTo>
                      <a:lnTo>
                        <a:pt x="159" y="270"/>
                      </a:lnTo>
                      <a:lnTo>
                        <a:pt x="163" y="269"/>
                      </a:lnTo>
                      <a:lnTo>
                        <a:pt x="167" y="269"/>
                      </a:lnTo>
                      <a:lnTo>
                        <a:pt x="171" y="269"/>
                      </a:lnTo>
                      <a:lnTo>
                        <a:pt x="173" y="272"/>
                      </a:lnTo>
                      <a:lnTo>
                        <a:pt x="179" y="280"/>
                      </a:lnTo>
                      <a:lnTo>
                        <a:pt x="184" y="290"/>
                      </a:lnTo>
                      <a:lnTo>
                        <a:pt x="183" y="296"/>
                      </a:lnTo>
                      <a:lnTo>
                        <a:pt x="180" y="302"/>
                      </a:lnTo>
                      <a:lnTo>
                        <a:pt x="178" y="309"/>
                      </a:lnTo>
                      <a:lnTo>
                        <a:pt x="178" y="313"/>
                      </a:lnTo>
                      <a:lnTo>
                        <a:pt x="180" y="316"/>
                      </a:lnTo>
                      <a:lnTo>
                        <a:pt x="184" y="318"/>
                      </a:lnTo>
                      <a:lnTo>
                        <a:pt x="189" y="320"/>
                      </a:lnTo>
                      <a:lnTo>
                        <a:pt x="193" y="321"/>
                      </a:lnTo>
                      <a:lnTo>
                        <a:pt x="187" y="323"/>
                      </a:lnTo>
                      <a:lnTo>
                        <a:pt x="179" y="322"/>
                      </a:lnTo>
                      <a:lnTo>
                        <a:pt x="172" y="320"/>
                      </a:lnTo>
                      <a:lnTo>
                        <a:pt x="164" y="320"/>
                      </a:lnTo>
                      <a:lnTo>
                        <a:pt x="161" y="320"/>
                      </a:lnTo>
                      <a:lnTo>
                        <a:pt x="156" y="320"/>
                      </a:lnTo>
                      <a:lnTo>
                        <a:pt x="152" y="318"/>
                      </a:lnTo>
                      <a:lnTo>
                        <a:pt x="151" y="320"/>
                      </a:lnTo>
                      <a:lnTo>
                        <a:pt x="150" y="320"/>
                      </a:lnTo>
                      <a:lnTo>
                        <a:pt x="147" y="321"/>
                      </a:lnTo>
                      <a:lnTo>
                        <a:pt x="146" y="322"/>
                      </a:lnTo>
                      <a:lnTo>
                        <a:pt x="142" y="325"/>
                      </a:lnTo>
                      <a:lnTo>
                        <a:pt x="139" y="329"/>
                      </a:lnTo>
                      <a:lnTo>
                        <a:pt x="137" y="334"/>
                      </a:lnTo>
                      <a:lnTo>
                        <a:pt x="139" y="339"/>
                      </a:lnTo>
                      <a:lnTo>
                        <a:pt x="142" y="342"/>
                      </a:lnTo>
                      <a:lnTo>
                        <a:pt x="146" y="343"/>
                      </a:lnTo>
                      <a:lnTo>
                        <a:pt x="151" y="345"/>
                      </a:lnTo>
                      <a:lnTo>
                        <a:pt x="153" y="348"/>
                      </a:lnTo>
                      <a:lnTo>
                        <a:pt x="148" y="348"/>
                      </a:lnTo>
                      <a:lnTo>
                        <a:pt x="142" y="348"/>
                      </a:lnTo>
                      <a:lnTo>
                        <a:pt x="139" y="347"/>
                      </a:lnTo>
                      <a:lnTo>
                        <a:pt x="135" y="345"/>
                      </a:lnTo>
                      <a:lnTo>
                        <a:pt x="131" y="344"/>
                      </a:lnTo>
                      <a:lnTo>
                        <a:pt x="128" y="343"/>
                      </a:lnTo>
                      <a:lnTo>
                        <a:pt x="124" y="344"/>
                      </a:lnTo>
                      <a:lnTo>
                        <a:pt x="120" y="345"/>
                      </a:lnTo>
                      <a:lnTo>
                        <a:pt x="119" y="347"/>
                      </a:lnTo>
                      <a:lnTo>
                        <a:pt x="119" y="349"/>
                      </a:lnTo>
                      <a:lnTo>
                        <a:pt x="120" y="352"/>
                      </a:lnTo>
                      <a:lnTo>
                        <a:pt x="124" y="354"/>
                      </a:lnTo>
                      <a:lnTo>
                        <a:pt x="126" y="355"/>
                      </a:lnTo>
                      <a:lnTo>
                        <a:pt x="131" y="356"/>
                      </a:lnTo>
                      <a:lnTo>
                        <a:pt x="135" y="359"/>
                      </a:lnTo>
                      <a:lnTo>
                        <a:pt x="141" y="365"/>
                      </a:lnTo>
                      <a:lnTo>
                        <a:pt x="145" y="372"/>
                      </a:lnTo>
                      <a:lnTo>
                        <a:pt x="150" y="379"/>
                      </a:lnTo>
                      <a:lnTo>
                        <a:pt x="153" y="381"/>
                      </a:lnTo>
                      <a:lnTo>
                        <a:pt x="155" y="386"/>
                      </a:lnTo>
                      <a:lnTo>
                        <a:pt x="155" y="390"/>
                      </a:lnTo>
                      <a:lnTo>
                        <a:pt x="156" y="391"/>
                      </a:lnTo>
                      <a:lnTo>
                        <a:pt x="159" y="391"/>
                      </a:lnTo>
                      <a:lnTo>
                        <a:pt x="163" y="391"/>
                      </a:lnTo>
                      <a:lnTo>
                        <a:pt x="164" y="391"/>
                      </a:lnTo>
                      <a:lnTo>
                        <a:pt x="166" y="392"/>
                      </a:lnTo>
                      <a:lnTo>
                        <a:pt x="168" y="396"/>
                      </a:lnTo>
                      <a:lnTo>
                        <a:pt x="172" y="400"/>
                      </a:lnTo>
                      <a:lnTo>
                        <a:pt x="173" y="401"/>
                      </a:lnTo>
                      <a:lnTo>
                        <a:pt x="175" y="401"/>
                      </a:lnTo>
                      <a:lnTo>
                        <a:pt x="178" y="401"/>
                      </a:lnTo>
                      <a:lnTo>
                        <a:pt x="180" y="401"/>
                      </a:lnTo>
                      <a:lnTo>
                        <a:pt x="182" y="402"/>
                      </a:lnTo>
                      <a:lnTo>
                        <a:pt x="184" y="402"/>
                      </a:lnTo>
                      <a:lnTo>
                        <a:pt x="190" y="403"/>
                      </a:lnTo>
                      <a:lnTo>
                        <a:pt x="195" y="406"/>
                      </a:lnTo>
                      <a:lnTo>
                        <a:pt x="196" y="407"/>
                      </a:lnTo>
                      <a:lnTo>
                        <a:pt x="195" y="409"/>
                      </a:lnTo>
                      <a:lnTo>
                        <a:pt x="193" y="407"/>
                      </a:lnTo>
                      <a:lnTo>
                        <a:pt x="195" y="411"/>
                      </a:lnTo>
                      <a:lnTo>
                        <a:pt x="195" y="415"/>
                      </a:lnTo>
                      <a:lnTo>
                        <a:pt x="194" y="419"/>
                      </a:lnTo>
                      <a:lnTo>
                        <a:pt x="193" y="424"/>
                      </a:lnTo>
                      <a:lnTo>
                        <a:pt x="193" y="428"/>
                      </a:lnTo>
                      <a:lnTo>
                        <a:pt x="193" y="431"/>
                      </a:lnTo>
                      <a:lnTo>
                        <a:pt x="194" y="434"/>
                      </a:lnTo>
                      <a:lnTo>
                        <a:pt x="195" y="438"/>
                      </a:lnTo>
                      <a:lnTo>
                        <a:pt x="200" y="431"/>
                      </a:lnTo>
                      <a:lnTo>
                        <a:pt x="206" y="427"/>
                      </a:lnTo>
                      <a:lnTo>
                        <a:pt x="214" y="423"/>
                      </a:lnTo>
                      <a:lnTo>
                        <a:pt x="221" y="420"/>
                      </a:lnTo>
                      <a:lnTo>
                        <a:pt x="228" y="420"/>
                      </a:lnTo>
                      <a:lnTo>
                        <a:pt x="235" y="420"/>
                      </a:lnTo>
                      <a:lnTo>
                        <a:pt x="242" y="422"/>
                      </a:lnTo>
                      <a:lnTo>
                        <a:pt x="248" y="425"/>
                      </a:lnTo>
                      <a:lnTo>
                        <a:pt x="255" y="429"/>
                      </a:lnTo>
                      <a:lnTo>
                        <a:pt x="260" y="434"/>
                      </a:lnTo>
                      <a:lnTo>
                        <a:pt x="270" y="446"/>
                      </a:lnTo>
                      <a:lnTo>
                        <a:pt x="276" y="450"/>
                      </a:lnTo>
                      <a:lnTo>
                        <a:pt x="282" y="452"/>
                      </a:lnTo>
                      <a:lnTo>
                        <a:pt x="287" y="452"/>
                      </a:lnTo>
                      <a:lnTo>
                        <a:pt x="292" y="452"/>
                      </a:lnTo>
                      <a:lnTo>
                        <a:pt x="266" y="332"/>
                      </a:lnTo>
                      <a:lnTo>
                        <a:pt x="328" y="315"/>
                      </a:lnTo>
                      <a:lnTo>
                        <a:pt x="330" y="313"/>
                      </a:lnTo>
                      <a:lnTo>
                        <a:pt x="332" y="312"/>
                      </a:lnTo>
                      <a:lnTo>
                        <a:pt x="329" y="309"/>
                      </a:lnTo>
                      <a:lnTo>
                        <a:pt x="330" y="310"/>
                      </a:lnTo>
                      <a:lnTo>
                        <a:pt x="330" y="310"/>
                      </a:lnTo>
                      <a:lnTo>
                        <a:pt x="332" y="309"/>
                      </a:lnTo>
                      <a:lnTo>
                        <a:pt x="332" y="306"/>
                      </a:lnTo>
                      <a:lnTo>
                        <a:pt x="332" y="305"/>
                      </a:lnTo>
                      <a:lnTo>
                        <a:pt x="332" y="305"/>
                      </a:lnTo>
                      <a:lnTo>
                        <a:pt x="334" y="304"/>
                      </a:lnTo>
                      <a:lnTo>
                        <a:pt x="339" y="302"/>
                      </a:lnTo>
                      <a:lnTo>
                        <a:pt x="343" y="301"/>
                      </a:lnTo>
                      <a:lnTo>
                        <a:pt x="346" y="301"/>
                      </a:lnTo>
                      <a:lnTo>
                        <a:pt x="346" y="302"/>
                      </a:lnTo>
                      <a:lnTo>
                        <a:pt x="345" y="304"/>
                      </a:lnTo>
                      <a:lnTo>
                        <a:pt x="345" y="305"/>
                      </a:lnTo>
                      <a:lnTo>
                        <a:pt x="345" y="306"/>
                      </a:lnTo>
                      <a:lnTo>
                        <a:pt x="348" y="307"/>
                      </a:lnTo>
                      <a:lnTo>
                        <a:pt x="349" y="307"/>
                      </a:lnTo>
                      <a:lnTo>
                        <a:pt x="349" y="307"/>
                      </a:lnTo>
                      <a:lnTo>
                        <a:pt x="351" y="309"/>
                      </a:lnTo>
                      <a:lnTo>
                        <a:pt x="353" y="309"/>
                      </a:lnTo>
                      <a:lnTo>
                        <a:pt x="354" y="309"/>
                      </a:lnTo>
                      <a:lnTo>
                        <a:pt x="354" y="307"/>
                      </a:lnTo>
                      <a:lnTo>
                        <a:pt x="354" y="307"/>
                      </a:lnTo>
                      <a:lnTo>
                        <a:pt x="355" y="307"/>
                      </a:lnTo>
                      <a:lnTo>
                        <a:pt x="355" y="305"/>
                      </a:lnTo>
                      <a:lnTo>
                        <a:pt x="355" y="299"/>
                      </a:lnTo>
                      <a:lnTo>
                        <a:pt x="354" y="295"/>
                      </a:lnTo>
                      <a:lnTo>
                        <a:pt x="351" y="293"/>
                      </a:lnTo>
                      <a:lnTo>
                        <a:pt x="349" y="290"/>
                      </a:lnTo>
                      <a:lnTo>
                        <a:pt x="349" y="290"/>
                      </a:lnTo>
                      <a:lnTo>
                        <a:pt x="353" y="290"/>
                      </a:lnTo>
                      <a:lnTo>
                        <a:pt x="356" y="291"/>
                      </a:lnTo>
                      <a:lnTo>
                        <a:pt x="357" y="294"/>
                      </a:lnTo>
                      <a:lnTo>
                        <a:pt x="357" y="296"/>
                      </a:lnTo>
                      <a:lnTo>
                        <a:pt x="357" y="297"/>
                      </a:lnTo>
                      <a:lnTo>
                        <a:pt x="360" y="297"/>
                      </a:lnTo>
                      <a:lnTo>
                        <a:pt x="362" y="297"/>
                      </a:lnTo>
                      <a:lnTo>
                        <a:pt x="366" y="296"/>
                      </a:lnTo>
                      <a:lnTo>
                        <a:pt x="369" y="296"/>
                      </a:lnTo>
                      <a:lnTo>
                        <a:pt x="370" y="297"/>
                      </a:lnTo>
                      <a:lnTo>
                        <a:pt x="371" y="299"/>
                      </a:lnTo>
                      <a:lnTo>
                        <a:pt x="370" y="300"/>
                      </a:lnTo>
                      <a:lnTo>
                        <a:pt x="367" y="300"/>
                      </a:lnTo>
                      <a:lnTo>
                        <a:pt x="365" y="300"/>
                      </a:lnTo>
                      <a:lnTo>
                        <a:pt x="367" y="301"/>
                      </a:lnTo>
                      <a:lnTo>
                        <a:pt x="369" y="302"/>
                      </a:lnTo>
                      <a:lnTo>
                        <a:pt x="371" y="302"/>
                      </a:lnTo>
                      <a:lnTo>
                        <a:pt x="372" y="304"/>
                      </a:lnTo>
                      <a:lnTo>
                        <a:pt x="372" y="305"/>
                      </a:lnTo>
                      <a:lnTo>
                        <a:pt x="371" y="304"/>
                      </a:lnTo>
                      <a:lnTo>
                        <a:pt x="369" y="304"/>
                      </a:lnTo>
                      <a:lnTo>
                        <a:pt x="369" y="305"/>
                      </a:lnTo>
                      <a:lnTo>
                        <a:pt x="371" y="306"/>
                      </a:lnTo>
                      <a:lnTo>
                        <a:pt x="372" y="307"/>
                      </a:lnTo>
                      <a:lnTo>
                        <a:pt x="373" y="307"/>
                      </a:lnTo>
                      <a:lnTo>
                        <a:pt x="375" y="309"/>
                      </a:lnTo>
                      <a:lnTo>
                        <a:pt x="375" y="310"/>
                      </a:lnTo>
                      <a:lnTo>
                        <a:pt x="373" y="310"/>
                      </a:lnTo>
                      <a:lnTo>
                        <a:pt x="369" y="310"/>
                      </a:lnTo>
                      <a:lnTo>
                        <a:pt x="364" y="309"/>
                      </a:lnTo>
                      <a:lnTo>
                        <a:pt x="362" y="309"/>
                      </a:lnTo>
                      <a:lnTo>
                        <a:pt x="362" y="310"/>
                      </a:lnTo>
                      <a:lnTo>
                        <a:pt x="360" y="310"/>
                      </a:lnTo>
                      <a:lnTo>
                        <a:pt x="360" y="311"/>
                      </a:lnTo>
                      <a:lnTo>
                        <a:pt x="361" y="312"/>
                      </a:lnTo>
                      <a:lnTo>
                        <a:pt x="364" y="313"/>
                      </a:lnTo>
                      <a:lnTo>
                        <a:pt x="365" y="313"/>
                      </a:lnTo>
                      <a:lnTo>
                        <a:pt x="366" y="313"/>
                      </a:lnTo>
                      <a:lnTo>
                        <a:pt x="371" y="313"/>
                      </a:lnTo>
                      <a:lnTo>
                        <a:pt x="377" y="313"/>
                      </a:lnTo>
                      <a:lnTo>
                        <a:pt x="378" y="315"/>
                      </a:lnTo>
                      <a:lnTo>
                        <a:pt x="380" y="315"/>
                      </a:lnTo>
                      <a:lnTo>
                        <a:pt x="380" y="318"/>
                      </a:lnTo>
                      <a:lnTo>
                        <a:pt x="380" y="321"/>
                      </a:lnTo>
                      <a:lnTo>
                        <a:pt x="378" y="323"/>
                      </a:lnTo>
                      <a:lnTo>
                        <a:pt x="378" y="326"/>
                      </a:lnTo>
                      <a:lnTo>
                        <a:pt x="380" y="328"/>
                      </a:lnTo>
                      <a:lnTo>
                        <a:pt x="382" y="331"/>
                      </a:lnTo>
                      <a:lnTo>
                        <a:pt x="387" y="336"/>
                      </a:lnTo>
                      <a:lnTo>
                        <a:pt x="391" y="339"/>
                      </a:lnTo>
                      <a:lnTo>
                        <a:pt x="392" y="342"/>
                      </a:lnTo>
                      <a:lnTo>
                        <a:pt x="392" y="343"/>
                      </a:lnTo>
                      <a:lnTo>
                        <a:pt x="391" y="343"/>
                      </a:lnTo>
                      <a:lnTo>
                        <a:pt x="396" y="345"/>
                      </a:lnTo>
                      <a:lnTo>
                        <a:pt x="397" y="347"/>
                      </a:lnTo>
                      <a:lnTo>
                        <a:pt x="399" y="349"/>
                      </a:lnTo>
                      <a:lnTo>
                        <a:pt x="403" y="352"/>
                      </a:lnTo>
                      <a:lnTo>
                        <a:pt x="413" y="361"/>
                      </a:lnTo>
                      <a:lnTo>
                        <a:pt x="423" y="370"/>
                      </a:lnTo>
                      <a:lnTo>
                        <a:pt x="426" y="375"/>
                      </a:lnTo>
                      <a:lnTo>
                        <a:pt x="431" y="379"/>
                      </a:lnTo>
                      <a:lnTo>
                        <a:pt x="437" y="381"/>
                      </a:lnTo>
                      <a:lnTo>
                        <a:pt x="445" y="380"/>
                      </a:lnTo>
                      <a:lnTo>
                        <a:pt x="453" y="379"/>
                      </a:lnTo>
                      <a:lnTo>
                        <a:pt x="462" y="377"/>
                      </a:lnTo>
                      <a:lnTo>
                        <a:pt x="471" y="377"/>
                      </a:lnTo>
                      <a:lnTo>
                        <a:pt x="480" y="379"/>
                      </a:lnTo>
                      <a:lnTo>
                        <a:pt x="489" y="380"/>
                      </a:lnTo>
                      <a:lnTo>
                        <a:pt x="499" y="379"/>
                      </a:lnTo>
                      <a:lnTo>
                        <a:pt x="504" y="376"/>
                      </a:lnTo>
                      <a:lnTo>
                        <a:pt x="508" y="374"/>
                      </a:lnTo>
                      <a:lnTo>
                        <a:pt x="511" y="374"/>
                      </a:lnTo>
                      <a:lnTo>
                        <a:pt x="514" y="375"/>
                      </a:lnTo>
                      <a:lnTo>
                        <a:pt x="517" y="377"/>
                      </a:lnTo>
                      <a:lnTo>
                        <a:pt x="520" y="381"/>
                      </a:lnTo>
                      <a:lnTo>
                        <a:pt x="524" y="384"/>
                      </a:lnTo>
                      <a:lnTo>
                        <a:pt x="528" y="386"/>
                      </a:lnTo>
                      <a:lnTo>
                        <a:pt x="533" y="391"/>
                      </a:lnTo>
                      <a:lnTo>
                        <a:pt x="537" y="396"/>
                      </a:lnTo>
                      <a:lnTo>
                        <a:pt x="539" y="398"/>
                      </a:lnTo>
                      <a:lnTo>
                        <a:pt x="543" y="400"/>
                      </a:lnTo>
                      <a:lnTo>
                        <a:pt x="549" y="398"/>
                      </a:lnTo>
                      <a:lnTo>
                        <a:pt x="549" y="406"/>
                      </a:lnTo>
                      <a:lnTo>
                        <a:pt x="551" y="414"/>
                      </a:lnTo>
                      <a:lnTo>
                        <a:pt x="552" y="423"/>
                      </a:lnTo>
                      <a:lnTo>
                        <a:pt x="557" y="429"/>
                      </a:lnTo>
                      <a:lnTo>
                        <a:pt x="560" y="430"/>
                      </a:lnTo>
                      <a:lnTo>
                        <a:pt x="564" y="430"/>
                      </a:lnTo>
                      <a:lnTo>
                        <a:pt x="567" y="431"/>
                      </a:lnTo>
                      <a:lnTo>
                        <a:pt x="569" y="435"/>
                      </a:lnTo>
                      <a:lnTo>
                        <a:pt x="573" y="445"/>
                      </a:lnTo>
                      <a:lnTo>
                        <a:pt x="578" y="454"/>
                      </a:lnTo>
                      <a:lnTo>
                        <a:pt x="580" y="456"/>
                      </a:lnTo>
                      <a:lnTo>
                        <a:pt x="584" y="459"/>
                      </a:lnTo>
                      <a:lnTo>
                        <a:pt x="592" y="459"/>
                      </a:lnTo>
                      <a:lnTo>
                        <a:pt x="601" y="457"/>
                      </a:lnTo>
                      <a:lnTo>
                        <a:pt x="610" y="456"/>
                      </a:lnTo>
                      <a:lnTo>
                        <a:pt x="613" y="457"/>
                      </a:lnTo>
                      <a:lnTo>
                        <a:pt x="617" y="460"/>
                      </a:lnTo>
                      <a:lnTo>
                        <a:pt x="618" y="462"/>
                      </a:lnTo>
                      <a:lnTo>
                        <a:pt x="618" y="466"/>
                      </a:lnTo>
                      <a:lnTo>
                        <a:pt x="618" y="468"/>
                      </a:lnTo>
                      <a:lnTo>
                        <a:pt x="619" y="471"/>
                      </a:lnTo>
                      <a:lnTo>
                        <a:pt x="624" y="473"/>
                      </a:lnTo>
                      <a:lnTo>
                        <a:pt x="630" y="474"/>
                      </a:lnTo>
                      <a:lnTo>
                        <a:pt x="635" y="476"/>
                      </a:lnTo>
                      <a:lnTo>
                        <a:pt x="634" y="472"/>
                      </a:lnTo>
                      <a:lnTo>
                        <a:pt x="633" y="470"/>
                      </a:lnTo>
                      <a:lnTo>
                        <a:pt x="632" y="467"/>
                      </a:lnTo>
                      <a:lnTo>
                        <a:pt x="633" y="465"/>
                      </a:lnTo>
                      <a:lnTo>
                        <a:pt x="635" y="460"/>
                      </a:lnTo>
                      <a:lnTo>
                        <a:pt x="640" y="456"/>
                      </a:lnTo>
                      <a:lnTo>
                        <a:pt x="642" y="455"/>
                      </a:lnTo>
                      <a:lnTo>
                        <a:pt x="642" y="452"/>
                      </a:lnTo>
                      <a:lnTo>
                        <a:pt x="642" y="451"/>
                      </a:lnTo>
                      <a:lnTo>
                        <a:pt x="642" y="449"/>
                      </a:lnTo>
                      <a:lnTo>
                        <a:pt x="649" y="444"/>
                      </a:lnTo>
                      <a:lnTo>
                        <a:pt x="655" y="440"/>
                      </a:lnTo>
                      <a:lnTo>
                        <a:pt x="660" y="439"/>
                      </a:lnTo>
                      <a:lnTo>
                        <a:pt x="664" y="435"/>
                      </a:lnTo>
                      <a:lnTo>
                        <a:pt x="665" y="433"/>
                      </a:lnTo>
                      <a:lnTo>
                        <a:pt x="667" y="429"/>
                      </a:lnTo>
                      <a:lnTo>
                        <a:pt x="670" y="428"/>
                      </a:lnTo>
                      <a:lnTo>
                        <a:pt x="672" y="427"/>
                      </a:lnTo>
                      <a:lnTo>
                        <a:pt x="674" y="428"/>
                      </a:lnTo>
                      <a:lnTo>
                        <a:pt x="676" y="427"/>
                      </a:lnTo>
                      <a:lnTo>
                        <a:pt x="678" y="425"/>
                      </a:lnTo>
                      <a:lnTo>
                        <a:pt x="680" y="424"/>
                      </a:lnTo>
                      <a:lnTo>
                        <a:pt x="683" y="422"/>
                      </a:lnTo>
                      <a:lnTo>
                        <a:pt x="687" y="422"/>
                      </a:lnTo>
                      <a:lnTo>
                        <a:pt x="683" y="419"/>
                      </a:lnTo>
                      <a:lnTo>
                        <a:pt x="681" y="418"/>
                      </a:lnTo>
                      <a:lnTo>
                        <a:pt x="682" y="417"/>
                      </a:lnTo>
                      <a:lnTo>
                        <a:pt x="683" y="413"/>
                      </a:lnTo>
                      <a:lnTo>
                        <a:pt x="685" y="408"/>
                      </a:lnTo>
                      <a:lnTo>
                        <a:pt x="686" y="407"/>
                      </a:lnTo>
                      <a:lnTo>
                        <a:pt x="687" y="406"/>
                      </a:lnTo>
                      <a:lnTo>
                        <a:pt x="690" y="406"/>
                      </a:lnTo>
                      <a:lnTo>
                        <a:pt x="692" y="406"/>
                      </a:lnTo>
                      <a:lnTo>
                        <a:pt x="696" y="404"/>
                      </a:lnTo>
                      <a:lnTo>
                        <a:pt x="701" y="403"/>
                      </a:lnTo>
                      <a:lnTo>
                        <a:pt x="707" y="403"/>
                      </a:lnTo>
                      <a:lnTo>
                        <a:pt x="713" y="404"/>
                      </a:lnTo>
                      <a:lnTo>
                        <a:pt x="725" y="408"/>
                      </a:lnTo>
                      <a:lnTo>
                        <a:pt x="729" y="411"/>
                      </a:lnTo>
                      <a:lnTo>
                        <a:pt x="730" y="411"/>
                      </a:lnTo>
                      <a:lnTo>
                        <a:pt x="734" y="412"/>
                      </a:lnTo>
                      <a:lnTo>
                        <a:pt x="736" y="412"/>
                      </a:lnTo>
                      <a:lnTo>
                        <a:pt x="740" y="412"/>
                      </a:lnTo>
                      <a:lnTo>
                        <a:pt x="745" y="414"/>
                      </a:lnTo>
                      <a:lnTo>
                        <a:pt x="747" y="415"/>
                      </a:lnTo>
                      <a:lnTo>
                        <a:pt x="750" y="415"/>
                      </a:lnTo>
                      <a:lnTo>
                        <a:pt x="746" y="411"/>
                      </a:lnTo>
                      <a:lnTo>
                        <a:pt x="745" y="404"/>
                      </a:lnTo>
                      <a:lnTo>
                        <a:pt x="745" y="398"/>
                      </a:lnTo>
                      <a:lnTo>
                        <a:pt x="747" y="395"/>
                      </a:lnTo>
                      <a:lnTo>
                        <a:pt x="751" y="393"/>
                      </a:lnTo>
                      <a:lnTo>
                        <a:pt x="755" y="392"/>
                      </a:lnTo>
                      <a:lnTo>
                        <a:pt x="758" y="390"/>
                      </a:lnTo>
                      <a:lnTo>
                        <a:pt x="760" y="388"/>
                      </a:lnTo>
                      <a:lnTo>
                        <a:pt x="763" y="390"/>
                      </a:lnTo>
                      <a:lnTo>
                        <a:pt x="769" y="393"/>
                      </a:lnTo>
                      <a:lnTo>
                        <a:pt x="778" y="397"/>
                      </a:lnTo>
                      <a:lnTo>
                        <a:pt x="785" y="400"/>
                      </a:lnTo>
                      <a:lnTo>
                        <a:pt x="793" y="403"/>
                      </a:lnTo>
                      <a:lnTo>
                        <a:pt x="799" y="404"/>
                      </a:lnTo>
                      <a:lnTo>
                        <a:pt x="804" y="403"/>
                      </a:lnTo>
                      <a:lnTo>
                        <a:pt x="805" y="400"/>
                      </a:lnTo>
                      <a:lnTo>
                        <a:pt x="805" y="400"/>
                      </a:lnTo>
                      <a:lnTo>
                        <a:pt x="808" y="400"/>
                      </a:lnTo>
                      <a:lnTo>
                        <a:pt x="814" y="401"/>
                      </a:lnTo>
                      <a:lnTo>
                        <a:pt x="821" y="401"/>
                      </a:lnTo>
                      <a:lnTo>
                        <a:pt x="826" y="400"/>
                      </a:lnTo>
                      <a:lnTo>
                        <a:pt x="832" y="398"/>
                      </a:lnTo>
                      <a:lnTo>
                        <a:pt x="838" y="398"/>
                      </a:lnTo>
                      <a:lnTo>
                        <a:pt x="843" y="400"/>
                      </a:lnTo>
                      <a:lnTo>
                        <a:pt x="844" y="401"/>
                      </a:lnTo>
                      <a:lnTo>
                        <a:pt x="847" y="400"/>
                      </a:lnTo>
                      <a:lnTo>
                        <a:pt x="851" y="400"/>
                      </a:lnTo>
                      <a:lnTo>
                        <a:pt x="857" y="401"/>
                      </a:lnTo>
                      <a:lnTo>
                        <a:pt x="865" y="401"/>
                      </a:lnTo>
                      <a:lnTo>
                        <a:pt x="875" y="401"/>
                      </a:lnTo>
                      <a:lnTo>
                        <a:pt x="880" y="401"/>
                      </a:lnTo>
                      <a:lnTo>
                        <a:pt x="886" y="403"/>
                      </a:lnTo>
                      <a:lnTo>
                        <a:pt x="892" y="404"/>
                      </a:lnTo>
                      <a:lnTo>
                        <a:pt x="897" y="407"/>
                      </a:lnTo>
                      <a:lnTo>
                        <a:pt x="901" y="409"/>
                      </a:lnTo>
                      <a:lnTo>
                        <a:pt x="905" y="413"/>
                      </a:lnTo>
                      <a:lnTo>
                        <a:pt x="907" y="414"/>
                      </a:lnTo>
                      <a:lnTo>
                        <a:pt x="912" y="415"/>
                      </a:lnTo>
                      <a:lnTo>
                        <a:pt x="917" y="415"/>
                      </a:lnTo>
                      <a:lnTo>
                        <a:pt x="922" y="418"/>
                      </a:lnTo>
                      <a:lnTo>
                        <a:pt x="927" y="422"/>
                      </a:lnTo>
                      <a:lnTo>
                        <a:pt x="931" y="427"/>
                      </a:lnTo>
                      <a:lnTo>
                        <a:pt x="931" y="423"/>
                      </a:lnTo>
                      <a:lnTo>
                        <a:pt x="928" y="418"/>
                      </a:lnTo>
                      <a:lnTo>
                        <a:pt x="927" y="414"/>
                      </a:lnTo>
                      <a:lnTo>
                        <a:pt x="924" y="411"/>
                      </a:lnTo>
                      <a:lnTo>
                        <a:pt x="924" y="409"/>
                      </a:lnTo>
                      <a:lnTo>
                        <a:pt x="923" y="407"/>
                      </a:lnTo>
                      <a:lnTo>
                        <a:pt x="926" y="403"/>
                      </a:lnTo>
                      <a:lnTo>
                        <a:pt x="928" y="402"/>
                      </a:lnTo>
                      <a:lnTo>
                        <a:pt x="932" y="401"/>
                      </a:lnTo>
                      <a:lnTo>
                        <a:pt x="926" y="397"/>
                      </a:lnTo>
                      <a:lnTo>
                        <a:pt x="929" y="393"/>
                      </a:lnTo>
                      <a:lnTo>
                        <a:pt x="932" y="393"/>
                      </a:lnTo>
                      <a:lnTo>
                        <a:pt x="934" y="393"/>
                      </a:lnTo>
                      <a:lnTo>
                        <a:pt x="934" y="392"/>
                      </a:lnTo>
                      <a:lnTo>
                        <a:pt x="933" y="390"/>
                      </a:lnTo>
                      <a:lnTo>
                        <a:pt x="932" y="387"/>
                      </a:lnTo>
                      <a:lnTo>
                        <a:pt x="929" y="384"/>
                      </a:lnTo>
                      <a:lnTo>
                        <a:pt x="927" y="376"/>
                      </a:lnTo>
                      <a:lnTo>
                        <a:pt x="922" y="370"/>
                      </a:lnTo>
                      <a:lnTo>
                        <a:pt x="918" y="366"/>
                      </a:lnTo>
                      <a:lnTo>
                        <a:pt x="913" y="359"/>
                      </a:lnTo>
                      <a:lnTo>
                        <a:pt x="911" y="352"/>
                      </a:lnTo>
                      <a:lnTo>
                        <a:pt x="910" y="343"/>
                      </a:lnTo>
                      <a:lnTo>
                        <a:pt x="908" y="340"/>
                      </a:lnTo>
                      <a:lnTo>
                        <a:pt x="907" y="339"/>
                      </a:lnTo>
                      <a:lnTo>
                        <a:pt x="901" y="338"/>
                      </a:lnTo>
                      <a:lnTo>
                        <a:pt x="895" y="337"/>
                      </a:lnTo>
                      <a:lnTo>
                        <a:pt x="894" y="337"/>
                      </a:lnTo>
                      <a:lnTo>
                        <a:pt x="894" y="334"/>
                      </a:lnTo>
                      <a:lnTo>
                        <a:pt x="895" y="333"/>
                      </a:lnTo>
                      <a:lnTo>
                        <a:pt x="896" y="331"/>
                      </a:lnTo>
                      <a:lnTo>
                        <a:pt x="903" y="329"/>
                      </a:lnTo>
                      <a:lnTo>
                        <a:pt x="911" y="327"/>
                      </a:lnTo>
                      <a:lnTo>
                        <a:pt x="917" y="326"/>
                      </a:lnTo>
                      <a:lnTo>
                        <a:pt x="923" y="325"/>
                      </a:lnTo>
                      <a:lnTo>
                        <a:pt x="931" y="322"/>
                      </a:lnTo>
                      <a:lnTo>
                        <a:pt x="933" y="322"/>
                      </a:lnTo>
                      <a:lnTo>
                        <a:pt x="937" y="323"/>
                      </a:lnTo>
                      <a:lnTo>
                        <a:pt x="940" y="326"/>
                      </a:lnTo>
                      <a:lnTo>
                        <a:pt x="943" y="327"/>
                      </a:lnTo>
                      <a:lnTo>
                        <a:pt x="945" y="327"/>
                      </a:lnTo>
                      <a:lnTo>
                        <a:pt x="948" y="326"/>
                      </a:lnTo>
                      <a:lnTo>
                        <a:pt x="950" y="326"/>
                      </a:lnTo>
                      <a:lnTo>
                        <a:pt x="953" y="326"/>
                      </a:lnTo>
                      <a:lnTo>
                        <a:pt x="958" y="328"/>
                      </a:lnTo>
                      <a:lnTo>
                        <a:pt x="959" y="327"/>
                      </a:lnTo>
                      <a:lnTo>
                        <a:pt x="960" y="326"/>
                      </a:lnTo>
                      <a:lnTo>
                        <a:pt x="960" y="321"/>
                      </a:lnTo>
                      <a:lnTo>
                        <a:pt x="958" y="318"/>
                      </a:lnTo>
                      <a:lnTo>
                        <a:pt x="954" y="317"/>
                      </a:lnTo>
                      <a:lnTo>
                        <a:pt x="949" y="315"/>
                      </a:lnTo>
                      <a:lnTo>
                        <a:pt x="948" y="313"/>
                      </a:lnTo>
                      <a:lnTo>
                        <a:pt x="947" y="311"/>
                      </a:lnTo>
                      <a:lnTo>
                        <a:pt x="948" y="302"/>
                      </a:lnTo>
                      <a:lnTo>
                        <a:pt x="948" y="295"/>
                      </a:lnTo>
                      <a:lnTo>
                        <a:pt x="948" y="289"/>
                      </a:lnTo>
                      <a:lnTo>
                        <a:pt x="948" y="283"/>
                      </a:lnTo>
                      <a:lnTo>
                        <a:pt x="949" y="277"/>
                      </a:lnTo>
                      <a:lnTo>
                        <a:pt x="949" y="269"/>
                      </a:lnTo>
                      <a:lnTo>
                        <a:pt x="949" y="263"/>
                      </a:lnTo>
                      <a:lnTo>
                        <a:pt x="951" y="261"/>
                      </a:lnTo>
                      <a:lnTo>
                        <a:pt x="954" y="262"/>
                      </a:lnTo>
                      <a:lnTo>
                        <a:pt x="965" y="267"/>
                      </a:lnTo>
                      <a:lnTo>
                        <a:pt x="971" y="268"/>
                      </a:lnTo>
                      <a:lnTo>
                        <a:pt x="980" y="268"/>
                      </a:lnTo>
                      <a:lnTo>
                        <a:pt x="987" y="267"/>
                      </a:lnTo>
                      <a:lnTo>
                        <a:pt x="991" y="268"/>
                      </a:lnTo>
                      <a:lnTo>
                        <a:pt x="993" y="269"/>
                      </a:lnTo>
                      <a:lnTo>
                        <a:pt x="997" y="272"/>
                      </a:lnTo>
                      <a:lnTo>
                        <a:pt x="999" y="272"/>
                      </a:lnTo>
                      <a:lnTo>
                        <a:pt x="1004" y="269"/>
                      </a:lnTo>
                      <a:lnTo>
                        <a:pt x="1007" y="268"/>
                      </a:lnTo>
                      <a:lnTo>
                        <a:pt x="1012" y="265"/>
                      </a:lnTo>
                      <a:lnTo>
                        <a:pt x="1014" y="262"/>
                      </a:lnTo>
                      <a:lnTo>
                        <a:pt x="1014" y="259"/>
                      </a:lnTo>
                      <a:lnTo>
                        <a:pt x="1014" y="256"/>
                      </a:lnTo>
                      <a:lnTo>
                        <a:pt x="1009" y="248"/>
                      </a:lnTo>
                      <a:lnTo>
                        <a:pt x="1006" y="242"/>
                      </a:lnTo>
                      <a:lnTo>
                        <a:pt x="1002" y="235"/>
                      </a:lnTo>
                      <a:lnTo>
                        <a:pt x="1002" y="226"/>
                      </a:lnTo>
                      <a:lnTo>
                        <a:pt x="1004" y="222"/>
                      </a:lnTo>
                      <a:lnTo>
                        <a:pt x="1008" y="221"/>
                      </a:lnTo>
                      <a:lnTo>
                        <a:pt x="1012" y="221"/>
                      </a:lnTo>
                      <a:lnTo>
                        <a:pt x="1017" y="220"/>
                      </a:lnTo>
                      <a:lnTo>
                        <a:pt x="1020" y="218"/>
                      </a:lnTo>
                      <a:lnTo>
                        <a:pt x="1023" y="214"/>
                      </a:lnTo>
                      <a:lnTo>
                        <a:pt x="1023" y="210"/>
                      </a:lnTo>
                      <a:lnTo>
                        <a:pt x="1022" y="206"/>
                      </a:lnTo>
                      <a:lnTo>
                        <a:pt x="1020" y="204"/>
                      </a:lnTo>
                      <a:lnTo>
                        <a:pt x="1020" y="202"/>
                      </a:lnTo>
                      <a:lnTo>
                        <a:pt x="1024" y="200"/>
                      </a:lnTo>
                      <a:lnTo>
                        <a:pt x="1029" y="199"/>
                      </a:lnTo>
                      <a:lnTo>
                        <a:pt x="1033" y="200"/>
                      </a:lnTo>
                      <a:lnTo>
                        <a:pt x="1031" y="198"/>
                      </a:lnTo>
                      <a:lnTo>
                        <a:pt x="1028" y="195"/>
                      </a:lnTo>
                      <a:lnTo>
                        <a:pt x="1023" y="194"/>
                      </a:lnTo>
                      <a:lnTo>
                        <a:pt x="1020" y="191"/>
                      </a:lnTo>
                      <a:lnTo>
                        <a:pt x="1017" y="187"/>
                      </a:lnTo>
                      <a:lnTo>
                        <a:pt x="1013" y="186"/>
                      </a:lnTo>
                      <a:lnTo>
                        <a:pt x="1010" y="186"/>
                      </a:lnTo>
                      <a:lnTo>
                        <a:pt x="1010" y="184"/>
                      </a:lnTo>
                      <a:lnTo>
                        <a:pt x="1010" y="179"/>
                      </a:lnTo>
                      <a:lnTo>
                        <a:pt x="1008" y="178"/>
                      </a:lnTo>
                      <a:lnTo>
                        <a:pt x="1006" y="178"/>
                      </a:lnTo>
                      <a:lnTo>
                        <a:pt x="1003" y="181"/>
                      </a:lnTo>
                      <a:lnTo>
                        <a:pt x="1002" y="182"/>
                      </a:lnTo>
                      <a:lnTo>
                        <a:pt x="1001" y="183"/>
                      </a:lnTo>
                      <a:lnTo>
                        <a:pt x="999" y="186"/>
                      </a:lnTo>
                      <a:lnTo>
                        <a:pt x="998" y="187"/>
                      </a:lnTo>
                      <a:lnTo>
                        <a:pt x="994" y="186"/>
                      </a:lnTo>
                      <a:lnTo>
                        <a:pt x="990" y="184"/>
                      </a:lnTo>
                      <a:lnTo>
                        <a:pt x="985" y="184"/>
                      </a:lnTo>
                      <a:lnTo>
                        <a:pt x="977" y="183"/>
                      </a:lnTo>
                      <a:lnTo>
                        <a:pt x="972" y="182"/>
                      </a:lnTo>
                      <a:lnTo>
                        <a:pt x="970" y="179"/>
                      </a:lnTo>
                      <a:lnTo>
                        <a:pt x="967" y="177"/>
                      </a:lnTo>
                      <a:lnTo>
                        <a:pt x="964" y="173"/>
                      </a:lnTo>
                      <a:lnTo>
                        <a:pt x="963" y="171"/>
                      </a:lnTo>
                      <a:lnTo>
                        <a:pt x="960" y="167"/>
                      </a:lnTo>
                      <a:lnTo>
                        <a:pt x="956" y="166"/>
                      </a:lnTo>
                      <a:lnTo>
                        <a:pt x="947" y="163"/>
                      </a:lnTo>
                      <a:lnTo>
                        <a:pt x="942" y="162"/>
                      </a:lnTo>
                      <a:lnTo>
                        <a:pt x="938" y="160"/>
                      </a:lnTo>
                      <a:lnTo>
                        <a:pt x="932" y="152"/>
                      </a:lnTo>
                      <a:lnTo>
                        <a:pt x="923" y="145"/>
                      </a:lnTo>
                      <a:lnTo>
                        <a:pt x="913" y="140"/>
                      </a:lnTo>
                      <a:lnTo>
                        <a:pt x="908" y="139"/>
                      </a:lnTo>
                      <a:lnTo>
                        <a:pt x="902" y="139"/>
                      </a:lnTo>
                      <a:lnTo>
                        <a:pt x="901" y="140"/>
                      </a:lnTo>
                      <a:lnTo>
                        <a:pt x="899" y="141"/>
                      </a:lnTo>
                      <a:lnTo>
                        <a:pt x="894" y="143"/>
                      </a:lnTo>
                      <a:lnTo>
                        <a:pt x="890" y="145"/>
                      </a:lnTo>
                      <a:lnTo>
                        <a:pt x="888" y="146"/>
                      </a:lnTo>
                      <a:lnTo>
                        <a:pt x="885" y="146"/>
                      </a:lnTo>
                      <a:lnTo>
                        <a:pt x="883" y="147"/>
                      </a:lnTo>
                      <a:lnTo>
                        <a:pt x="881" y="147"/>
                      </a:lnTo>
                      <a:lnTo>
                        <a:pt x="879" y="146"/>
                      </a:lnTo>
                      <a:lnTo>
                        <a:pt x="876" y="146"/>
                      </a:lnTo>
                      <a:lnTo>
                        <a:pt x="873" y="146"/>
                      </a:lnTo>
                      <a:lnTo>
                        <a:pt x="870" y="147"/>
                      </a:lnTo>
                      <a:lnTo>
                        <a:pt x="867" y="147"/>
                      </a:lnTo>
                      <a:lnTo>
                        <a:pt x="863" y="146"/>
                      </a:lnTo>
                      <a:lnTo>
                        <a:pt x="860" y="144"/>
                      </a:lnTo>
                      <a:lnTo>
                        <a:pt x="858" y="141"/>
                      </a:lnTo>
                      <a:lnTo>
                        <a:pt x="856" y="140"/>
                      </a:lnTo>
                      <a:lnTo>
                        <a:pt x="852" y="140"/>
                      </a:lnTo>
                      <a:lnTo>
                        <a:pt x="851" y="139"/>
                      </a:lnTo>
                      <a:lnTo>
                        <a:pt x="851" y="136"/>
                      </a:lnTo>
                      <a:lnTo>
                        <a:pt x="851" y="134"/>
                      </a:lnTo>
                      <a:lnTo>
                        <a:pt x="849" y="133"/>
                      </a:lnTo>
                      <a:lnTo>
                        <a:pt x="848" y="133"/>
                      </a:lnTo>
                      <a:lnTo>
                        <a:pt x="846" y="133"/>
                      </a:lnTo>
                      <a:lnTo>
                        <a:pt x="843" y="131"/>
                      </a:lnTo>
                      <a:lnTo>
                        <a:pt x="842" y="130"/>
                      </a:lnTo>
                      <a:lnTo>
                        <a:pt x="841" y="130"/>
                      </a:lnTo>
                      <a:lnTo>
                        <a:pt x="836" y="130"/>
                      </a:lnTo>
                      <a:lnTo>
                        <a:pt x="835" y="131"/>
                      </a:lnTo>
                      <a:lnTo>
                        <a:pt x="833" y="131"/>
                      </a:lnTo>
                      <a:lnTo>
                        <a:pt x="832" y="133"/>
                      </a:lnTo>
                      <a:lnTo>
                        <a:pt x="833" y="136"/>
                      </a:lnTo>
                      <a:lnTo>
                        <a:pt x="835" y="139"/>
                      </a:lnTo>
                      <a:lnTo>
                        <a:pt x="833" y="140"/>
                      </a:lnTo>
                      <a:lnTo>
                        <a:pt x="831" y="143"/>
                      </a:lnTo>
                      <a:lnTo>
                        <a:pt x="827" y="144"/>
                      </a:lnTo>
                      <a:lnTo>
                        <a:pt x="827" y="145"/>
                      </a:lnTo>
                      <a:lnTo>
                        <a:pt x="828" y="146"/>
                      </a:lnTo>
                      <a:lnTo>
                        <a:pt x="825" y="145"/>
                      </a:lnTo>
                      <a:lnTo>
                        <a:pt x="821" y="143"/>
                      </a:lnTo>
                      <a:lnTo>
                        <a:pt x="814" y="135"/>
                      </a:lnTo>
                      <a:lnTo>
                        <a:pt x="808" y="128"/>
                      </a:lnTo>
                      <a:lnTo>
                        <a:pt x="801" y="122"/>
                      </a:lnTo>
                      <a:lnTo>
                        <a:pt x="783" y="104"/>
                      </a:lnTo>
                      <a:lnTo>
                        <a:pt x="765" y="88"/>
                      </a:lnTo>
                      <a:lnTo>
                        <a:pt x="749" y="74"/>
                      </a:lnTo>
                      <a:lnTo>
                        <a:pt x="731" y="61"/>
                      </a:lnTo>
                      <a:lnTo>
                        <a:pt x="712" y="52"/>
                      </a:lnTo>
                      <a:lnTo>
                        <a:pt x="702" y="47"/>
                      </a:lnTo>
                      <a:lnTo>
                        <a:pt x="693" y="41"/>
                      </a:lnTo>
                      <a:lnTo>
                        <a:pt x="696" y="41"/>
                      </a:lnTo>
                      <a:lnTo>
                        <a:pt x="697" y="41"/>
                      </a:lnTo>
                      <a:lnTo>
                        <a:pt x="699" y="41"/>
                      </a:lnTo>
                      <a:lnTo>
                        <a:pt x="701" y="38"/>
                      </a:lnTo>
                      <a:lnTo>
                        <a:pt x="701" y="36"/>
                      </a:lnTo>
                      <a:lnTo>
                        <a:pt x="698" y="33"/>
                      </a:lnTo>
                      <a:lnTo>
                        <a:pt x="701" y="29"/>
                      </a:lnTo>
                      <a:lnTo>
                        <a:pt x="697" y="32"/>
                      </a:lnTo>
                      <a:lnTo>
                        <a:pt x="693" y="33"/>
                      </a:lnTo>
                      <a:lnTo>
                        <a:pt x="691" y="33"/>
                      </a:lnTo>
                      <a:lnTo>
                        <a:pt x="687" y="34"/>
                      </a:lnTo>
                      <a:lnTo>
                        <a:pt x="683" y="37"/>
                      </a:lnTo>
                      <a:lnTo>
                        <a:pt x="678" y="39"/>
                      </a:lnTo>
                      <a:lnTo>
                        <a:pt x="670" y="42"/>
                      </a:lnTo>
                      <a:lnTo>
                        <a:pt x="670" y="44"/>
                      </a:lnTo>
                      <a:lnTo>
                        <a:pt x="669" y="47"/>
                      </a:lnTo>
                      <a:lnTo>
                        <a:pt x="665" y="49"/>
                      </a:lnTo>
                      <a:lnTo>
                        <a:pt x="662" y="50"/>
                      </a:lnTo>
                      <a:lnTo>
                        <a:pt x="655" y="53"/>
                      </a:lnTo>
                      <a:lnTo>
                        <a:pt x="653" y="57"/>
                      </a:lnTo>
                      <a:lnTo>
                        <a:pt x="653" y="60"/>
                      </a:lnTo>
                      <a:lnTo>
                        <a:pt x="650" y="59"/>
                      </a:lnTo>
                      <a:lnTo>
                        <a:pt x="648" y="58"/>
                      </a:lnTo>
                      <a:lnTo>
                        <a:pt x="645" y="57"/>
                      </a:lnTo>
                      <a:lnTo>
                        <a:pt x="644" y="58"/>
                      </a:lnTo>
                      <a:lnTo>
                        <a:pt x="643" y="58"/>
                      </a:lnTo>
                      <a:lnTo>
                        <a:pt x="640" y="55"/>
                      </a:lnTo>
                      <a:lnTo>
                        <a:pt x="637" y="57"/>
                      </a:lnTo>
                      <a:lnTo>
                        <a:pt x="634" y="58"/>
                      </a:lnTo>
                      <a:lnTo>
                        <a:pt x="629" y="61"/>
                      </a:lnTo>
                      <a:lnTo>
                        <a:pt x="628" y="60"/>
                      </a:lnTo>
                      <a:lnTo>
                        <a:pt x="626" y="59"/>
                      </a:lnTo>
                      <a:lnTo>
                        <a:pt x="623" y="57"/>
                      </a:lnTo>
                      <a:lnTo>
                        <a:pt x="622" y="54"/>
                      </a:lnTo>
                      <a:lnTo>
                        <a:pt x="622" y="53"/>
                      </a:lnTo>
                      <a:lnTo>
                        <a:pt x="624" y="50"/>
                      </a:lnTo>
                      <a:lnTo>
                        <a:pt x="627" y="49"/>
                      </a:lnTo>
                      <a:lnTo>
                        <a:pt x="630" y="49"/>
                      </a:lnTo>
                      <a:lnTo>
                        <a:pt x="629" y="45"/>
                      </a:lnTo>
                      <a:lnTo>
                        <a:pt x="627" y="42"/>
                      </a:lnTo>
                      <a:lnTo>
                        <a:pt x="624" y="45"/>
                      </a:lnTo>
                      <a:lnTo>
                        <a:pt x="621" y="47"/>
                      </a:lnTo>
                      <a:lnTo>
                        <a:pt x="617" y="45"/>
                      </a:lnTo>
                      <a:lnTo>
                        <a:pt x="612" y="43"/>
                      </a:lnTo>
                      <a:lnTo>
                        <a:pt x="608" y="42"/>
                      </a:lnTo>
                      <a:lnTo>
                        <a:pt x="603" y="41"/>
                      </a:lnTo>
                      <a:lnTo>
                        <a:pt x="601" y="41"/>
                      </a:lnTo>
                      <a:lnTo>
                        <a:pt x="599" y="43"/>
                      </a:lnTo>
                      <a:lnTo>
                        <a:pt x="602" y="43"/>
                      </a:lnTo>
                      <a:lnTo>
                        <a:pt x="605" y="45"/>
                      </a:lnTo>
                      <a:lnTo>
                        <a:pt x="601" y="45"/>
                      </a:lnTo>
                      <a:lnTo>
                        <a:pt x="599" y="47"/>
                      </a:lnTo>
                      <a:lnTo>
                        <a:pt x="596" y="43"/>
                      </a:lnTo>
                      <a:lnTo>
                        <a:pt x="596" y="42"/>
                      </a:lnTo>
                      <a:lnTo>
                        <a:pt x="597" y="41"/>
                      </a:lnTo>
                      <a:lnTo>
                        <a:pt x="594" y="39"/>
                      </a:lnTo>
                      <a:lnTo>
                        <a:pt x="591" y="37"/>
                      </a:lnTo>
                      <a:lnTo>
                        <a:pt x="589" y="34"/>
                      </a:lnTo>
                      <a:lnTo>
                        <a:pt x="585" y="32"/>
                      </a:lnTo>
                      <a:lnTo>
                        <a:pt x="586" y="36"/>
                      </a:lnTo>
                      <a:lnTo>
                        <a:pt x="587" y="38"/>
                      </a:lnTo>
                      <a:lnTo>
                        <a:pt x="586" y="38"/>
                      </a:lnTo>
                      <a:lnTo>
                        <a:pt x="584" y="37"/>
                      </a:lnTo>
                      <a:lnTo>
                        <a:pt x="581" y="37"/>
                      </a:lnTo>
                      <a:lnTo>
                        <a:pt x="579" y="38"/>
                      </a:lnTo>
                      <a:lnTo>
                        <a:pt x="575" y="41"/>
                      </a:lnTo>
                      <a:lnTo>
                        <a:pt x="573" y="41"/>
                      </a:lnTo>
                      <a:lnTo>
                        <a:pt x="568" y="39"/>
                      </a:lnTo>
                      <a:lnTo>
                        <a:pt x="565" y="39"/>
                      </a:lnTo>
                      <a:lnTo>
                        <a:pt x="562" y="39"/>
                      </a:lnTo>
                      <a:lnTo>
                        <a:pt x="558" y="36"/>
                      </a:lnTo>
                      <a:lnTo>
                        <a:pt x="560" y="36"/>
                      </a:lnTo>
                      <a:lnTo>
                        <a:pt x="562" y="34"/>
                      </a:lnTo>
                      <a:lnTo>
                        <a:pt x="560" y="31"/>
                      </a:lnTo>
                      <a:lnTo>
                        <a:pt x="559" y="27"/>
                      </a:lnTo>
                      <a:lnTo>
                        <a:pt x="559" y="25"/>
                      </a:lnTo>
                      <a:lnTo>
                        <a:pt x="560" y="23"/>
                      </a:lnTo>
                      <a:lnTo>
                        <a:pt x="554" y="20"/>
                      </a:lnTo>
                      <a:lnTo>
                        <a:pt x="551" y="16"/>
                      </a:lnTo>
                      <a:lnTo>
                        <a:pt x="549" y="12"/>
                      </a:lnTo>
                      <a:lnTo>
                        <a:pt x="547" y="9"/>
                      </a:lnTo>
                      <a:lnTo>
                        <a:pt x="544" y="6"/>
                      </a:lnTo>
                      <a:lnTo>
                        <a:pt x="541" y="5"/>
                      </a:lnTo>
                      <a:lnTo>
                        <a:pt x="536" y="4"/>
                      </a:lnTo>
                      <a:lnTo>
                        <a:pt x="535" y="5"/>
                      </a:lnTo>
                      <a:lnTo>
                        <a:pt x="532" y="6"/>
                      </a:lnTo>
                      <a:lnTo>
                        <a:pt x="531" y="7"/>
                      </a:lnTo>
                      <a:lnTo>
                        <a:pt x="528" y="9"/>
                      </a:lnTo>
                      <a:lnTo>
                        <a:pt x="522" y="7"/>
                      </a:lnTo>
                      <a:lnTo>
                        <a:pt x="516" y="4"/>
                      </a:lnTo>
                      <a:lnTo>
                        <a:pt x="512" y="2"/>
                      </a:lnTo>
                      <a:lnTo>
                        <a:pt x="509" y="1"/>
                      </a:lnTo>
                      <a:lnTo>
                        <a:pt x="505" y="1"/>
                      </a:lnTo>
                      <a:lnTo>
                        <a:pt x="503" y="1"/>
                      </a:lnTo>
                      <a:lnTo>
                        <a:pt x="500" y="1"/>
                      </a:lnTo>
                      <a:lnTo>
                        <a:pt x="494" y="0"/>
                      </a:lnTo>
                      <a:lnTo>
                        <a:pt x="49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4" name="Freeform 2015">
                  <a:extLst>
                    <a:ext uri="{FF2B5EF4-FFF2-40B4-BE49-F238E27FC236}">
                      <a16:creationId xmlns:a16="http://schemas.microsoft.com/office/drawing/2014/main" id="{D915B77A-2DF4-4E0F-AA53-25546DEAC1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50607" y="6466121"/>
                  <a:ext cx="69394" cy="47737"/>
                </a:xfrm>
                <a:custGeom>
                  <a:avLst/>
                  <a:gdLst>
                    <a:gd name="T0" fmla="*/ 1 w 63"/>
                    <a:gd name="T1" fmla="*/ 23 h 37"/>
                    <a:gd name="T2" fmla="*/ 0 w 63"/>
                    <a:gd name="T3" fmla="*/ 19 h 37"/>
                    <a:gd name="T4" fmla="*/ 4 w 63"/>
                    <a:gd name="T5" fmla="*/ 21 h 37"/>
                    <a:gd name="T6" fmla="*/ 8 w 63"/>
                    <a:gd name="T7" fmla="*/ 19 h 37"/>
                    <a:gd name="T8" fmla="*/ 11 w 63"/>
                    <a:gd name="T9" fmla="*/ 17 h 37"/>
                    <a:gd name="T10" fmla="*/ 14 w 63"/>
                    <a:gd name="T11" fmla="*/ 17 h 37"/>
                    <a:gd name="T12" fmla="*/ 17 w 63"/>
                    <a:gd name="T13" fmla="*/ 16 h 37"/>
                    <a:gd name="T14" fmla="*/ 19 w 63"/>
                    <a:gd name="T15" fmla="*/ 13 h 37"/>
                    <a:gd name="T16" fmla="*/ 19 w 63"/>
                    <a:gd name="T17" fmla="*/ 11 h 37"/>
                    <a:gd name="T18" fmla="*/ 22 w 63"/>
                    <a:gd name="T19" fmla="*/ 11 h 37"/>
                    <a:gd name="T20" fmla="*/ 32 w 63"/>
                    <a:gd name="T21" fmla="*/ 11 h 37"/>
                    <a:gd name="T22" fmla="*/ 41 w 63"/>
                    <a:gd name="T23" fmla="*/ 10 h 37"/>
                    <a:gd name="T24" fmla="*/ 47 w 63"/>
                    <a:gd name="T25" fmla="*/ 7 h 37"/>
                    <a:gd name="T26" fmla="*/ 52 w 63"/>
                    <a:gd name="T27" fmla="*/ 5 h 37"/>
                    <a:gd name="T28" fmla="*/ 57 w 63"/>
                    <a:gd name="T29" fmla="*/ 1 h 37"/>
                    <a:gd name="T30" fmla="*/ 63 w 63"/>
                    <a:gd name="T31" fmla="*/ 0 h 37"/>
                    <a:gd name="T32" fmla="*/ 59 w 63"/>
                    <a:gd name="T33" fmla="*/ 3 h 37"/>
                    <a:gd name="T34" fmla="*/ 56 w 63"/>
                    <a:gd name="T35" fmla="*/ 7 h 37"/>
                    <a:gd name="T36" fmla="*/ 52 w 63"/>
                    <a:gd name="T37" fmla="*/ 10 h 37"/>
                    <a:gd name="T38" fmla="*/ 48 w 63"/>
                    <a:gd name="T39" fmla="*/ 12 h 37"/>
                    <a:gd name="T40" fmla="*/ 46 w 63"/>
                    <a:gd name="T41" fmla="*/ 15 h 37"/>
                    <a:gd name="T42" fmla="*/ 46 w 63"/>
                    <a:gd name="T43" fmla="*/ 17 h 37"/>
                    <a:gd name="T44" fmla="*/ 48 w 63"/>
                    <a:gd name="T45" fmla="*/ 21 h 37"/>
                    <a:gd name="T46" fmla="*/ 51 w 63"/>
                    <a:gd name="T47" fmla="*/ 23 h 37"/>
                    <a:gd name="T48" fmla="*/ 44 w 63"/>
                    <a:gd name="T49" fmla="*/ 23 h 37"/>
                    <a:gd name="T50" fmla="*/ 42 w 63"/>
                    <a:gd name="T51" fmla="*/ 23 h 37"/>
                    <a:gd name="T52" fmla="*/ 40 w 63"/>
                    <a:gd name="T53" fmla="*/ 24 h 37"/>
                    <a:gd name="T54" fmla="*/ 37 w 63"/>
                    <a:gd name="T55" fmla="*/ 27 h 37"/>
                    <a:gd name="T56" fmla="*/ 35 w 63"/>
                    <a:gd name="T57" fmla="*/ 29 h 37"/>
                    <a:gd name="T58" fmla="*/ 31 w 63"/>
                    <a:gd name="T59" fmla="*/ 31 h 37"/>
                    <a:gd name="T60" fmla="*/ 27 w 63"/>
                    <a:gd name="T61" fmla="*/ 32 h 37"/>
                    <a:gd name="T62" fmla="*/ 24 w 63"/>
                    <a:gd name="T63" fmla="*/ 34 h 37"/>
                    <a:gd name="T64" fmla="*/ 22 w 63"/>
                    <a:gd name="T65" fmla="*/ 37 h 37"/>
                    <a:gd name="T66" fmla="*/ 16 w 63"/>
                    <a:gd name="T67" fmla="*/ 34 h 37"/>
                    <a:gd name="T68" fmla="*/ 11 w 63"/>
                    <a:gd name="T69" fmla="*/ 32 h 37"/>
                    <a:gd name="T70" fmla="*/ 5 w 63"/>
                    <a:gd name="T71" fmla="*/ 29 h 37"/>
                    <a:gd name="T72" fmla="*/ 1 w 63"/>
                    <a:gd name="T73" fmla="*/ 23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63" h="37">
                      <a:moveTo>
                        <a:pt x="1" y="23"/>
                      </a:moveTo>
                      <a:lnTo>
                        <a:pt x="0" y="19"/>
                      </a:lnTo>
                      <a:lnTo>
                        <a:pt x="4" y="21"/>
                      </a:lnTo>
                      <a:lnTo>
                        <a:pt x="8" y="19"/>
                      </a:lnTo>
                      <a:lnTo>
                        <a:pt x="11" y="17"/>
                      </a:lnTo>
                      <a:lnTo>
                        <a:pt x="14" y="17"/>
                      </a:lnTo>
                      <a:lnTo>
                        <a:pt x="17" y="16"/>
                      </a:lnTo>
                      <a:lnTo>
                        <a:pt x="19" y="13"/>
                      </a:lnTo>
                      <a:lnTo>
                        <a:pt x="19" y="11"/>
                      </a:lnTo>
                      <a:lnTo>
                        <a:pt x="22" y="11"/>
                      </a:lnTo>
                      <a:lnTo>
                        <a:pt x="32" y="11"/>
                      </a:lnTo>
                      <a:lnTo>
                        <a:pt x="41" y="10"/>
                      </a:lnTo>
                      <a:lnTo>
                        <a:pt x="47" y="7"/>
                      </a:lnTo>
                      <a:lnTo>
                        <a:pt x="52" y="5"/>
                      </a:lnTo>
                      <a:lnTo>
                        <a:pt x="57" y="1"/>
                      </a:lnTo>
                      <a:lnTo>
                        <a:pt x="63" y="0"/>
                      </a:lnTo>
                      <a:lnTo>
                        <a:pt x="59" y="3"/>
                      </a:lnTo>
                      <a:lnTo>
                        <a:pt x="56" y="7"/>
                      </a:lnTo>
                      <a:lnTo>
                        <a:pt x="52" y="10"/>
                      </a:lnTo>
                      <a:lnTo>
                        <a:pt x="48" y="12"/>
                      </a:lnTo>
                      <a:lnTo>
                        <a:pt x="46" y="15"/>
                      </a:lnTo>
                      <a:lnTo>
                        <a:pt x="46" y="17"/>
                      </a:lnTo>
                      <a:lnTo>
                        <a:pt x="48" y="21"/>
                      </a:lnTo>
                      <a:lnTo>
                        <a:pt x="51" y="23"/>
                      </a:lnTo>
                      <a:lnTo>
                        <a:pt x="44" y="23"/>
                      </a:lnTo>
                      <a:lnTo>
                        <a:pt x="42" y="23"/>
                      </a:lnTo>
                      <a:lnTo>
                        <a:pt x="40" y="24"/>
                      </a:lnTo>
                      <a:lnTo>
                        <a:pt x="37" y="27"/>
                      </a:lnTo>
                      <a:lnTo>
                        <a:pt x="35" y="29"/>
                      </a:lnTo>
                      <a:lnTo>
                        <a:pt x="31" y="31"/>
                      </a:lnTo>
                      <a:lnTo>
                        <a:pt x="27" y="32"/>
                      </a:lnTo>
                      <a:lnTo>
                        <a:pt x="24" y="34"/>
                      </a:lnTo>
                      <a:lnTo>
                        <a:pt x="22" y="37"/>
                      </a:lnTo>
                      <a:lnTo>
                        <a:pt x="16" y="34"/>
                      </a:lnTo>
                      <a:lnTo>
                        <a:pt x="11" y="32"/>
                      </a:lnTo>
                      <a:lnTo>
                        <a:pt x="5" y="29"/>
                      </a:lnTo>
                      <a:lnTo>
                        <a:pt x="1" y="2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5" name="Freeform 2041">
                  <a:extLst>
                    <a:ext uri="{FF2B5EF4-FFF2-40B4-BE49-F238E27FC236}">
                      <a16:creationId xmlns:a16="http://schemas.microsoft.com/office/drawing/2014/main" id="{5809FE91-5331-4CD8-9B19-6F4DA28CA6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6981" y="5840232"/>
                  <a:ext cx="20148" cy="31825"/>
                </a:xfrm>
                <a:custGeom>
                  <a:avLst/>
                  <a:gdLst>
                    <a:gd name="T0" fmla="*/ 0 w 18"/>
                    <a:gd name="T1" fmla="*/ 9 h 23"/>
                    <a:gd name="T2" fmla="*/ 1 w 18"/>
                    <a:gd name="T3" fmla="*/ 9 h 23"/>
                    <a:gd name="T4" fmla="*/ 1 w 18"/>
                    <a:gd name="T5" fmla="*/ 9 h 23"/>
                    <a:gd name="T6" fmla="*/ 0 w 18"/>
                    <a:gd name="T7" fmla="*/ 9 h 23"/>
                    <a:gd name="T8" fmla="*/ 2 w 18"/>
                    <a:gd name="T9" fmla="*/ 4 h 23"/>
                    <a:gd name="T10" fmla="*/ 4 w 18"/>
                    <a:gd name="T11" fmla="*/ 2 h 23"/>
                    <a:gd name="T12" fmla="*/ 6 w 18"/>
                    <a:gd name="T13" fmla="*/ 1 h 23"/>
                    <a:gd name="T14" fmla="*/ 9 w 18"/>
                    <a:gd name="T15" fmla="*/ 0 h 23"/>
                    <a:gd name="T16" fmla="*/ 9 w 18"/>
                    <a:gd name="T17" fmla="*/ 1 h 23"/>
                    <a:gd name="T18" fmla="*/ 10 w 18"/>
                    <a:gd name="T19" fmla="*/ 6 h 23"/>
                    <a:gd name="T20" fmla="*/ 14 w 18"/>
                    <a:gd name="T21" fmla="*/ 9 h 23"/>
                    <a:gd name="T22" fmla="*/ 18 w 18"/>
                    <a:gd name="T23" fmla="*/ 12 h 23"/>
                    <a:gd name="T24" fmla="*/ 18 w 18"/>
                    <a:gd name="T25" fmla="*/ 15 h 23"/>
                    <a:gd name="T26" fmla="*/ 18 w 18"/>
                    <a:gd name="T27" fmla="*/ 17 h 23"/>
                    <a:gd name="T28" fmla="*/ 17 w 18"/>
                    <a:gd name="T29" fmla="*/ 21 h 23"/>
                    <a:gd name="T30" fmla="*/ 16 w 18"/>
                    <a:gd name="T31" fmla="*/ 23 h 23"/>
                    <a:gd name="T32" fmla="*/ 14 w 18"/>
                    <a:gd name="T33" fmla="*/ 22 h 23"/>
                    <a:gd name="T34" fmla="*/ 9 w 18"/>
                    <a:gd name="T35" fmla="*/ 22 h 23"/>
                    <a:gd name="T36" fmla="*/ 4 w 18"/>
                    <a:gd name="T37" fmla="*/ 22 h 23"/>
                    <a:gd name="T38" fmla="*/ 0 w 18"/>
                    <a:gd name="T39" fmla="*/ 21 h 23"/>
                    <a:gd name="T40" fmla="*/ 2 w 18"/>
                    <a:gd name="T41" fmla="*/ 18 h 23"/>
                    <a:gd name="T42" fmla="*/ 2 w 18"/>
                    <a:gd name="T43" fmla="*/ 16 h 23"/>
                    <a:gd name="T44" fmla="*/ 0 w 18"/>
                    <a:gd name="T45" fmla="*/ 11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8" h="23">
                      <a:moveTo>
                        <a:pt x="0" y="9"/>
                      </a:moveTo>
                      <a:lnTo>
                        <a:pt x="1" y="9"/>
                      </a:lnTo>
                      <a:lnTo>
                        <a:pt x="1" y="9"/>
                      </a:lnTo>
                      <a:lnTo>
                        <a:pt x="0" y="9"/>
                      </a:lnTo>
                      <a:lnTo>
                        <a:pt x="2" y="4"/>
                      </a:lnTo>
                      <a:lnTo>
                        <a:pt x="4" y="2"/>
                      </a:lnTo>
                      <a:lnTo>
                        <a:pt x="6" y="1"/>
                      </a:lnTo>
                      <a:lnTo>
                        <a:pt x="9" y="0"/>
                      </a:lnTo>
                      <a:lnTo>
                        <a:pt x="9" y="1"/>
                      </a:lnTo>
                      <a:lnTo>
                        <a:pt x="10" y="6"/>
                      </a:lnTo>
                      <a:lnTo>
                        <a:pt x="14" y="9"/>
                      </a:lnTo>
                      <a:lnTo>
                        <a:pt x="18" y="12"/>
                      </a:lnTo>
                      <a:lnTo>
                        <a:pt x="18" y="15"/>
                      </a:lnTo>
                      <a:lnTo>
                        <a:pt x="18" y="17"/>
                      </a:lnTo>
                      <a:lnTo>
                        <a:pt x="17" y="21"/>
                      </a:lnTo>
                      <a:lnTo>
                        <a:pt x="16" y="23"/>
                      </a:lnTo>
                      <a:lnTo>
                        <a:pt x="14" y="22"/>
                      </a:lnTo>
                      <a:lnTo>
                        <a:pt x="9" y="22"/>
                      </a:lnTo>
                      <a:lnTo>
                        <a:pt x="4" y="22"/>
                      </a:lnTo>
                      <a:lnTo>
                        <a:pt x="0" y="21"/>
                      </a:lnTo>
                      <a:lnTo>
                        <a:pt x="2" y="18"/>
                      </a:lnTo>
                      <a:lnTo>
                        <a:pt x="2" y="16"/>
                      </a:lnTo>
                      <a:lnTo>
                        <a:pt x="0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6" name="Freeform 2046">
                  <a:extLst>
                    <a:ext uri="{FF2B5EF4-FFF2-40B4-BE49-F238E27FC236}">
                      <a16:creationId xmlns:a16="http://schemas.microsoft.com/office/drawing/2014/main" id="{D19DB314-E9E0-43CC-9321-794A21D5DA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4635" y="5349597"/>
                  <a:ext cx="6716" cy="5304"/>
                </a:xfrm>
                <a:custGeom>
                  <a:avLst/>
                  <a:gdLst>
                    <a:gd name="T0" fmla="*/ 3 w 6"/>
                    <a:gd name="T1" fmla="*/ 4 h 4"/>
                    <a:gd name="T2" fmla="*/ 6 w 6"/>
                    <a:gd name="T3" fmla="*/ 1 h 4"/>
                    <a:gd name="T4" fmla="*/ 3 w 6"/>
                    <a:gd name="T5" fmla="*/ 0 h 4"/>
                    <a:gd name="T6" fmla="*/ 0 w 6"/>
                    <a:gd name="T7" fmla="*/ 1 h 4"/>
                    <a:gd name="T8" fmla="*/ 0 w 6"/>
                    <a:gd name="T9" fmla="*/ 2 h 4"/>
                    <a:gd name="T10" fmla="*/ 3 w 6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4">
                      <a:moveTo>
                        <a:pt x="3" y="4"/>
                      </a:moveTo>
                      <a:lnTo>
                        <a:pt x="6" y="1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3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7" name="Freeform 2047">
                  <a:extLst>
                    <a:ext uri="{FF2B5EF4-FFF2-40B4-BE49-F238E27FC236}">
                      <a16:creationId xmlns:a16="http://schemas.microsoft.com/office/drawing/2014/main" id="{C991136C-0308-4A26-9C4F-68F1C3C905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6873" y="5341642"/>
                  <a:ext cx="15670" cy="18565"/>
                </a:xfrm>
                <a:custGeom>
                  <a:avLst/>
                  <a:gdLst>
                    <a:gd name="T0" fmla="*/ 7 w 13"/>
                    <a:gd name="T1" fmla="*/ 6 h 12"/>
                    <a:gd name="T2" fmla="*/ 6 w 13"/>
                    <a:gd name="T3" fmla="*/ 5 h 12"/>
                    <a:gd name="T4" fmla="*/ 3 w 13"/>
                    <a:gd name="T5" fmla="*/ 2 h 12"/>
                    <a:gd name="T6" fmla="*/ 1 w 13"/>
                    <a:gd name="T7" fmla="*/ 1 h 12"/>
                    <a:gd name="T8" fmla="*/ 0 w 13"/>
                    <a:gd name="T9" fmla="*/ 2 h 12"/>
                    <a:gd name="T10" fmla="*/ 1 w 13"/>
                    <a:gd name="T11" fmla="*/ 5 h 12"/>
                    <a:gd name="T12" fmla="*/ 3 w 13"/>
                    <a:gd name="T13" fmla="*/ 8 h 12"/>
                    <a:gd name="T14" fmla="*/ 7 w 13"/>
                    <a:gd name="T15" fmla="*/ 11 h 12"/>
                    <a:gd name="T16" fmla="*/ 11 w 13"/>
                    <a:gd name="T17" fmla="*/ 12 h 12"/>
                    <a:gd name="T18" fmla="*/ 11 w 13"/>
                    <a:gd name="T19" fmla="*/ 10 h 12"/>
                    <a:gd name="T20" fmla="*/ 8 w 13"/>
                    <a:gd name="T21" fmla="*/ 8 h 12"/>
                    <a:gd name="T22" fmla="*/ 7 w 13"/>
                    <a:gd name="T23" fmla="*/ 6 h 12"/>
                    <a:gd name="T24" fmla="*/ 10 w 13"/>
                    <a:gd name="T25" fmla="*/ 7 h 12"/>
                    <a:gd name="T26" fmla="*/ 10 w 13"/>
                    <a:gd name="T27" fmla="*/ 5 h 12"/>
                    <a:gd name="T28" fmla="*/ 12 w 13"/>
                    <a:gd name="T29" fmla="*/ 8 h 12"/>
                    <a:gd name="T30" fmla="*/ 13 w 13"/>
                    <a:gd name="T31" fmla="*/ 6 h 12"/>
                    <a:gd name="T32" fmla="*/ 11 w 13"/>
                    <a:gd name="T33" fmla="*/ 3 h 12"/>
                    <a:gd name="T34" fmla="*/ 8 w 13"/>
                    <a:gd name="T35" fmla="*/ 1 h 12"/>
                    <a:gd name="T36" fmla="*/ 5 w 13"/>
                    <a:gd name="T37" fmla="*/ 0 h 12"/>
                    <a:gd name="T38" fmla="*/ 5 w 13"/>
                    <a:gd name="T39" fmla="*/ 3 h 12"/>
                    <a:gd name="T40" fmla="*/ 7 w 13"/>
                    <a:gd name="T41" fmla="*/ 6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3" h="12">
                      <a:moveTo>
                        <a:pt x="7" y="6"/>
                      </a:moveTo>
                      <a:lnTo>
                        <a:pt x="6" y="5"/>
                      </a:lnTo>
                      <a:lnTo>
                        <a:pt x="3" y="2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1" y="5"/>
                      </a:lnTo>
                      <a:lnTo>
                        <a:pt x="3" y="8"/>
                      </a:lnTo>
                      <a:lnTo>
                        <a:pt x="7" y="11"/>
                      </a:lnTo>
                      <a:lnTo>
                        <a:pt x="11" y="12"/>
                      </a:lnTo>
                      <a:lnTo>
                        <a:pt x="11" y="10"/>
                      </a:lnTo>
                      <a:lnTo>
                        <a:pt x="8" y="8"/>
                      </a:lnTo>
                      <a:lnTo>
                        <a:pt x="7" y="6"/>
                      </a:lnTo>
                      <a:lnTo>
                        <a:pt x="10" y="7"/>
                      </a:lnTo>
                      <a:lnTo>
                        <a:pt x="10" y="5"/>
                      </a:lnTo>
                      <a:lnTo>
                        <a:pt x="12" y="8"/>
                      </a:lnTo>
                      <a:lnTo>
                        <a:pt x="13" y="6"/>
                      </a:lnTo>
                      <a:lnTo>
                        <a:pt x="11" y="3"/>
                      </a:lnTo>
                      <a:lnTo>
                        <a:pt x="8" y="1"/>
                      </a:lnTo>
                      <a:lnTo>
                        <a:pt x="5" y="0"/>
                      </a:lnTo>
                      <a:lnTo>
                        <a:pt x="5" y="3"/>
                      </a:lnTo>
                      <a:lnTo>
                        <a:pt x="7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8" name="Freeform 2048">
                  <a:extLst>
                    <a:ext uri="{FF2B5EF4-FFF2-40B4-BE49-F238E27FC236}">
                      <a16:creationId xmlns:a16="http://schemas.microsoft.com/office/drawing/2014/main" id="{500E003B-4743-4645-9492-D6009FB513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31350" y="5341642"/>
                  <a:ext cx="11193" cy="13261"/>
                </a:xfrm>
                <a:custGeom>
                  <a:avLst/>
                  <a:gdLst>
                    <a:gd name="T0" fmla="*/ 2 w 8"/>
                    <a:gd name="T1" fmla="*/ 6 h 8"/>
                    <a:gd name="T2" fmla="*/ 0 w 8"/>
                    <a:gd name="T3" fmla="*/ 3 h 8"/>
                    <a:gd name="T4" fmla="*/ 0 w 8"/>
                    <a:gd name="T5" fmla="*/ 0 h 8"/>
                    <a:gd name="T6" fmla="*/ 3 w 8"/>
                    <a:gd name="T7" fmla="*/ 1 h 8"/>
                    <a:gd name="T8" fmla="*/ 6 w 8"/>
                    <a:gd name="T9" fmla="*/ 3 h 8"/>
                    <a:gd name="T10" fmla="*/ 8 w 8"/>
                    <a:gd name="T11" fmla="*/ 6 h 8"/>
                    <a:gd name="T12" fmla="*/ 7 w 8"/>
                    <a:gd name="T13" fmla="*/ 8 h 8"/>
                    <a:gd name="T14" fmla="*/ 5 w 8"/>
                    <a:gd name="T15" fmla="*/ 5 h 8"/>
                    <a:gd name="T16" fmla="*/ 5 w 8"/>
                    <a:gd name="T17" fmla="*/ 7 h 8"/>
                    <a:gd name="T18" fmla="*/ 2 w 8"/>
                    <a:gd name="T19" fmla="*/ 6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" h="8">
                      <a:moveTo>
                        <a:pt x="2" y="6"/>
                      </a:move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3" y="1"/>
                      </a:lnTo>
                      <a:lnTo>
                        <a:pt x="6" y="3"/>
                      </a:lnTo>
                      <a:lnTo>
                        <a:pt x="8" y="6"/>
                      </a:lnTo>
                      <a:lnTo>
                        <a:pt x="7" y="8"/>
                      </a:lnTo>
                      <a:lnTo>
                        <a:pt x="5" y="5"/>
                      </a:lnTo>
                      <a:lnTo>
                        <a:pt x="5" y="7"/>
                      </a:lnTo>
                      <a:lnTo>
                        <a:pt x="2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9" name="Freeform 2049">
                  <a:extLst>
                    <a:ext uri="{FF2B5EF4-FFF2-40B4-BE49-F238E27FC236}">
                      <a16:creationId xmlns:a16="http://schemas.microsoft.com/office/drawing/2014/main" id="{CDAAC6AC-9595-44B1-BEB9-CB17DA5984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31350" y="5370814"/>
                  <a:ext cx="6716" cy="10609"/>
                </a:xfrm>
                <a:custGeom>
                  <a:avLst/>
                  <a:gdLst>
                    <a:gd name="T0" fmla="*/ 7 w 7"/>
                    <a:gd name="T1" fmla="*/ 7 h 7"/>
                    <a:gd name="T2" fmla="*/ 7 w 7"/>
                    <a:gd name="T3" fmla="*/ 5 h 7"/>
                    <a:gd name="T4" fmla="*/ 5 w 7"/>
                    <a:gd name="T5" fmla="*/ 3 h 7"/>
                    <a:gd name="T6" fmla="*/ 0 w 7"/>
                    <a:gd name="T7" fmla="*/ 0 h 7"/>
                    <a:gd name="T8" fmla="*/ 3 w 7"/>
                    <a:gd name="T9" fmla="*/ 5 h 7"/>
                    <a:gd name="T10" fmla="*/ 7 w 7"/>
                    <a:gd name="T11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" h="7">
                      <a:moveTo>
                        <a:pt x="7" y="7"/>
                      </a:moveTo>
                      <a:lnTo>
                        <a:pt x="7" y="5"/>
                      </a:lnTo>
                      <a:lnTo>
                        <a:pt x="5" y="3"/>
                      </a:lnTo>
                      <a:lnTo>
                        <a:pt x="0" y="0"/>
                      </a:lnTo>
                      <a:lnTo>
                        <a:pt x="3" y="5"/>
                      </a:lnTo>
                      <a:lnTo>
                        <a:pt x="7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0" name="Freeform 2050">
                  <a:extLst>
                    <a:ext uri="{FF2B5EF4-FFF2-40B4-BE49-F238E27FC236}">
                      <a16:creationId xmlns:a16="http://schemas.microsoft.com/office/drawing/2014/main" id="{B912DC97-3BA5-4B06-A3D7-6313A62F5A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35827" y="5362858"/>
                  <a:ext cx="2240" cy="5304"/>
                </a:xfrm>
                <a:custGeom>
                  <a:avLst/>
                  <a:gdLst>
                    <a:gd name="T0" fmla="*/ 3 w 3"/>
                    <a:gd name="T1" fmla="*/ 4 h 4"/>
                    <a:gd name="T2" fmla="*/ 3 w 3"/>
                    <a:gd name="T3" fmla="*/ 0 h 4"/>
                    <a:gd name="T4" fmla="*/ 3 w 3"/>
                    <a:gd name="T5" fmla="*/ 0 h 4"/>
                    <a:gd name="T6" fmla="*/ 0 w 3"/>
                    <a:gd name="T7" fmla="*/ 0 h 4"/>
                    <a:gd name="T8" fmla="*/ 3 w 3"/>
                    <a:gd name="T9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4">
                      <a:moveTo>
                        <a:pt x="3" y="4"/>
                      </a:move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3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1" name="Freeform 2051">
                  <a:extLst>
                    <a:ext uri="{FF2B5EF4-FFF2-40B4-BE49-F238E27FC236}">
                      <a16:creationId xmlns:a16="http://schemas.microsoft.com/office/drawing/2014/main" id="{6045573D-42FC-4771-B6F6-6139216604B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44781" y="5341642"/>
                  <a:ext cx="0" cy="7957"/>
                </a:xfrm>
                <a:custGeom>
                  <a:avLst/>
                  <a:gdLst>
                    <a:gd name="T0" fmla="*/ 0 w 1"/>
                    <a:gd name="T1" fmla="*/ 5 h 5"/>
                    <a:gd name="T2" fmla="*/ 1 w 1"/>
                    <a:gd name="T3" fmla="*/ 2 h 5"/>
                    <a:gd name="T4" fmla="*/ 0 w 1"/>
                    <a:gd name="T5" fmla="*/ 0 h 5"/>
                    <a:gd name="T6" fmla="*/ 0 w 1"/>
                    <a:gd name="T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5">
                      <a:moveTo>
                        <a:pt x="0" y="5"/>
                      </a:move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3" name="Freeform 2065">
                  <a:extLst>
                    <a:ext uri="{FF2B5EF4-FFF2-40B4-BE49-F238E27FC236}">
                      <a16:creationId xmlns:a16="http://schemas.microsoft.com/office/drawing/2014/main" id="{736A27C7-40B9-44BA-9E1A-650083DB02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12670" y="6163784"/>
                  <a:ext cx="8954" cy="7957"/>
                </a:xfrm>
                <a:custGeom>
                  <a:avLst/>
                  <a:gdLst>
                    <a:gd name="T0" fmla="*/ 0 w 8"/>
                    <a:gd name="T1" fmla="*/ 1 h 7"/>
                    <a:gd name="T2" fmla="*/ 2 w 8"/>
                    <a:gd name="T3" fmla="*/ 0 h 7"/>
                    <a:gd name="T4" fmla="*/ 5 w 8"/>
                    <a:gd name="T5" fmla="*/ 0 h 7"/>
                    <a:gd name="T6" fmla="*/ 8 w 8"/>
                    <a:gd name="T7" fmla="*/ 3 h 7"/>
                    <a:gd name="T8" fmla="*/ 5 w 8"/>
                    <a:gd name="T9" fmla="*/ 6 h 7"/>
                    <a:gd name="T10" fmla="*/ 0 w 8"/>
                    <a:gd name="T11" fmla="*/ 7 h 7"/>
                    <a:gd name="T12" fmla="*/ 0 w 8"/>
                    <a:gd name="T13" fmla="*/ 1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7">
                      <a:moveTo>
                        <a:pt x="0" y="1"/>
                      </a:moveTo>
                      <a:lnTo>
                        <a:pt x="2" y="0"/>
                      </a:lnTo>
                      <a:lnTo>
                        <a:pt x="5" y="0"/>
                      </a:lnTo>
                      <a:lnTo>
                        <a:pt x="8" y="3"/>
                      </a:lnTo>
                      <a:lnTo>
                        <a:pt x="5" y="6"/>
                      </a:lnTo>
                      <a:lnTo>
                        <a:pt x="0" y="7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4" name="Freeform 2078">
                  <a:extLst>
                    <a:ext uri="{FF2B5EF4-FFF2-40B4-BE49-F238E27FC236}">
                      <a16:creationId xmlns:a16="http://schemas.microsoft.com/office/drawing/2014/main" id="{7D576EC5-8711-4577-8C04-EB5F1084416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9933" y="6452859"/>
                  <a:ext cx="4477" cy="7957"/>
                </a:xfrm>
                <a:custGeom>
                  <a:avLst/>
                  <a:gdLst>
                    <a:gd name="T0" fmla="*/ 5 w 5"/>
                    <a:gd name="T1" fmla="*/ 6 h 6"/>
                    <a:gd name="T2" fmla="*/ 2 w 5"/>
                    <a:gd name="T3" fmla="*/ 4 h 6"/>
                    <a:gd name="T4" fmla="*/ 0 w 5"/>
                    <a:gd name="T5" fmla="*/ 2 h 6"/>
                    <a:gd name="T6" fmla="*/ 0 w 5"/>
                    <a:gd name="T7" fmla="*/ 0 h 6"/>
                    <a:gd name="T8" fmla="*/ 5 w 5"/>
                    <a:gd name="T9" fmla="*/ 2 h 6"/>
                    <a:gd name="T10" fmla="*/ 5 w 5"/>
                    <a:gd name="T11" fmla="*/ 4 h 6"/>
                    <a:gd name="T12" fmla="*/ 5 w 5"/>
                    <a:gd name="T1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6">
                      <a:moveTo>
                        <a:pt x="5" y="6"/>
                      </a:moveTo>
                      <a:lnTo>
                        <a:pt x="2" y="4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5" y="2"/>
                      </a:lnTo>
                      <a:lnTo>
                        <a:pt x="5" y="4"/>
                      </a:lnTo>
                      <a:lnTo>
                        <a:pt x="5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5" name="Freeform 2093">
                  <a:extLst>
                    <a:ext uri="{FF2B5EF4-FFF2-40B4-BE49-F238E27FC236}">
                      <a16:creationId xmlns:a16="http://schemas.microsoft.com/office/drawing/2014/main" id="{3297ABA8-50A2-4553-ACD7-69C54027925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49952" y="5964878"/>
                  <a:ext cx="4477" cy="7957"/>
                </a:xfrm>
                <a:custGeom>
                  <a:avLst/>
                  <a:gdLst>
                    <a:gd name="T0" fmla="*/ 0 w 4"/>
                    <a:gd name="T1" fmla="*/ 7 h 7"/>
                    <a:gd name="T2" fmla="*/ 2 w 4"/>
                    <a:gd name="T3" fmla="*/ 0 h 7"/>
                    <a:gd name="T4" fmla="*/ 3 w 4"/>
                    <a:gd name="T5" fmla="*/ 3 h 7"/>
                    <a:gd name="T6" fmla="*/ 4 w 4"/>
                    <a:gd name="T7" fmla="*/ 5 h 7"/>
                    <a:gd name="T8" fmla="*/ 3 w 4"/>
                    <a:gd name="T9" fmla="*/ 7 h 7"/>
                    <a:gd name="T10" fmla="*/ 0 w 4"/>
                    <a:gd name="T11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7">
                      <a:moveTo>
                        <a:pt x="0" y="7"/>
                      </a:moveTo>
                      <a:lnTo>
                        <a:pt x="2" y="0"/>
                      </a:lnTo>
                      <a:lnTo>
                        <a:pt x="3" y="3"/>
                      </a:lnTo>
                      <a:lnTo>
                        <a:pt x="4" y="5"/>
                      </a:lnTo>
                      <a:lnTo>
                        <a:pt x="3" y="7"/>
                      </a:lnTo>
                      <a:lnTo>
                        <a:pt x="0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6" name="Freeform 2097">
                  <a:extLst>
                    <a:ext uri="{FF2B5EF4-FFF2-40B4-BE49-F238E27FC236}">
                      <a16:creationId xmlns:a16="http://schemas.microsoft.com/office/drawing/2014/main" id="{B4D28A25-6E9A-4F7A-9218-B9575FC8AC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8653" y="5880011"/>
                  <a:ext cx="4477" cy="2653"/>
                </a:xfrm>
                <a:custGeom>
                  <a:avLst/>
                  <a:gdLst>
                    <a:gd name="T0" fmla="*/ 3 w 4"/>
                    <a:gd name="T1" fmla="*/ 3 h 3"/>
                    <a:gd name="T2" fmla="*/ 4 w 4"/>
                    <a:gd name="T3" fmla="*/ 0 h 3"/>
                    <a:gd name="T4" fmla="*/ 1 w 4"/>
                    <a:gd name="T5" fmla="*/ 0 h 3"/>
                    <a:gd name="T6" fmla="*/ 0 w 4"/>
                    <a:gd name="T7" fmla="*/ 3 h 3"/>
                    <a:gd name="T8" fmla="*/ 3 w 4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3">
                      <a:moveTo>
                        <a:pt x="3" y="3"/>
                      </a:move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3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7" name="Freeform 2100">
                  <a:extLst>
                    <a:ext uri="{FF2B5EF4-FFF2-40B4-BE49-F238E27FC236}">
                      <a16:creationId xmlns:a16="http://schemas.microsoft.com/office/drawing/2014/main" id="{9911C3E0-28A6-4277-847C-FCDEF7EE1A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07459" y="5866753"/>
                  <a:ext cx="2240" cy="5304"/>
                </a:xfrm>
                <a:custGeom>
                  <a:avLst/>
                  <a:gdLst>
                    <a:gd name="T0" fmla="*/ 0 w 3"/>
                    <a:gd name="T1" fmla="*/ 2 h 2"/>
                    <a:gd name="T2" fmla="*/ 3 w 3"/>
                    <a:gd name="T3" fmla="*/ 1 h 2"/>
                    <a:gd name="T4" fmla="*/ 3 w 3"/>
                    <a:gd name="T5" fmla="*/ 0 h 2"/>
                    <a:gd name="T6" fmla="*/ 0 w 3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2">
                      <a:moveTo>
                        <a:pt x="0" y="2"/>
                      </a:move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8" name="Freeform 2101">
                  <a:extLst>
                    <a:ext uri="{FF2B5EF4-FFF2-40B4-BE49-F238E27FC236}">
                      <a16:creationId xmlns:a16="http://schemas.microsoft.com/office/drawing/2014/main" id="{D6F24DF0-A9D9-4236-B990-CA95C3BB8F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5016" y="6110743"/>
                  <a:ext cx="4477" cy="5304"/>
                </a:xfrm>
                <a:custGeom>
                  <a:avLst/>
                  <a:gdLst>
                    <a:gd name="T0" fmla="*/ 0 w 3"/>
                    <a:gd name="T1" fmla="*/ 2 h 4"/>
                    <a:gd name="T2" fmla="*/ 1 w 3"/>
                    <a:gd name="T3" fmla="*/ 0 h 4"/>
                    <a:gd name="T4" fmla="*/ 3 w 3"/>
                    <a:gd name="T5" fmla="*/ 2 h 4"/>
                    <a:gd name="T6" fmla="*/ 2 w 3"/>
                    <a:gd name="T7" fmla="*/ 4 h 4"/>
                    <a:gd name="T8" fmla="*/ 0 w 3"/>
                    <a:gd name="T9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4">
                      <a:moveTo>
                        <a:pt x="0" y="2"/>
                      </a:moveTo>
                      <a:lnTo>
                        <a:pt x="1" y="0"/>
                      </a:lnTo>
                      <a:lnTo>
                        <a:pt x="3" y="2"/>
                      </a:lnTo>
                      <a:lnTo>
                        <a:pt x="2" y="4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9" name="Freeform 2105">
                  <a:extLst>
                    <a:ext uri="{FF2B5EF4-FFF2-40B4-BE49-F238E27FC236}">
                      <a16:creationId xmlns:a16="http://schemas.microsoft.com/office/drawing/2014/main" id="{11077002-C95A-4511-960A-625A2A956B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93296" y="6447556"/>
                  <a:ext cx="4477" cy="2653"/>
                </a:xfrm>
                <a:custGeom>
                  <a:avLst/>
                  <a:gdLst>
                    <a:gd name="T0" fmla="*/ 4 w 4"/>
                    <a:gd name="T1" fmla="*/ 0 h 2"/>
                    <a:gd name="T2" fmla="*/ 3 w 4"/>
                    <a:gd name="T3" fmla="*/ 2 h 2"/>
                    <a:gd name="T4" fmla="*/ 3 w 4"/>
                    <a:gd name="T5" fmla="*/ 2 h 2"/>
                    <a:gd name="T6" fmla="*/ 0 w 4"/>
                    <a:gd name="T7" fmla="*/ 1 h 2"/>
                    <a:gd name="T8" fmla="*/ 4 w 4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0" y="1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70" name="Freeform 2107">
                  <a:extLst>
                    <a:ext uri="{FF2B5EF4-FFF2-40B4-BE49-F238E27FC236}">
                      <a16:creationId xmlns:a16="http://schemas.microsoft.com/office/drawing/2014/main" id="{4FB664AE-9888-4D25-9086-D6CCFCEA55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89512" y="6113394"/>
                  <a:ext cx="2240" cy="2653"/>
                </a:xfrm>
                <a:custGeom>
                  <a:avLst/>
                  <a:gdLst>
                    <a:gd name="T0" fmla="*/ 0 w 3"/>
                    <a:gd name="T1" fmla="*/ 3 h 3"/>
                    <a:gd name="T2" fmla="*/ 1 w 3"/>
                    <a:gd name="T3" fmla="*/ 1 h 3"/>
                    <a:gd name="T4" fmla="*/ 3 w 3"/>
                    <a:gd name="T5" fmla="*/ 0 h 3"/>
                    <a:gd name="T6" fmla="*/ 3 w 3"/>
                    <a:gd name="T7" fmla="*/ 1 h 3"/>
                    <a:gd name="T8" fmla="*/ 0 w 3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0" y="3"/>
                      </a:moveTo>
                      <a:lnTo>
                        <a:pt x="1" y="1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71" name="Freeform 2108">
                  <a:extLst>
                    <a:ext uri="{FF2B5EF4-FFF2-40B4-BE49-F238E27FC236}">
                      <a16:creationId xmlns:a16="http://schemas.microsoft.com/office/drawing/2014/main" id="{E3A57545-9DCC-44F7-A61D-AE56085B30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9493" y="6200914"/>
                  <a:ext cx="2240" cy="2653"/>
                </a:xfrm>
                <a:custGeom>
                  <a:avLst/>
                  <a:gdLst>
                    <a:gd name="T0" fmla="*/ 2 w 2"/>
                    <a:gd name="T1" fmla="*/ 1 h 1"/>
                    <a:gd name="T2" fmla="*/ 0 w 2"/>
                    <a:gd name="T3" fmla="*/ 1 h 1"/>
                    <a:gd name="T4" fmla="*/ 0 w 2"/>
                    <a:gd name="T5" fmla="*/ 1 h 1"/>
                    <a:gd name="T6" fmla="*/ 0 w 2"/>
                    <a:gd name="T7" fmla="*/ 0 h 1"/>
                    <a:gd name="T8" fmla="*/ 2 w 2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1">
                      <a:moveTo>
                        <a:pt x="2" y="1"/>
                      </a:move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72" name="Freeform 2109">
                  <a:extLst>
                    <a:ext uri="{FF2B5EF4-FFF2-40B4-BE49-F238E27FC236}">
                      <a16:creationId xmlns:a16="http://schemas.microsoft.com/office/drawing/2014/main" id="{0731DF17-CE7D-442C-B4CC-6DC42ECD397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60451" y="5665194"/>
                  <a:ext cx="13431" cy="13261"/>
                </a:xfrm>
                <a:custGeom>
                  <a:avLst/>
                  <a:gdLst>
                    <a:gd name="T0" fmla="*/ 0 w 13"/>
                    <a:gd name="T1" fmla="*/ 10 h 10"/>
                    <a:gd name="T2" fmla="*/ 8 w 13"/>
                    <a:gd name="T3" fmla="*/ 8 h 10"/>
                    <a:gd name="T4" fmla="*/ 10 w 13"/>
                    <a:gd name="T5" fmla="*/ 6 h 10"/>
                    <a:gd name="T6" fmla="*/ 13 w 13"/>
                    <a:gd name="T7" fmla="*/ 4 h 10"/>
                    <a:gd name="T8" fmla="*/ 13 w 13"/>
                    <a:gd name="T9" fmla="*/ 3 h 10"/>
                    <a:gd name="T10" fmla="*/ 11 w 13"/>
                    <a:gd name="T11" fmla="*/ 1 h 10"/>
                    <a:gd name="T12" fmla="*/ 8 w 13"/>
                    <a:gd name="T13" fmla="*/ 0 h 10"/>
                    <a:gd name="T14" fmla="*/ 4 w 13"/>
                    <a:gd name="T15" fmla="*/ 5 h 10"/>
                    <a:gd name="T16" fmla="*/ 0 w 13"/>
                    <a:gd name="T17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3" h="10">
                      <a:moveTo>
                        <a:pt x="0" y="10"/>
                      </a:moveTo>
                      <a:lnTo>
                        <a:pt x="8" y="8"/>
                      </a:lnTo>
                      <a:lnTo>
                        <a:pt x="10" y="6"/>
                      </a:lnTo>
                      <a:lnTo>
                        <a:pt x="13" y="4"/>
                      </a:lnTo>
                      <a:lnTo>
                        <a:pt x="13" y="3"/>
                      </a:lnTo>
                      <a:lnTo>
                        <a:pt x="11" y="1"/>
                      </a:lnTo>
                      <a:lnTo>
                        <a:pt x="8" y="0"/>
                      </a:lnTo>
                      <a:lnTo>
                        <a:pt x="4" y="5"/>
                      </a:lnTo>
                      <a:lnTo>
                        <a:pt x="0" y="1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</p:grpSp>
          <p:sp>
            <p:nvSpPr>
              <p:cNvPr id="2573" name="Rectangle 2572">
                <a:extLst>
                  <a:ext uri="{FF2B5EF4-FFF2-40B4-BE49-F238E27FC236}">
                    <a16:creationId xmlns:a16="http://schemas.microsoft.com/office/drawing/2014/main" id="{53C74F7A-DEBC-498F-8920-697E3FEAF35E}"/>
                  </a:ext>
                </a:extLst>
              </p:cNvPr>
              <p:cNvSpPr/>
              <p:nvPr/>
            </p:nvSpPr>
            <p:spPr>
              <a:xfrm rot="19589696">
                <a:off x="4231852" y="4676244"/>
                <a:ext cx="619506" cy="28502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11" name="Rektangel 10">
              <a:extLst>
                <a:ext uri="{FF2B5EF4-FFF2-40B4-BE49-F238E27FC236}">
                  <a16:creationId xmlns:a16="http://schemas.microsoft.com/office/drawing/2014/main" id="{1BB39B1F-8B15-416C-967D-6F4071AE98AC}"/>
                </a:ext>
              </a:extLst>
            </p:cNvPr>
            <p:cNvSpPr/>
            <p:nvPr/>
          </p:nvSpPr>
          <p:spPr>
            <a:xfrm>
              <a:off x="5282954" y="6917002"/>
              <a:ext cx="2558024" cy="6082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00" b="1" dirty="0">
                  <a:latin typeface="Danish Crown Text" panose="00000500000000000000" pitchFamily="50" charset="0"/>
                </a:rPr>
                <a:t>Red area: </a:t>
              </a:r>
              <a:r>
                <a:rPr lang="en-US" sz="1000" dirty="0">
                  <a:latin typeface="Danish Crown Text" panose="00000500000000000000" pitchFamily="50" charset="0"/>
                </a:rPr>
                <a:t>High risk and high readiness</a:t>
              </a:r>
            </a:p>
            <a:p>
              <a:r>
                <a:rPr lang="en-US" sz="1000" b="1" dirty="0">
                  <a:latin typeface="Danish Crown Text" panose="00000500000000000000" pitchFamily="50" charset="0"/>
                </a:rPr>
                <a:t>Dark green area:</a:t>
              </a:r>
              <a:r>
                <a:rPr lang="en-US" sz="1000" dirty="0">
                  <a:latin typeface="Danish Crown Text" panose="00000500000000000000" pitchFamily="50" charset="0"/>
                </a:rPr>
                <a:t> High risk</a:t>
              </a:r>
            </a:p>
            <a:p>
              <a:r>
                <a:rPr lang="en-US" sz="1000" b="1" dirty="0">
                  <a:latin typeface="Danish Crown Text" panose="00000500000000000000" pitchFamily="50" charset="0"/>
                </a:rPr>
                <a:t>Pink area: </a:t>
              </a:r>
              <a:r>
                <a:rPr lang="en-US" sz="1000" dirty="0">
                  <a:latin typeface="Danish Crown Text" panose="00000500000000000000" pitchFamily="50" charset="0"/>
                </a:rPr>
                <a:t>Risk</a:t>
              </a:r>
            </a:p>
          </p:txBody>
        </p:sp>
        <p:sp>
          <p:nvSpPr>
            <p:cNvPr id="2575" name="Oval 2574">
              <a:extLst>
                <a:ext uri="{FF2B5EF4-FFF2-40B4-BE49-F238E27FC236}">
                  <a16:creationId xmlns:a16="http://schemas.microsoft.com/office/drawing/2014/main" id="{31127495-974F-47EB-AA84-D79B90E7FF0F}"/>
                </a:ext>
              </a:extLst>
            </p:cNvPr>
            <p:cNvSpPr/>
            <p:nvPr/>
          </p:nvSpPr>
          <p:spPr>
            <a:xfrm>
              <a:off x="5120025" y="6964212"/>
              <a:ext cx="134962" cy="134962"/>
            </a:xfrm>
            <a:prstGeom prst="ellipse">
              <a:avLst/>
            </a:prstGeom>
            <a:solidFill>
              <a:srgbClr val="F549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576" name="Oval 2575">
              <a:extLst>
                <a:ext uri="{FF2B5EF4-FFF2-40B4-BE49-F238E27FC236}">
                  <a16:creationId xmlns:a16="http://schemas.microsoft.com/office/drawing/2014/main" id="{B5D43184-D48E-496B-B52C-1C111244EB10}"/>
                </a:ext>
              </a:extLst>
            </p:cNvPr>
            <p:cNvSpPr/>
            <p:nvPr/>
          </p:nvSpPr>
          <p:spPr>
            <a:xfrm>
              <a:off x="5116636" y="7164028"/>
              <a:ext cx="134963" cy="134961"/>
            </a:xfrm>
            <a:prstGeom prst="ellipse">
              <a:avLst/>
            </a:prstGeom>
            <a:solidFill>
              <a:srgbClr val="0051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577" name="Oval 2576">
              <a:extLst>
                <a:ext uri="{FF2B5EF4-FFF2-40B4-BE49-F238E27FC236}">
                  <a16:creationId xmlns:a16="http://schemas.microsoft.com/office/drawing/2014/main" id="{22A9148C-0A00-48B8-9750-6DEA30CD88CE}"/>
                </a:ext>
              </a:extLst>
            </p:cNvPr>
            <p:cNvSpPr/>
            <p:nvPr/>
          </p:nvSpPr>
          <p:spPr>
            <a:xfrm>
              <a:off x="5135171" y="7368762"/>
              <a:ext cx="134963" cy="134961"/>
            </a:xfrm>
            <a:prstGeom prst="ellipse">
              <a:avLst/>
            </a:prstGeom>
            <a:solidFill>
              <a:srgbClr val="FFB9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5D3D0D03-7807-432B-871A-E1B71651ECA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67588126"/>
              </p:ext>
            </p:extLst>
          </p:nvPr>
        </p:nvGraphicFramePr>
        <p:xfrm>
          <a:off x="201613" y="2216150"/>
          <a:ext cx="6959600" cy="39004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8458287" imgH="4371975" progId="Excel.Sheet.12">
                  <p:link updateAutomatic="1"/>
                </p:oleObj>
              </mc:Choice>
              <mc:Fallback>
                <p:oleObj name="Worksheet" r:id="rId4" imgW="8458287" imgH="4371975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13" y="2216150"/>
                        <a:ext cx="6959600" cy="39004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kt 5">
            <a:extLst>
              <a:ext uri="{FF2B5EF4-FFF2-40B4-BE49-F238E27FC236}">
                <a16:creationId xmlns:a16="http://schemas.microsoft.com/office/drawing/2014/main" id="{43672806-24F0-4B56-959E-4F9D8CD3D29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66606791"/>
              </p:ext>
            </p:extLst>
          </p:nvPr>
        </p:nvGraphicFramePr>
        <p:xfrm>
          <a:off x="5946775" y="233363"/>
          <a:ext cx="568325" cy="7699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619085" imgH="828521" progId="Excel.Sheet.12">
                  <p:link updateAutomatic="1"/>
                </p:oleObj>
              </mc:Choice>
              <mc:Fallback>
                <p:oleObj name="Worksheet" r:id="rId6" imgW="619085" imgH="82852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946775" y="233363"/>
                        <a:ext cx="568325" cy="7699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032767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1">
            <a:extLst>
              <a:ext uri="{FF2B5EF4-FFF2-40B4-BE49-F238E27FC236}">
                <a16:creationId xmlns:a16="http://schemas.microsoft.com/office/drawing/2014/main" id="{CC807710-3415-4ABB-BBF3-A0CB90747461}"/>
              </a:ext>
            </a:extLst>
          </p:cNvPr>
          <p:cNvSpPr txBox="1"/>
          <p:nvPr/>
        </p:nvSpPr>
        <p:spPr>
          <a:xfrm>
            <a:off x="0" y="1207784"/>
            <a:ext cx="6858000" cy="276999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African swine fever outbreaks in China</a:t>
            </a:r>
            <a:endParaRPr lang="da-DK" dirty="0">
              <a:solidFill>
                <a:srgbClr val="005151"/>
              </a:solidFill>
              <a:latin typeface="Danish Crown Display" panose="00000800000000000000" pitchFamily="50" charset="0"/>
              <a:cs typeface="Arial" panose="020B0604020202020204" pitchFamily="34" charset="0"/>
            </a:endParaRPr>
          </a:p>
        </p:txBody>
      </p:sp>
      <p:grpSp>
        <p:nvGrpSpPr>
          <p:cNvPr id="229" name="Gruppe 13">
            <a:extLst>
              <a:ext uri="{FF2B5EF4-FFF2-40B4-BE49-F238E27FC236}">
                <a16:creationId xmlns:a16="http://schemas.microsoft.com/office/drawing/2014/main" id="{B3290054-0ED3-413F-95EA-9ABA36B0D34D}"/>
              </a:ext>
            </a:extLst>
          </p:cNvPr>
          <p:cNvGrpSpPr/>
          <p:nvPr/>
        </p:nvGrpSpPr>
        <p:grpSpPr>
          <a:xfrm>
            <a:off x="1311837" y="1675544"/>
            <a:ext cx="3798616" cy="3815454"/>
            <a:chOff x="7062808" y="2687980"/>
            <a:chExt cx="2652627" cy="2664383"/>
          </a:xfrm>
        </p:grpSpPr>
        <p:sp>
          <p:nvSpPr>
            <p:cNvPr id="230" name="Freeform 1854">
              <a:extLst>
                <a:ext uri="{FF2B5EF4-FFF2-40B4-BE49-F238E27FC236}">
                  <a16:creationId xmlns:a16="http://schemas.microsoft.com/office/drawing/2014/main" id="{0EE3A031-8D87-4F70-BB4B-266F7DA9D8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2808" y="2751674"/>
              <a:ext cx="27403" cy="12647"/>
            </a:xfrm>
            <a:custGeom>
              <a:avLst/>
              <a:gdLst>
                <a:gd name="T0" fmla="*/ 14 w 25"/>
                <a:gd name="T1" fmla="*/ 7 h 11"/>
                <a:gd name="T2" fmla="*/ 12 w 25"/>
                <a:gd name="T3" fmla="*/ 10 h 11"/>
                <a:gd name="T4" fmla="*/ 7 w 25"/>
                <a:gd name="T5" fmla="*/ 10 h 11"/>
                <a:gd name="T6" fmla="*/ 3 w 25"/>
                <a:gd name="T7" fmla="*/ 11 h 11"/>
                <a:gd name="T8" fmla="*/ 0 w 25"/>
                <a:gd name="T9" fmla="*/ 11 h 11"/>
                <a:gd name="T10" fmla="*/ 7 w 25"/>
                <a:gd name="T11" fmla="*/ 11 h 11"/>
                <a:gd name="T12" fmla="*/ 13 w 25"/>
                <a:gd name="T13" fmla="*/ 10 h 11"/>
                <a:gd name="T14" fmla="*/ 19 w 25"/>
                <a:gd name="T15" fmla="*/ 8 h 11"/>
                <a:gd name="T16" fmla="*/ 25 w 25"/>
                <a:gd name="T17" fmla="*/ 7 h 11"/>
                <a:gd name="T18" fmla="*/ 19 w 25"/>
                <a:gd name="T19" fmla="*/ 5 h 11"/>
                <a:gd name="T20" fmla="*/ 22 w 25"/>
                <a:gd name="T21" fmla="*/ 4 h 11"/>
                <a:gd name="T22" fmla="*/ 22 w 25"/>
                <a:gd name="T23" fmla="*/ 2 h 11"/>
                <a:gd name="T24" fmla="*/ 20 w 25"/>
                <a:gd name="T25" fmla="*/ 1 h 11"/>
                <a:gd name="T26" fmla="*/ 18 w 25"/>
                <a:gd name="T27" fmla="*/ 0 h 11"/>
                <a:gd name="T28" fmla="*/ 14 w 25"/>
                <a:gd name="T29" fmla="*/ 0 h 11"/>
                <a:gd name="T30" fmla="*/ 12 w 25"/>
                <a:gd name="T31" fmla="*/ 0 h 11"/>
                <a:gd name="T32" fmla="*/ 12 w 25"/>
                <a:gd name="T33" fmla="*/ 2 h 11"/>
                <a:gd name="T34" fmla="*/ 14 w 25"/>
                <a:gd name="T35" fmla="*/ 2 h 11"/>
                <a:gd name="T36" fmla="*/ 16 w 25"/>
                <a:gd name="T37" fmla="*/ 4 h 11"/>
                <a:gd name="T38" fmla="*/ 16 w 25"/>
                <a:gd name="T39" fmla="*/ 6 h 11"/>
                <a:gd name="T40" fmla="*/ 14 w 25"/>
                <a:gd name="T41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" h="11">
                  <a:moveTo>
                    <a:pt x="14" y="7"/>
                  </a:moveTo>
                  <a:lnTo>
                    <a:pt x="12" y="10"/>
                  </a:lnTo>
                  <a:lnTo>
                    <a:pt x="7" y="10"/>
                  </a:lnTo>
                  <a:lnTo>
                    <a:pt x="3" y="11"/>
                  </a:lnTo>
                  <a:lnTo>
                    <a:pt x="0" y="11"/>
                  </a:lnTo>
                  <a:lnTo>
                    <a:pt x="7" y="11"/>
                  </a:lnTo>
                  <a:lnTo>
                    <a:pt x="13" y="10"/>
                  </a:lnTo>
                  <a:lnTo>
                    <a:pt x="19" y="8"/>
                  </a:lnTo>
                  <a:lnTo>
                    <a:pt x="25" y="7"/>
                  </a:lnTo>
                  <a:lnTo>
                    <a:pt x="19" y="5"/>
                  </a:lnTo>
                  <a:lnTo>
                    <a:pt x="22" y="4"/>
                  </a:lnTo>
                  <a:lnTo>
                    <a:pt x="22" y="2"/>
                  </a:lnTo>
                  <a:lnTo>
                    <a:pt x="20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14" y="2"/>
                  </a:lnTo>
                  <a:lnTo>
                    <a:pt x="16" y="4"/>
                  </a:lnTo>
                  <a:lnTo>
                    <a:pt x="16" y="6"/>
                  </a:lnTo>
                  <a:lnTo>
                    <a:pt x="14" y="7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1" name="Freeform 1855">
              <a:extLst>
                <a:ext uri="{FF2B5EF4-FFF2-40B4-BE49-F238E27FC236}">
                  <a16:creationId xmlns:a16="http://schemas.microsoft.com/office/drawing/2014/main" id="{FAEDAEB9-7B63-4227-8CBE-6AD3A41FB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2319" y="2760105"/>
              <a:ext cx="29511" cy="4216"/>
            </a:xfrm>
            <a:custGeom>
              <a:avLst/>
              <a:gdLst>
                <a:gd name="T0" fmla="*/ 17 w 28"/>
                <a:gd name="T1" fmla="*/ 4 h 4"/>
                <a:gd name="T2" fmla="*/ 23 w 28"/>
                <a:gd name="T3" fmla="*/ 3 h 4"/>
                <a:gd name="T4" fmla="*/ 28 w 28"/>
                <a:gd name="T5" fmla="*/ 1 h 4"/>
                <a:gd name="T6" fmla="*/ 14 w 28"/>
                <a:gd name="T7" fmla="*/ 1 h 4"/>
                <a:gd name="T8" fmla="*/ 0 w 28"/>
                <a:gd name="T9" fmla="*/ 0 h 4"/>
                <a:gd name="T10" fmla="*/ 3 w 28"/>
                <a:gd name="T11" fmla="*/ 3 h 4"/>
                <a:gd name="T12" fmla="*/ 7 w 28"/>
                <a:gd name="T13" fmla="*/ 3 h 4"/>
                <a:gd name="T14" fmla="*/ 12 w 28"/>
                <a:gd name="T15" fmla="*/ 3 h 4"/>
                <a:gd name="T16" fmla="*/ 17 w 28"/>
                <a:gd name="T1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4">
                  <a:moveTo>
                    <a:pt x="17" y="4"/>
                  </a:moveTo>
                  <a:lnTo>
                    <a:pt x="23" y="3"/>
                  </a:lnTo>
                  <a:lnTo>
                    <a:pt x="28" y="1"/>
                  </a:lnTo>
                  <a:lnTo>
                    <a:pt x="14" y="1"/>
                  </a:lnTo>
                  <a:lnTo>
                    <a:pt x="0" y="0"/>
                  </a:lnTo>
                  <a:lnTo>
                    <a:pt x="3" y="3"/>
                  </a:lnTo>
                  <a:lnTo>
                    <a:pt x="7" y="3"/>
                  </a:lnTo>
                  <a:lnTo>
                    <a:pt x="12" y="3"/>
                  </a:lnTo>
                  <a:lnTo>
                    <a:pt x="17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2" name="Freeform 1856">
              <a:extLst>
                <a:ext uri="{FF2B5EF4-FFF2-40B4-BE49-F238E27FC236}">
                  <a16:creationId xmlns:a16="http://schemas.microsoft.com/office/drawing/2014/main" id="{6DE73D99-1296-423E-A383-154C1B00B8B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3936" y="2751674"/>
              <a:ext cx="6324" cy="4216"/>
            </a:xfrm>
            <a:custGeom>
              <a:avLst/>
              <a:gdLst>
                <a:gd name="T0" fmla="*/ 5 w 6"/>
                <a:gd name="T1" fmla="*/ 4 h 4"/>
                <a:gd name="T2" fmla="*/ 6 w 6"/>
                <a:gd name="T3" fmla="*/ 0 h 4"/>
                <a:gd name="T4" fmla="*/ 3 w 6"/>
                <a:gd name="T5" fmla="*/ 0 h 4"/>
                <a:gd name="T6" fmla="*/ 0 w 6"/>
                <a:gd name="T7" fmla="*/ 1 h 4"/>
                <a:gd name="T8" fmla="*/ 1 w 6"/>
                <a:gd name="T9" fmla="*/ 4 h 4"/>
                <a:gd name="T10" fmla="*/ 5 w 6"/>
                <a:gd name="T1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4">
                  <a:moveTo>
                    <a:pt x="5" y="4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1"/>
                  </a:lnTo>
                  <a:lnTo>
                    <a:pt x="1" y="4"/>
                  </a:lnTo>
                  <a:lnTo>
                    <a:pt x="5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3" name="Freeform 1857">
              <a:extLst>
                <a:ext uri="{FF2B5EF4-FFF2-40B4-BE49-F238E27FC236}">
                  <a16:creationId xmlns:a16="http://schemas.microsoft.com/office/drawing/2014/main" id="{E3050253-39F7-4073-9569-FD01A1B5800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7663" y="2743242"/>
              <a:ext cx="6324" cy="4216"/>
            </a:xfrm>
            <a:custGeom>
              <a:avLst/>
              <a:gdLst>
                <a:gd name="T0" fmla="*/ 5 w 6"/>
                <a:gd name="T1" fmla="*/ 5 h 5"/>
                <a:gd name="T2" fmla="*/ 6 w 6"/>
                <a:gd name="T3" fmla="*/ 1 h 5"/>
                <a:gd name="T4" fmla="*/ 4 w 6"/>
                <a:gd name="T5" fmla="*/ 0 h 5"/>
                <a:gd name="T6" fmla="*/ 0 w 6"/>
                <a:gd name="T7" fmla="*/ 0 h 5"/>
                <a:gd name="T8" fmla="*/ 2 w 6"/>
                <a:gd name="T9" fmla="*/ 4 h 5"/>
                <a:gd name="T10" fmla="*/ 5 w 6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5">
                  <a:moveTo>
                    <a:pt x="5" y="5"/>
                  </a:moveTo>
                  <a:lnTo>
                    <a:pt x="6" y="1"/>
                  </a:lnTo>
                  <a:lnTo>
                    <a:pt x="4" y="0"/>
                  </a:lnTo>
                  <a:lnTo>
                    <a:pt x="0" y="0"/>
                  </a:lnTo>
                  <a:lnTo>
                    <a:pt x="2" y="4"/>
                  </a:lnTo>
                  <a:lnTo>
                    <a:pt x="5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4" name="Freeform 25">
              <a:extLst>
                <a:ext uri="{FF2B5EF4-FFF2-40B4-BE49-F238E27FC236}">
                  <a16:creationId xmlns:a16="http://schemas.microsoft.com/office/drawing/2014/main" id="{5AE130C5-55F7-47AD-ADDA-8DB3AFD5FA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7488" y="3322458"/>
              <a:ext cx="459522" cy="461630"/>
            </a:xfrm>
            <a:custGeom>
              <a:avLst/>
              <a:gdLst>
                <a:gd name="T0" fmla="*/ 74 w 435"/>
                <a:gd name="T1" fmla="*/ 248 h 437"/>
                <a:gd name="T2" fmla="*/ 118 w 435"/>
                <a:gd name="T3" fmla="*/ 245 h 437"/>
                <a:gd name="T4" fmla="*/ 151 w 435"/>
                <a:gd name="T5" fmla="*/ 231 h 437"/>
                <a:gd name="T6" fmla="*/ 150 w 435"/>
                <a:gd name="T7" fmla="*/ 201 h 437"/>
                <a:gd name="T8" fmla="*/ 170 w 435"/>
                <a:gd name="T9" fmla="*/ 191 h 437"/>
                <a:gd name="T10" fmla="*/ 192 w 435"/>
                <a:gd name="T11" fmla="*/ 174 h 437"/>
                <a:gd name="T12" fmla="*/ 209 w 435"/>
                <a:gd name="T13" fmla="*/ 174 h 437"/>
                <a:gd name="T14" fmla="*/ 221 w 435"/>
                <a:gd name="T15" fmla="*/ 153 h 437"/>
                <a:gd name="T16" fmla="*/ 225 w 435"/>
                <a:gd name="T17" fmla="*/ 130 h 437"/>
                <a:gd name="T18" fmla="*/ 241 w 435"/>
                <a:gd name="T19" fmla="*/ 118 h 437"/>
                <a:gd name="T20" fmla="*/ 250 w 435"/>
                <a:gd name="T21" fmla="*/ 100 h 437"/>
                <a:gd name="T22" fmla="*/ 255 w 435"/>
                <a:gd name="T23" fmla="*/ 83 h 437"/>
                <a:gd name="T24" fmla="*/ 266 w 435"/>
                <a:gd name="T25" fmla="*/ 67 h 437"/>
                <a:gd name="T26" fmla="*/ 266 w 435"/>
                <a:gd name="T27" fmla="*/ 51 h 437"/>
                <a:gd name="T28" fmla="*/ 255 w 435"/>
                <a:gd name="T29" fmla="*/ 25 h 437"/>
                <a:gd name="T30" fmla="*/ 290 w 435"/>
                <a:gd name="T31" fmla="*/ 6 h 437"/>
                <a:gd name="T32" fmla="*/ 325 w 435"/>
                <a:gd name="T33" fmla="*/ 4 h 437"/>
                <a:gd name="T34" fmla="*/ 357 w 435"/>
                <a:gd name="T35" fmla="*/ 3 h 437"/>
                <a:gd name="T36" fmla="*/ 379 w 435"/>
                <a:gd name="T37" fmla="*/ 27 h 437"/>
                <a:gd name="T38" fmla="*/ 396 w 435"/>
                <a:gd name="T39" fmla="*/ 38 h 437"/>
                <a:gd name="T40" fmla="*/ 435 w 435"/>
                <a:gd name="T41" fmla="*/ 50 h 437"/>
                <a:gd name="T42" fmla="*/ 416 w 435"/>
                <a:gd name="T43" fmla="*/ 68 h 437"/>
                <a:gd name="T44" fmla="*/ 402 w 435"/>
                <a:gd name="T45" fmla="*/ 77 h 437"/>
                <a:gd name="T46" fmla="*/ 359 w 435"/>
                <a:gd name="T47" fmla="*/ 77 h 437"/>
                <a:gd name="T48" fmla="*/ 339 w 435"/>
                <a:gd name="T49" fmla="*/ 90 h 437"/>
                <a:gd name="T50" fmla="*/ 349 w 435"/>
                <a:gd name="T51" fmla="*/ 99 h 437"/>
                <a:gd name="T52" fmla="*/ 349 w 435"/>
                <a:gd name="T53" fmla="*/ 116 h 437"/>
                <a:gd name="T54" fmla="*/ 360 w 435"/>
                <a:gd name="T55" fmla="*/ 138 h 437"/>
                <a:gd name="T56" fmla="*/ 384 w 435"/>
                <a:gd name="T57" fmla="*/ 152 h 437"/>
                <a:gd name="T58" fmla="*/ 375 w 435"/>
                <a:gd name="T59" fmla="*/ 167 h 437"/>
                <a:gd name="T60" fmla="*/ 379 w 435"/>
                <a:gd name="T61" fmla="*/ 195 h 437"/>
                <a:gd name="T62" fmla="*/ 364 w 435"/>
                <a:gd name="T63" fmla="*/ 223 h 437"/>
                <a:gd name="T64" fmla="*/ 349 w 435"/>
                <a:gd name="T65" fmla="*/ 243 h 437"/>
                <a:gd name="T66" fmla="*/ 326 w 435"/>
                <a:gd name="T67" fmla="*/ 281 h 437"/>
                <a:gd name="T68" fmla="*/ 306 w 435"/>
                <a:gd name="T69" fmla="*/ 302 h 437"/>
                <a:gd name="T70" fmla="*/ 279 w 435"/>
                <a:gd name="T71" fmla="*/ 297 h 437"/>
                <a:gd name="T72" fmla="*/ 257 w 435"/>
                <a:gd name="T73" fmla="*/ 338 h 437"/>
                <a:gd name="T74" fmla="*/ 278 w 435"/>
                <a:gd name="T75" fmla="*/ 366 h 437"/>
                <a:gd name="T76" fmla="*/ 295 w 435"/>
                <a:gd name="T77" fmla="*/ 382 h 437"/>
                <a:gd name="T78" fmla="*/ 306 w 435"/>
                <a:gd name="T79" fmla="*/ 410 h 437"/>
                <a:gd name="T80" fmla="*/ 294 w 435"/>
                <a:gd name="T81" fmla="*/ 415 h 437"/>
                <a:gd name="T82" fmla="*/ 276 w 435"/>
                <a:gd name="T83" fmla="*/ 424 h 437"/>
                <a:gd name="T84" fmla="*/ 245 w 435"/>
                <a:gd name="T85" fmla="*/ 429 h 437"/>
                <a:gd name="T86" fmla="*/ 229 w 435"/>
                <a:gd name="T87" fmla="*/ 437 h 437"/>
                <a:gd name="T88" fmla="*/ 214 w 435"/>
                <a:gd name="T89" fmla="*/ 436 h 437"/>
                <a:gd name="T90" fmla="*/ 203 w 435"/>
                <a:gd name="T91" fmla="*/ 421 h 437"/>
                <a:gd name="T92" fmla="*/ 186 w 435"/>
                <a:gd name="T93" fmla="*/ 400 h 437"/>
                <a:gd name="T94" fmla="*/ 167 w 435"/>
                <a:gd name="T95" fmla="*/ 377 h 437"/>
                <a:gd name="T96" fmla="*/ 160 w 435"/>
                <a:gd name="T97" fmla="*/ 383 h 437"/>
                <a:gd name="T98" fmla="*/ 129 w 435"/>
                <a:gd name="T99" fmla="*/ 387 h 437"/>
                <a:gd name="T100" fmla="*/ 113 w 435"/>
                <a:gd name="T101" fmla="*/ 386 h 437"/>
                <a:gd name="T102" fmla="*/ 91 w 435"/>
                <a:gd name="T103" fmla="*/ 387 h 437"/>
                <a:gd name="T104" fmla="*/ 62 w 435"/>
                <a:gd name="T105" fmla="*/ 393 h 437"/>
                <a:gd name="T106" fmla="*/ 41 w 435"/>
                <a:gd name="T107" fmla="*/ 390 h 437"/>
                <a:gd name="T108" fmla="*/ 54 w 435"/>
                <a:gd name="T109" fmla="*/ 351 h 437"/>
                <a:gd name="T110" fmla="*/ 79 w 435"/>
                <a:gd name="T111" fmla="*/ 335 h 437"/>
                <a:gd name="T112" fmla="*/ 65 w 435"/>
                <a:gd name="T113" fmla="*/ 318 h 437"/>
                <a:gd name="T114" fmla="*/ 46 w 435"/>
                <a:gd name="T115" fmla="*/ 283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35" h="437">
                  <a:moveTo>
                    <a:pt x="0" y="236"/>
                  </a:moveTo>
                  <a:lnTo>
                    <a:pt x="9" y="238"/>
                  </a:lnTo>
                  <a:lnTo>
                    <a:pt x="17" y="242"/>
                  </a:lnTo>
                  <a:lnTo>
                    <a:pt x="35" y="248"/>
                  </a:lnTo>
                  <a:lnTo>
                    <a:pt x="46" y="250"/>
                  </a:lnTo>
                  <a:lnTo>
                    <a:pt x="54" y="249"/>
                  </a:lnTo>
                  <a:lnTo>
                    <a:pt x="64" y="249"/>
                  </a:lnTo>
                  <a:lnTo>
                    <a:pt x="74" y="248"/>
                  </a:lnTo>
                  <a:lnTo>
                    <a:pt x="81" y="249"/>
                  </a:lnTo>
                  <a:lnTo>
                    <a:pt x="89" y="250"/>
                  </a:lnTo>
                  <a:lnTo>
                    <a:pt x="92" y="250"/>
                  </a:lnTo>
                  <a:lnTo>
                    <a:pt x="95" y="249"/>
                  </a:lnTo>
                  <a:lnTo>
                    <a:pt x="101" y="245"/>
                  </a:lnTo>
                  <a:lnTo>
                    <a:pt x="106" y="245"/>
                  </a:lnTo>
                  <a:lnTo>
                    <a:pt x="110" y="245"/>
                  </a:lnTo>
                  <a:lnTo>
                    <a:pt x="118" y="245"/>
                  </a:lnTo>
                  <a:lnTo>
                    <a:pt x="126" y="244"/>
                  </a:lnTo>
                  <a:lnTo>
                    <a:pt x="133" y="242"/>
                  </a:lnTo>
                  <a:lnTo>
                    <a:pt x="138" y="242"/>
                  </a:lnTo>
                  <a:lnTo>
                    <a:pt x="143" y="240"/>
                  </a:lnTo>
                  <a:lnTo>
                    <a:pt x="148" y="238"/>
                  </a:lnTo>
                  <a:lnTo>
                    <a:pt x="151" y="234"/>
                  </a:lnTo>
                  <a:lnTo>
                    <a:pt x="153" y="233"/>
                  </a:lnTo>
                  <a:lnTo>
                    <a:pt x="151" y="231"/>
                  </a:lnTo>
                  <a:lnTo>
                    <a:pt x="150" y="229"/>
                  </a:lnTo>
                  <a:lnTo>
                    <a:pt x="150" y="227"/>
                  </a:lnTo>
                  <a:lnTo>
                    <a:pt x="150" y="222"/>
                  </a:lnTo>
                  <a:lnTo>
                    <a:pt x="149" y="217"/>
                  </a:lnTo>
                  <a:lnTo>
                    <a:pt x="149" y="212"/>
                  </a:lnTo>
                  <a:lnTo>
                    <a:pt x="149" y="207"/>
                  </a:lnTo>
                  <a:lnTo>
                    <a:pt x="149" y="204"/>
                  </a:lnTo>
                  <a:lnTo>
                    <a:pt x="150" y="201"/>
                  </a:lnTo>
                  <a:lnTo>
                    <a:pt x="153" y="200"/>
                  </a:lnTo>
                  <a:lnTo>
                    <a:pt x="155" y="197"/>
                  </a:lnTo>
                  <a:lnTo>
                    <a:pt x="157" y="193"/>
                  </a:lnTo>
                  <a:lnTo>
                    <a:pt x="161" y="189"/>
                  </a:lnTo>
                  <a:lnTo>
                    <a:pt x="164" y="189"/>
                  </a:lnTo>
                  <a:lnTo>
                    <a:pt x="166" y="189"/>
                  </a:lnTo>
                  <a:lnTo>
                    <a:pt x="167" y="190"/>
                  </a:lnTo>
                  <a:lnTo>
                    <a:pt x="170" y="191"/>
                  </a:lnTo>
                  <a:lnTo>
                    <a:pt x="178" y="190"/>
                  </a:lnTo>
                  <a:lnTo>
                    <a:pt x="186" y="188"/>
                  </a:lnTo>
                  <a:lnTo>
                    <a:pt x="182" y="185"/>
                  </a:lnTo>
                  <a:lnTo>
                    <a:pt x="180" y="184"/>
                  </a:lnTo>
                  <a:lnTo>
                    <a:pt x="178" y="181"/>
                  </a:lnTo>
                  <a:lnTo>
                    <a:pt x="183" y="180"/>
                  </a:lnTo>
                  <a:lnTo>
                    <a:pt x="187" y="179"/>
                  </a:lnTo>
                  <a:lnTo>
                    <a:pt x="192" y="174"/>
                  </a:lnTo>
                  <a:lnTo>
                    <a:pt x="193" y="173"/>
                  </a:lnTo>
                  <a:lnTo>
                    <a:pt x="196" y="173"/>
                  </a:lnTo>
                  <a:lnTo>
                    <a:pt x="199" y="173"/>
                  </a:lnTo>
                  <a:lnTo>
                    <a:pt x="202" y="174"/>
                  </a:lnTo>
                  <a:lnTo>
                    <a:pt x="203" y="173"/>
                  </a:lnTo>
                  <a:lnTo>
                    <a:pt x="203" y="172"/>
                  </a:lnTo>
                  <a:lnTo>
                    <a:pt x="208" y="173"/>
                  </a:lnTo>
                  <a:lnTo>
                    <a:pt x="209" y="174"/>
                  </a:lnTo>
                  <a:lnTo>
                    <a:pt x="212" y="177"/>
                  </a:lnTo>
                  <a:lnTo>
                    <a:pt x="213" y="178"/>
                  </a:lnTo>
                  <a:lnTo>
                    <a:pt x="215" y="178"/>
                  </a:lnTo>
                  <a:lnTo>
                    <a:pt x="219" y="177"/>
                  </a:lnTo>
                  <a:lnTo>
                    <a:pt x="223" y="172"/>
                  </a:lnTo>
                  <a:lnTo>
                    <a:pt x="224" y="165"/>
                  </a:lnTo>
                  <a:lnTo>
                    <a:pt x="223" y="159"/>
                  </a:lnTo>
                  <a:lnTo>
                    <a:pt x="221" y="153"/>
                  </a:lnTo>
                  <a:lnTo>
                    <a:pt x="221" y="151"/>
                  </a:lnTo>
                  <a:lnTo>
                    <a:pt x="221" y="148"/>
                  </a:lnTo>
                  <a:lnTo>
                    <a:pt x="223" y="147"/>
                  </a:lnTo>
                  <a:lnTo>
                    <a:pt x="224" y="145"/>
                  </a:lnTo>
                  <a:lnTo>
                    <a:pt x="225" y="140"/>
                  </a:lnTo>
                  <a:lnTo>
                    <a:pt x="224" y="134"/>
                  </a:lnTo>
                  <a:lnTo>
                    <a:pt x="224" y="131"/>
                  </a:lnTo>
                  <a:lnTo>
                    <a:pt x="225" y="130"/>
                  </a:lnTo>
                  <a:lnTo>
                    <a:pt x="229" y="129"/>
                  </a:lnTo>
                  <a:lnTo>
                    <a:pt x="234" y="129"/>
                  </a:lnTo>
                  <a:lnTo>
                    <a:pt x="236" y="127"/>
                  </a:lnTo>
                  <a:lnTo>
                    <a:pt x="239" y="126"/>
                  </a:lnTo>
                  <a:lnTo>
                    <a:pt x="242" y="124"/>
                  </a:lnTo>
                  <a:lnTo>
                    <a:pt x="242" y="122"/>
                  </a:lnTo>
                  <a:lnTo>
                    <a:pt x="242" y="121"/>
                  </a:lnTo>
                  <a:lnTo>
                    <a:pt x="241" y="118"/>
                  </a:lnTo>
                  <a:lnTo>
                    <a:pt x="239" y="113"/>
                  </a:lnTo>
                  <a:lnTo>
                    <a:pt x="234" y="108"/>
                  </a:lnTo>
                  <a:lnTo>
                    <a:pt x="230" y="104"/>
                  </a:lnTo>
                  <a:lnTo>
                    <a:pt x="229" y="100"/>
                  </a:lnTo>
                  <a:lnTo>
                    <a:pt x="230" y="99"/>
                  </a:lnTo>
                  <a:lnTo>
                    <a:pt x="236" y="99"/>
                  </a:lnTo>
                  <a:lnTo>
                    <a:pt x="242" y="100"/>
                  </a:lnTo>
                  <a:lnTo>
                    <a:pt x="250" y="100"/>
                  </a:lnTo>
                  <a:lnTo>
                    <a:pt x="257" y="99"/>
                  </a:lnTo>
                  <a:lnTo>
                    <a:pt x="260" y="97"/>
                  </a:lnTo>
                  <a:lnTo>
                    <a:pt x="261" y="94"/>
                  </a:lnTo>
                  <a:lnTo>
                    <a:pt x="261" y="90"/>
                  </a:lnTo>
                  <a:lnTo>
                    <a:pt x="260" y="87"/>
                  </a:lnTo>
                  <a:lnTo>
                    <a:pt x="258" y="86"/>
                  </a:lnTo>
                  <a:lnTo>
                    <a:pt x="256" y="84"/>
                  </a:lnTo>
                  <a:lnTo>
                    <a:pt x="255" y="83"/>
                  </a:lnTo>
                  <a:lnTo>
                    <a:pt x="255" y="82"/>
                  </a:lnTo>
                  <a:lnTo>
                    <a:pt x="257" y="81"/>
                  </a:lnTo>
                  <a:lnTo>
                    <a:pt x="257" y="78"/>
                  </a:lnTo>
                  <a:lnTo>
                    <a:pt x="258" y="77"/>
                  </a:lnTo>
                  <a:lnTo>
                    <a:pt x="260" y="73"/>
                  </a:lnTo>
                  <a:lnTo>
                    <a:pt x="262" y="72"/>
                  </a:lnTo>
                  <a:lnTo>
                    <a:pt x="263" y="70"/>
                  </a:lnTo>
                  <a:lnTo>
                    <a:pt x="266" y="67"/>
                  </a:lnTo>
                  <a:lnTo>
                    <a:pt x="266" y="66"/>
                  </a:lnTo>
                  <a:lnTo>
                    <a:pt x="268" y="61"/>
                  </a:lnTo>
                  <a:lnTo>
                    <a:pt x="268" y="60"/>
                  </a:lnTo>
                  <a:lnTo>
                    <a:pt x="267" y="59"/>
                  </a:lnTo>
                  <a:lnTo>
                    <a:pt x="266" y="56"/>
                  </a:lnTo>
                  <a:lnTo>
                    <a:pt x="266" y="55"/>
                  </a:lnTo>
                  <a:lnTo>
                    <a:pt x="267" y="52"/>
                  </a:lnTo>
                  <a:lnTo>
                    <a:pt x="266" y="51"/>
                  </a:lnTo>
                  <a:lnTo>
                    <a:pt x="264" y="47"/>
                  </a:lnTo>
                  <a:lnTo>
                    <a:pt x="262" y="44"/>
                  </a:lnTo>
                  <a:lnTo>
                    <a:pt x="261" y="41"/>
                  </a:lnTo>
                  <a:lnTo>
                    <a:pt x="260" y="40"/>
                  </a:lnTo>
                  <a:lnTo>
                    <a:pt x="256" y="36"/>
                  </a:lnTo>
                  <a:lnTo>
                    <a:pt x="251" y="33"/>
                  </a:lnTo>
                  <a:lnTo>
                    <a:pt x="251" y="30"/>
                  </a:lnTo>
                  <a:lnTo>
                    <a:pt x="255" y="25"/>
                  </a:lnTo>
                  <a:lnTo>
                    <a:pt x="258" y="20"/>
                  </a:lnTo>
                  <a:lnTo>
                    <a:pt x="261" y="19"/>
                  </a:lnTo>
                  <a:lnTo>
                    <a:pt x="264" y="19"/>
                  </a:lnTo>
                  <a:lnTo>
                    <a:pt x="266" y="18"/>
                  </a:lnTo>
                  <a:lnTo>
                    <a:pt x="268" y="13"/>
                  </a:lnTo>
                  <a:lnTo>
                    <a:pt x="273" y="9"/>
                  </a:lnTo>
                  <a:lnTo>
                    <a:pt x="278" y="8"/>
                  </a:lnTo>
                  <a:lnTo>
                    <a:pt x="290" y="6"/>
                  </a:lnTo>
                  <a:lnTo>
                    <a:pt x="303" y="4"/>
                  </a:lnTo>
                  <a:lnTo>
                    <a:pt x="310" y="3"/>
                  </a:lnTo>
                  <a:lnTo>
                    <a:pt x="314" y="3"/>
                  </a:lnTo>
                  <a:lnTo>
                    <a:pt x="317" y="4"/>
                  </a:lnTo>
                  <a:lnTo>
                    <a:pt x="320" y="6"/>
                  </a:lnTo>
                  <a:lnTo>
                    <a:pt x="321" y="6"/>
                  </a:lnTo>
                  <a:lnTo>
                    <a:pt x="322" y="6"/>
                  </a:lnTo>
                  <a:lnTo>
                    <a:pt x="325" y="4"/>
                  </a:lnTo>
                  <a:lnTo>
                    <a:pt x="330" y="2"/>
                  </a:lnTo>
                  <a:lnTo>
                    <a:pt x="335" y="0"/>
                  </a:lnTo>
                  <a:lnTo>
                    <a:pt x="341" y="0"/>
                  </a:lnTo>
                  <a:lnTo>
                    <a:pt x="343" y="1"/>
                  </a:lnTo>
                  <a:lnTo>
                    <a:pt x="344" y="3"/>
                  </a:lnTo>
                  <a:lnTo>
                    <a:pt x="348" y="1"/>
                  </a:lnTo>
                  <a:lnTo>
                    <a:pt x="352" y="1"/>
                  </a:lnTo>
                  <a:lnTo>
                    <a:pt x="357" y="3"/>
                  </a:lnTo>
                  <a:lnTo>
                    <a:pt x="359" y="7"/>
                  </a:lnTo>
                  <a:lnTo>
                    <a:pt x="362" y="8"/>
                  </a:lnTo>
                  <a:lnTo>
                    <a:pt x="365" y="9"/>
                  </a:lnTo>
                  <a:lnTo>
                    <a:pt x="369" y="11"/>
                  </a:lnTo>
                  <a:lnTo>
                    <a:pt x="373" y="12"/>
                  </a:lnTo>
                  <a:lnTo>
                    <a:pt x="376" y="17"/>
                  </a:lnTo>
                  <a:lnTo>
                    <a:pt x="379" y="22"/>
                  </a:lnTo>
                  <a:lnTo>
                    <a:pt x="379" y="27"/>
                  </a:lnTo>
                  <a:lnTo>
                    <a:pt x="380" y="31"/>
                  </a:lnTo>
                  <a:lnTo>
                    <a:pt x="381" y="33"/>
                  </a:lnTo>
                  <a:lnTo>
                    <a:pt x="384" y="35"/>
                  </a:lnTo>
                  <a:lnTo>
                    <a:pt x="387" y="38"/>
                  </a:lnTo>
                  <a:lnTo>
                    <a:pt x="389" y="39"/>
                  </a:lnTo>
                  <a:lnTo>
                    <a:pt x="391" y="40"/>
                  </a:lnTo>
                  <a:lnTo>
                    <a:pt x="394" y="39"/>
                  </a:lnTo>
                  <a:lnTo>
                    <a:pt x="396" y="38"/>
                  </a:lnTo>
                  <a:lnTo>
                    <a:pt x="399" y="36"/>
                  </a:lnTo>
                  <a:lnTo>
                    <a:pt x="400" y="41"/>
                  </a:lnTo>
                  <a:lnTo>
                    <a:pt x="403" y="44"/>
                  </a:lnTo>
                  <a:lnTo>
                    <a:pt x="408" y="46"/>
                  </a:lnTo>
                  <a:lnTo>
                    <a:pt x="413" y="49"/>
                  </a:lnTo>
                  <a:lnTo>
                    <a:pt x="426" y="51"/>
                  </a:lnTo>
                  <a:lnTo>
                    <a:pt x="432" y="51"/>
                  </a:lnTo>
                  <a:lnTo>
                    <a:pt x="435" y="50"/>
                  </a:lnTo>
                  <a:lnTo>
                    <a:pt x="434" y="51"/>
                  </a:lnTo>
                  <a:lnTo>
                    <a:pt x="432" y="54"/>
                  </a:lnTo>
                  <a:lnTo>
                    <a:pt x="426" y="57"/>
                  </a:lnTo>
                  <a:lnTo>
                    <a:pt x="419" y="61"/>
                  </a:lnTo>
                  <a:lnTo>
                    <a:pt x="418" y="63"/>
                  </a:lnTo>
                  <a:lnTo>
                    <a:pt x="418" y="65"/>
                  </a:lnTo>
                  <a:lnTo>
                    <a:pt x="418" y="66"/>
                  </a:lnTo>
                  <a:lnTo>
                    <a:pt x="416" y="68"/>
                  </a:lnTo>
                  <a:lnTo>
                    <a:pt x="416" y="70"/>
                  </a:lnTo>
                  <a:lnTo>
                    <a:pt x="416" y="70"/>
                  </a:lnTo>
                  <a:lnTo>
                    <a:pt x="416" y="70"/>
                  </a:lnTo>
                  <a:lnTo>
                    <a:pt x="414" y="71"/>
                  </a:lnTo>
                  <a:lnTo>
                    <a:pt x="411" y="73"/>
                  </a:lnTo>
                  <a:lnTo>
                    <a:pt x="411" y="75"/>
                  </a:lnTo>
                  <a:lnTo>
                    <a:pt x="408" y="75"/>
                  </a:lnTo>
                  <a:lnTo>
                    <a:pt x="402" y="77"/>
                  </a:lnTo>
                  <a:lnTo>
                    <a:pt x="395" y="78"/>
                  </a:lnTo>
                  <a:lnTo>
                    <a:pt x="392" y="79"/>
                  </a:lnTo>
                  <a:lnTo>
                    <a:pt x="391" y="79"/>
                  </a:lnTo>
                  <a:lnTo>
                    <a:pt x="385" y="82"/>
                  </a:lnTo>
                  <a:lnTo>
                    <a:pt x="379" y="82"/>
                  </a:lnTo>
                  <a:lnTo>
                    <a:pt x="371" y="81"/>
                  </a:lnTo>
                  <a:lnTo>
                    <a:pt x="365" y="79"/>
                  </a:lnTo>
                  <a:lnTo>
                    <a:pt x="359" y="77"/>
                  </a:lnTo>
                  <a:lnTo>
                    <a:pt x="352" y="76"/>
                  </a:lnTo>
                  <a:lnTo>
                    <a:pt x="346" y="75"/>
                  </a:lnTo>
                  <a:lnTo>
                    <a:pt x="339" y="77"/>
                  </a:lnTo>
                  <a:lnTo>
                    <a:pt x="336" y="79"/>
                  </a:lnTo>
                  <a:lnTo>
                    <a:pt x="335" y="83"/>
                  </a:lnTo>
                  <a:lnTo>
                    <a:pt x="335" y="87"/>
                  </a:lnTo>
                  <a:lnTo>
                    <a:pt x="337" y="89"/>
                  </a:lnTo>
                  <a:lnTo>
                    <a:pt x="339" y="90"/>
                  </a:lnTo>
                  <a:lnTo>
                    <a:pt x="339" y="92"/>
                  </a:lnTo>
                  <a:lnTo>
                    <a:pt x="339" y="94"/>
                  </a:lnTo>
                  <a:lnTo>
                    <a:pt x="338" y="97"/>
                  </a:lnTo>
                  <a:lnTo>
                    <a:pt x="339" y="97"/>
                  </a:lnTo>
                  <a:lnTo>
                    <a:pt x="341" y="98"/>
                  </a:lnTo>
                  <a:lnTo>
                    <a:pt x="343" y="98"/>
                  </a:lnTo>
                  <a:lnTo>
                    <a:pt x="347" y="98"/>
                  </a:lnTo>
                  <a:lnTo>
                    <a:pt x="349" y="99"/>
                  </a:lnTo>
                  <a:lnTo>
                    <a:pt x="349" y="100"/>
                  </a:lnTo>
                  <a:lnTo>
                    <a:pt x="349" y="102"/>
                  </a:lnTo>
                  <a:lnTo>
                    <a:pt x="346" y="105"/>
                  </a:lnTo>
                  <a:lnTo>
                    <a:pt x="343" y="108"/>
                  </a:lnTo>
                  <a:lnTo>
                    <a:pt x="343" y="110"/>
                  </a:lnTo>
                  <a:lnTo>
                    <a:pt x="347" y="113"/>
                  </a:lnTo>
                  <a:lnTo>
                    <a:pt x="349" y="115"/>
                  </a:lnTo>
                  <a:lnTo>
                    <a:pt x="349" y="116"/>
                  </a:lnTo>
                  <a:lnTo>
                    <a:pt x="349" y="120"/>
                  </a:lnTo>
                  <a:lnTo>
                    <a:pt x="348" y="124"/>
                  </a:lnTo>
                  <a:lnTo>
                    <a:pt x="349" y="127"/>
                  </a:lnTo>
                  <a:lnTo>
                    <a:pt x="353" y="130"/>
                  </a:lnTo>
                  <a:lnTo>
                    <a:pt x="357" y="132"/>
                  </a:lnTo>
                  <a:lnTo>
                    <a:pt x="358" y="135"/>
                  </a:lnTo>
                  <a:lnTo>
                    <a:pt x="359" y="136"/>
                  </a:lnTo>
                  <a:lnTo>
                    <a:pt x="360" y="138"/>
                  </a:lnTo>
                  <a:lnTo>
                    <a:pt x="362" y="140"/>
                  </a:lnTo>
                  <a:lnTo>
                    <a:pt x="364" y="140"/>
                  </a:lnTo>
                  <a:lnTo>
                    <a:pt x="368" y="142"/>
                  </a:lnTo>
                  <a:lnTo>
                    <a:pt x="370" y="145"/>
                  </a:lnTo>
                  <a:lnTo>
                    <a:pt x="371" y="148"/>
                  </a:lnTo>
                  <a:lnTo>
                    <a:pt x="375" y="149"/>
                  </a:lnTo>
                  <a:lnTo>
                    <a:pt x="379" y="151"/>
                  </a:lnTo>
                  <a:lnTo>
                    <a:pt x="384" y="152"/>
                  </a:lnTo>
                  <a:lnTo>
                    <a:pt x="387" y="153"/>
                  </a:lnTo>
                  <a:lnTo>
                    <a:pt x="390" y="156"/>
                  </a:lnTo>
                  <a:lnTo>
                    <a:pt x="391" y="157"/>
                  </a:lnTo>
                  <a:lnTo>
                    <a:pt x="391" y="158"/>
                  </a:lnTo>
                  <a:lnTo>
                    <a:pt x="387" y="162"/>
                  </a:lnTo>
                  <a:lnTo>
                    <a:pt x="384" y="163"/>
                  </a:lnTo>
                  <a:lnTo>
                    <a:pt x="380" y="164"/>
                  </a:lnTo>
                  <a:lnTo>
                    <a:pt x="375" y="167"/>
                  </a:lnTo>
                  <a:lnTo>
                    <a:pt x="373" y="170"/>
                  </a:lnTo>
                  <a:lnTo>
                    <a:pt x="371" y="174"/>
                  </a:lnTo>
                  <a:lnTo>
                    <a:pt x="373" y="179"/>
                  </a:lnTo>
                  <a:lnTo>
                    <a:pt x="375" y="184"/>
                  </a:lnTo>
                  <a:lnTo>
                    <a:pt x="375" y="189"/>
                  </a:lnTo>
                  <a:lnTo>
                    <a:pt x="376" y="194"/>
                  </a:lnTo>
                  <a:lnTo>
                    <a:pt x="378" y="195"/>
                  </a:lnTo>
                  <a:lnTo>
                    <a:pt x="379" y="195"/>
                  </a:lnTo>
                  <a:lnTo>
                    <a:pt x="378" y="197"/>
                  </a:lnTo>
                  <a:lnTo>
                    <a:pt x="375" y="200"/>
                  </a:lnTo>
                  <a:lnTo>
                    <a:pt x="370" y="205"/>
                  </a:lnTo>
                  <a:lnTo>
                    <a:pt x="367" y="209"/>
                  </a:lnTo>
                  <a:lnTo>
                    <a:pt x="363" y="213"/>
                  </a:lnTo>
                  <a:lnTo>
                    <a:pt x="362" y="218"/>
                  </a:lnTo>
                  <a:lnTo>
                    <a:pt x="363" y="221"/>
                  </a:lnTo>
                  <a:lnTo>
                    <a:pt x="364" y="223"/>
                  </a:lnTo>
                  <a:lnTo>
                    <a:pt x="364" y="226"/>
                  </a:lnTo>
                  <a:lnTo>
                    <a:pt x="364" y="227"/>
                  </a:lnTo>
                  <a:lnTo>
                    <a:pt x="362" y="228"/>
                  </a:lnTo>
                  <a:lnTo>
                    <a:pt x="357" y="231"/>
                  </a:lnTo>
                  <a:lnTo>
                    <a:pt x="353" y="232"/>
                  </a:lnTo>
                  <a:lnTo>
                    <a:pt x="351" y="234"/>
                  </a:lnTo>
                  <a:lnTo>
                    <a:pt x="349" y="237"/>
                  </a:lnTo>
                  <a:lnTo>
                    <a:pt x="349" y="243"/>
                  </a:lnTo>
                  <a:lnTo>
                    <a:pt x="347" y="250"/>
                  </a:lnTo>
                  <a:lnTo>
                    <a:pt x="344" y="258"/>
                  </a:lnTo>
                  <a:lnTo>
                    <a:pt x="341" y="263"/>
                  </a:lnTo>
                  <a:lnTo>
                    <a:pt x="337" y="265"/>
                  </a:lnTo>
                  <a:lnTo>
                    <a:pt x="333" y="269"/>
                  </a:lnTo>
                  <a:lnTo>
                    <a:pt x="330" y="271"/>
                  </a:lnTo>
                  <a:lnTo>
                    <a:pt x="327" y="276"/>
                  </a:lnTo>
                  <a:lnTo>
                    <a:pt x="326" y="281"/>
                  </a:lnTo>
                  <a:lnTo>
                    <a:pt x="325" y="285"/>
                  </a:lnTo>
                  <a:lnTo>
                    <a:pt x="323" y="287"/>
                  </a:lnTo>
                  <a:lnTo>
                    <a:pt x="320" y="291"/>
                  </a:lnTo>
                  <a:lnTo>
                    <a:pt x="319" y="293"/>
                  </a:lnTo>
                  <a:lnTo>
                    <a:pt x="317" y="297"/>
                  </a:lnTo>
                  <a:lnTo>
                    <a:pt x="315" y="299"/>
                  </a:lnTo>
                  <a:lnTo>
                    <a:pt x="311" y="301"/>
                  </a:lnTo>
                  <a:lnTo>
                    <a:pt x="306" y="302"/>
                  </a:lnTo>
                  <a:lnTo>
                    <a:pt x="300" y="303"/>
                  </a:lnTo>
                  <a:lnTo>
                    <a:pt x="295" y="306"/>
                  </a:lnTo>
                  <a:lnTo>
                    <a:pt x="293" y="307"/>
                  </a:lnTo>
                  <a:lnTo>
                    <a:pt x="289" y="307"/>
                  </a:lnTo>
                  <a:lnTo>
                    <a:pt x="287" y="306"/>
                  </a:lnTo>
                  <a:lnTo>
                    <a:pt x="285" y="303"/>
                  </a:lnTo>
                  <a:lnTo>
                    <a:pt x="282" y="298"/>
                  </a:lnTo>
                  <a:lnTo>
                    <a:pt x="279" y="297"/>
                  </a:lnTo>
                  <a:lnTo>
                    <a:pt x="278" y="296"/>
                  </a:lnTo>
                  <a:lnTo>
                    <a:pt x="273" y="298"/>
                  </a:lnTo>
                  <a:lnTo>
                    <a:pt x="271" y="302"/>
                  </a:lnTo>
                  <a:lnTo>
                    <a:pt x="268" y="306"/>
                  </a:lnTo>
                  <a:lnTo>
                    <a:pt x="262" y="317"/>
                  </a:lnTo>
                  <a:lnTo>
                    <a:pt x="256" y="327"/>
                  </a:lnTo>
                  <a:lnTo>
                    <a:pt x="255" y="333"/>
                  </a:lnTo>
                  <a:lnTo>
                    <a:pt x="257" y="338"/>
                  </a:lnTo>
                  <a:lnTo>
                    <a:pt x="261" y="341"/>
                  </a:lnTo>
                  <a:lnTo>
                    <a:pt x="266" y="343"/>
                  </a:lnTo>
                  <a:lnTo>
                    <a:pt x="272" y="345"/>
                  </a:lnTo>
                  <a:lnTo>
                    <a:pt x="276" y="346"/>
                  </a:lnTo>
                  <a:lnTo>
                    <a:pt x="277" y="350"/>
                  </a:lnTo>
                  <a:lnTo>
                    <a:pt x="277" y="355"/>
                  </a:lnTo>
                  <a:lnTo>
                    <a:pt x="277" y="361"/>
                  </a:lnTo>
                  <a:lnTo>
                    <a:pt x="278" y="366"/>
                  </a:lnTo>
                  <a:lnTo>
                    <a:pt x="280" y="371"/>
                  </a:lnTo>
                  <a:lnTo>
                    <a:pt x="285" y="373"/>
                  </a:lnTo>
                  <a:lnTo>
                    <a:pt x="290" y="373"/>
                  </a:lnTo>
                  <a:lnTo>
                    <a:pt x="292" y="373"/>
                  </a:lnTo>
                  <a:lnTo>
                    <a:pt x="294" y="373"/>
                  </a:lnTo>
                  <a:lnTo>
                    <a:pt x="295" y="376"/>
                  </a:lnTo>
                  <a:lnTo>
                    <a:pt x="295" y="379"/>
                  </a:lnTo>
                  <a:lnTo>
                    <a:pt x="295" y="382"/>
                  </a:lnTo>
                  <a:lnTo>
                    <a:pt x="296" y="386"/>
                  </a:lnTo>
                  <a:lnTo>
                    <a:pt x="303" y="394"/>
                  </a:lnTo>
                  <a:lnTo>
                    <a:pt x="308" y="404"/>
                  </a:lnTo>
                  <a:lnTo>
                    <a:pt x="309" y="405"/>
                  </a:lnTo>
                  <a:lnTo>
                    <a:pt x="309" y="406"/>
                  </a:lnTo>
                  <a:lnTo>
                    <a:pt x="309" y="406"/>
                  </a:lnTo>
                  <a:lnTo>
                    <a:pt x="308" y="408"/>
                  </a:lnTo>
                  <a:lnTo>
                    <a:pt x="306" y="410"/>
                  </a:lnTo>
                  <a:lnTo>
                    <a:pt x="308" y="413"/>
                  </a:lnTo>
                  <a:lnTo>
                    <a:pt x="309" y="415"/>
                  </a:lnTo>
                  <a:lnTo>
                    <a:pt x="311" y="415"/>
                  </a:lnTo>
                  <a:lnTo>
                    <a:pt x="306" y="419"/>
                  </a:lnTo>
                  <a:lnTo>
                    <a:pt x="303" y="421"/>
                  </a:lnTo>
                  <a:lnTo>
                    <a:pt x="299" y="420"/>
                  </a:lnTo>
                  <a:lnTo>
                    <a:pt x="295" y="417"/>
                  </a:lnTo>
                  <a:lnTo>
                    <a:pt x="294" y="415"/>
                  </a:lnTo>
                  <a:lnTo>
                    <a:pt x="293" y="415"/>
                  </a:lnTo>
                  <a:lnTo>
                    <a:pt x="288" y="417"/>
                  </a:lnTo>
                  <a:lnTo>
                    <a:pt x="284" y="419"/>
                  </a:lnTo>
                  <a:lnTo>
                    <a:pt x="283" y="420"/>
                  </a:lnTo>
                  <a:lnTo>
                    <a:pt x="283" y="421"/>
                  </a:lnTo>
                  <a:lnTo>
                    <a:pt x="283" y="422"/>
                  </a:lnTo>
                  <a:lnTo>
                    <a:pt x="282" y="424"/>
                  </a:lnTo>
                  <a:lnTo>
                    <a:pt x="276" y="424"/>
                  </a:lnTo>
                  <a:lnTo>
                    <a:pt x="269" y="422"/>
                  </a:lnTo>
                  <a:lnTo>
                    <a:pt x="263" y="420"/>
                  </a:lnTo>
                  <a:lnTo>
                    <a:pt x="258" y="420"/>
                  </a:lnTo>
                  <a:lnTo>
                    <a:pt x="251" y="420"/>
                  </a:lnTo>
                  <a:lnTo>
                    <a:pt x="245" y="419"/>
                  </a:lnTo>
                  <a:lnTo>
                    <a:pt x="245" y="421"/>
                  </a:lnTo>
                  <a:lnTo>
                    <a:pt x="245" y="426"/>
                  </a:lnTo>
                  <a:lnTo>
                    <a:pt x="245" y="429"/>
                  </a:lnTo>
                  <a:lnTo>
                    <a:pt x="242" y="430"/>
                  </a:lnTo>
                  <a:lnTo>
                    <a:pt x="234" y="431"/>
                  </a:lnTo>
                  <a:lnTo>
                    <a:pt x="231" y="433"/>
                  </a:lnTo>
                  <a:lnTo>
                    <a:pt x="230" y="437"/>
                  </a:lnTo>
                  <a:lnTo>
                    <a:pt x="230" y="435"/>
                  </a:lnTo>
                  <a:lnTo>
                    <a:pt x="230" y="433"/>
                  </a:lnTo>
                  <a:lnTo>
                    <a:pt x="230" y="435"/>
                  </a:lnTo>
                  <a:lnTo>
                    <a:pt x="229" y="437"/>
                  </a:lnTo>
                  <a:lnTo>
                    <a:pt x="225" y="431"/>
                  </a:lnTo>
                  <a:lnTo>
                    <a:pt x="225" y="433"/>
                  </a:lnTo>
                  <a:lnTo>
                    <a:pt x="225" y="437"/>
                  </a:lnTo>
                  <a:lnTo>
                    <a:pt x="220" y="432"/>
                  </a:lnTo>
                  <a:lnTo>
                    <a:pt x="220" y="435"/>
                  </a:lnTo>
                  <a:lnTo>
                    <a:pt x="219" y="435"/>
                  </a:lnTo>
                  <a:lnTo>
                    <a:pt x="217" y="435"/>
                  </a:lnTo>
                  <a:lnTo>
                    <a:pt x="214" y="436"/>
                  </a:lnTo>
                  <a:lnTo>
                    <a:pt x="214" y="431"/>
                  </a:lnTo>
                  <a:lnTo>
                    <a:pt x="212" y="432"/>
                  </a:lnTo>
                  <a:lnTo>
                    <a:pt x="210" y="431"/>
                  </a:lnTo>
                  <a:lnTo>
                    <a:pt x="209" y="429"/>
                  </a:lnTo>
                  <a:lnTo>
                    <a:pt x="210" y="427"/>
                  </a:lnTo>
                  <a:lnTo>
                    <a:pt x="207" y="426"/>
                  </a:lnTo>
                  <a:lnTo>
                    <a:pt x="204" y="424"/>
                  </a:lnTo>
                  <a:lnTo>
                    <a:pt x="203" y="421"/>
                  </a:lnTo>
                  <a:lnTo>
                    <a:pt x="204" y="417"/>
                  </a:lnTo>
                  <a:lnTo>
                    <a:pt x="202" y="415"/>
                  </a:lnTo>
                  <a:lnTo>
                    <a:pt x="201" y="411"/>
                  </a:lnTo>
                  <a:lnTo>
                    <a:pt x="201" y="406"/>
                  </a:lnTo>
                  <a:lnTo>
                    <a:pt x="198" y="404"/>
                  </a:lnTo>
                  <a:lnTo>
                    <a:pt x="194" y="403"/>
                  </a:lnTo>
                  <a:lnTo>
                    <a:pt x="189" y="403"/>
                  </a:lnTo>
                  <a:lnTo>
                    <a:pt x="186" y="400"/>
                  </a:lnTo>
                  <a:lnTo>
                    <a:pt x="183" y="398"/>
                  </a:lnTo>
                  <a:lnTo>
                    <a:pt x="183" y="393"/>
                  </a:lnTo>
                  <a:lnTo>
                    <a:pt x="182" y="389"/>
                  </a:lnTo>
                  <a:lnTo>
                    <a:pt x="181" y="386"/>
                  </a:lnTo>
                  <a:lnTo>
                    <a:pt x="178" y="382"/>
                  </a:lnTo>
                  <a:lnTo>
                    <a:pt x="176" y="378"/>
                  </a:lnTo>
                  <a:lnTo>
                    <a:pt x="171" y="377"/>
                  </a:lnTo>
                  <a:lnTo>
                    <a:pt x="167" y="377"/>
                  </a:lnTo>
                  <a:lnTo>
                    <a:pt x="165" y="381"/>
                  </a:lnTo>
                  <a:lnTo>
                    <a:pt x="169" y="381"/>
                  </a:lnTo>
                  <a:lnTo>
                    <a:pt x="171" y="379"/>
                  </a:lnTo>
                  <a:lnTo>
                    <a:pt x="173" y="379"/>
                  </a:lnTo>
                  <a:lnTo>
                    <a:pt x="176" y="383"/>
                  </a:lnTo>
                  <a:lnTo>
                    <a:pt x="172" y="381"/>
                  </a:lnTo>
                  <a:lnTo>
                    <a:pt x="167" y="381"/>
                  </a:lnTo>
                  <a:lnTo>
                    <a:pt x="160" y="383"/>
                  </a:lnTo>
                  <a:lnTo>
                    <a:pt x="156" y="384"/>
                  </a:lnTo>
                  <a:lnTo>
                    <a:pt x="153" y="384"/>
                  </a:lnTo>
                  <a:lnTo>
                    <a:pt x="148" y="384"/>
                  </a:lnTo>
                  <a:lnTo>
                    <a:pt x="144" y="384"/>
                  </a:lnTo>
                  <a:lnTo>
                    <a:pt x="143" y="384"/>
                  </a:lnTo>
                  <a:lnTo>
                    <a:pt x="139" y="386"/>
                  </a:lnTo>
                  <a:lnTo>
                    <a:pt x="133" y="386"/>
                  </a:lnTo>
                  <a:lnTo>
                    <a:pt x="129" y="387"/>
                  </a:lnTo>
                  <a:lnTo>
                    <a:pt x="127" y="387"/>
                  </a:lnTo>
                  <a:lnTo>
                    <a:pt x="127" y="389"/>
                  </a:lnTo>
                  <a:lnTo>
                    <a:pt x="127" y="390"/>
                  </a:lnTo>
                  <a:lnTo>
                    <a:pt x="124" y="390"/>
                  </a:lnTo>
                  <a:lnTo>
                    <a:pt x="123" y="388"/>
                  </a:lnTo>
                  <a:lnTo>
                    <a:pt x="121" y="388"/>
                  </a:lnTo>
                  <a:lnTo>
                    <a:pt x="118" y="388"/>
                  </a:lnTo>
                  <a:lnTo>
                    <a:pt x="113" y="386"/>
                  </a:lnTo>
                  <a:lnTo>
                    <a:pt x="110" y="383"/>
                  </a:lnTo>
                  <a:lnTo>
                    <a:pt x="107" y="382"/>
                  </a:lnTo>
                  <a:lnTo>
                    <a:pt x="106" y="382"/>
                  </a:lnTo>
                  <a:lnTo>
                    <a:pt x="107" y="384"/>
                  </a:lnTo>
                  <a:lnTo>
                    <a:pt x="103" y="384"/>
                  </a:lnTo>
                  <a:lnTo>
                    <a:pt x="97" y="384"/>
                  </a:lnTo>
                  <a:lnTo>
                    <a:pt x="92" y="386"/>
                  </a:lnTo>
                  <a:lnTo>
                    <a:pt x="91" y="387"/>
                  </a:lnTo>
                  <a:lnTo>
                    <a:pt x="92" y="389"/>
                  </a:lnTo>
                  <a:lnTo>
                    <a:pt x="90" y="389"/>
                  </a:lnTo>
                  <a:lnTo>
                    <a:pt x="85" y="388"/>
                  </a:lnTo>
                  <a:lnTo>
                    <a:pt x="74" y="388"/>
                  </a:lnTo>
                  <a:lnTo>
                    <a:pt x="69" y="388"/>
                  </a:lnTo>
                  <a:lnTo>
                    <a:pt x="64" y="389"/>
                  </a:lnTo>
                  <a:lnTo>
                    <a:pt x="62" y="390"/>
                  </a:lnTo>
                  <a:lnTo>
                    <a:pt x="62" y="393"/>
                  </a:lnTo>
                  <a:lnTo>
                    <a:pt x="58" y="392"/>
                  </a:lnTo>
                  <a:lnTo>
                    <a:pt x="55" y="389"/>
                  </a:lnTo>
                  <a:lnTo>
                    <a:pt x="54" y="389"/>
                  </a:lnTo>
                  <a:lnTo>
                    <a:pt x="53" y="390"/>
                  </a:lnTo>
                  <a:lnTo>
                    <a:pt x="52" y="393"/>
                  </a:lnTo>
                  <a:lnTo>
                    <a:pt x="47" y="394"/>
                  </a:lnTo>
                  <a:lnTo>
                    <a:pt x="43" y="393"/>
                  </a:lnTo>
                  <a:lnTo>
                    <a:pt x="41" y="390"/>
                  </a:lnTo>
                  <a:lnTo>
                    <a:pt x="39" y="386"/>
                  </a:lnTo>
                  <a:lnTo>
                    <a:pt x="39" y="382"/>
                  </a:lnTo>
                  <a:lnTo>
                    <a:pt x="39" y="377"/>
                  </a:lnTo>
                  <a:lnTo>
                    <a:pt x="41" y="365"/>
                  </a:lnTo>
                  <a:lnTo>
                    <a:pt x="42" y="358"/>
                  </a:lnTo>
                  <a:lnTo>
                    <a:pt x="46" y="354"/>
                  </a:lnTo>
                  <a:lnTo>
                    <a:pt x="49" y="351"/>
                  </a:lnTo>
                  <a:lnTo>
                    <a:pt x="54" y="351"/>
                  </a:lnTo>
                  <a:lnTo>
                    <a:pt x="53" y="347"/>
                  </a:lnTo>
                  <a:lnTo>
                    <a:pt x="55" y="345"/>
                  </a:lnTo>
                  <a:lnTo>
                    <a:pt x="59" y="344"/>
                  </a:lnTo>
                  <a:lnTo>
                    <a:pt x="64" y="344"/>
                  </a:lnTo>
                  <a:lnTo>
                    <a:pt x="74" y="343"/>
                  </a:lnTo>
                  <a:lnTo>
                    <a:pt x="78" y="341"/>
                  </a:lnTo>
                  <a:lnTo>
                    <a:pt x="79" y="339"/>
                  </a:lnTo>
                  <a:lnTo>
                    <a:pt x="79" y="335"/>
                  </a:lnTo>
                  <a:lnTo>
                    <a:pt x="80" y="330"/>
                  </a:lnTo>
                  <a:lnTo>
                    <a:pt x="80" y="327"/>
                  </a:lnTo>
                  <a:lnTo>
                    <a:pt x="79" y="324"/>
                  </a:lnTo>
                  <a:lnTo>
                    <a:pt x="76" y="323"/>
                  </a:lnTo>
                  <a:lnTo>
                    <a:pt x="74" y="323"/>
                  </a:lnTo>
                  <a:lnTo>
                    <a:pt x="69" y="323"/>
                  </a:lnTo>
                  <a:lnTo>
                    <a:pt x="66" y="322"/>
                  </a:lnTo>
                  <a:lnTo>
                    <a:pt x="65" y="318"/>
                  </a:lnTo>
                  <a:lnTo>
                    <a:pt x="64" y="314"/>
                  </a:lnTo>
                  <a:lnTo>
                    <a:pt x="64" y="312"/>
                  </a:lnTo>
                  <a:lnTo>
                    <a:pt x="63" y="301"/>
                  </a:lnTo>
                  <a:lnTo>
                    <a:pt x="60" y="291"/>
                  </a:lnTo>
                  <a:lnTo>
                    <a:pt x="59" y="290"/>
                  </a:lnTo>
                  <a:lnTo>
                    <a:pt x="57" y="288"/>
                  </a:lnTo>
                  <a:lnTo>
                    <a:pt x="52" y="286"/>
                  </a:lnTo>
                  <a:lnTo>
                    <a:pt x="46" y="283"/>
                  </a:lnTo>
                  <a:lnTo>
                    <a:pt x="39" y="280"/>
                  </a:lnTo>
                  <a:lnTo>
                    <a:pt x="33" y="276"/>
                  </a:lnTo>
                  <a:lnTo>
                    <a:pt x="28" y="272"/>
                  </a:lnTo>
                  <a:lnTo>
                    <a:pt x="21" y="260"/>
                  </a:lnTo>
                  <a:lnTo>
                    <a:pt x="11" y="248"/>
                  </a:lnTo>
                  <a:lnTo>
                    <a:pt x="0" y="23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5" name="Freeform 212">
              <a:extLst>
                <a:ext uri="{FF2B5EF4-FFF2-40B4-BE49-F238E27FC236}">
                  <a16:creationId xmlns:a16="http://schemas.microsoft.com/office/drawing/2014/main" id="{E753B3E2-459A-4888-A01F-7984C2017A2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6503" y="3756685"/>
              <a:ext cx="6324" cy="4216"/>
            </a:xfrm>
            <a:custGeom>
              <a:avLst/>
              <a:gdLst>
                <a:gd name="T0" fmla="*/ 4 w 5"/>
                <a:gd name="T1" fmla="*/ 0 h 2"/>
                <a:gd name="T2" fmla="*/ 0 w 5"/>
                <a:gd name="T3" fmla="*/ 1 h 2"/>
                <a:gd name="T4" fmla="*/ 5 w 5"/>
                <a:gd name="T5" fmla="*/ 2 h 2"/>
                <a:gd name="T6" fmla="*/ 4 w 5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4" y="0"/>
                  </a:moveTo>
                  <a:lnTo>
                    <a:pt x="0" y="1"/>
                  </a:lnTo>
                  <a:lnTo>
                    <a:pt x="5" y="2"/>
                  </a:lnTo>
                  <a:lnTo>
                    <a:pt x="4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6" name="Freeform 213">
              <a:extLst>
                <a:ext uri="{FF2B5EF4-FFF2-40B4-BE49-F238E27FC236}">
                  <a16:creationId xmlns:a16="http://schemas.microsoft.com/office/drawing/2014/main" id="{5D659F81-21B2-4A8B-A676-11856AB15A8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7631" y="3731390"/>
              <a:ext cx="42158" cy="113826"/>
            </a:xfrm>
            <a:custGeom>
              <a:avLst/>
              <a:gdLst>
                <a:gd name="T0" fmla="*/ 0 w 41"/>
                <a:gd name="T1" fmla="*/ 57 h 108"/>
                <a:gd name="T2" fmla="*/ 1 w 41"/>
                <a:gd name="T3" fmla="*/ 61 h 108"/>
                <a:gd name="T4" fmla="*/ 1 w 41"/>
                <a:gd name="T5" fmla="*/ 65 h 108"/>
                <a:gd name="T6" fmla="*/ 0 w 41"/>
                <a:gd name="T7" fmla="*/ 69 h 108"/>
                <a:gd name="T8" fmla="*/ 1 w 41"/>
                <a:gd name="T9" fmla="*/ 71 h 108"/>
                <a:gd name="T10" fmla="*/ 6 w 41"/>
                <a:gd name="T11" fmla="*/ 79 h 108"/>
                <a:gd name="T12" fmla="*/ 9 w 41"/>
                <a:gd name="T13" fmla="*/ 86 h 108"/>
                <a:gd name="T14" fmla="*/ 12 w 41"/>
                <a:gd name="T15" fmla="*/ 90 h 108"/>
                <a:gd name="T16" fmla="*/ 15 w 41"/>
                <a:gd name="T17" fmla="*/ 92 h 108"/>
                <a:gd name="T18" fmla="*/ 19 w 41"/>
                <a:gd name="T19" fmla="*/ 95 h 108"/>
                <a:gd name="T20" fmla="*/ 21 w 41"/>
                <a:gd name="T21" fmla="*/ 98 h 108"/>
                <a:gd name="T22" fmla="*/ 22 w 41"/>
                <a:gd name="T23" fmla="*/ 101 h 108"/>
                <a:gd name="T24" fmla="*/ 25 w 41"/>
                <a:gd name="T25" fmla="*/ 104 h 108"/>
                <a:gd name="T26" fmla="*/ 26 w 41"/>
                <a:gd name="T27" fmla="*/ 108 h 108"/>
                <a:gd name="T28" fmla="*/ 28 w 41"/>
                <a:gd name="T29" fmla="*/ 108 h 108"/>
                <a:gd name="T30" fmla="*/ 30 w 41"/>
                <a:gd name="T31" fmla="*/ 106 h 108"/>
                <a:gd name="T32" fmla="*/ 30 w 41"/>
                <a:gd name="T33" fmla="*/ 103 h 108"/>
                <a:gd name="T34" fmla="*/ 30 w 41"/>
                <a:gd name="T35" fmla="*/ 97 h 108"/>
                <a:gd name="T36" fmla="*/ 30 w 41"/>
                <a:gd name="T37" fmla="*/ 90 h 108"/>
                <a:gd name="T38" fmla="*/ 33 w 41"/>
                <a:gd name="T39" fmla="*/ 84 h 108"/>
                <a:gd name="T40" fmla="*/ 37 w 41"/>
                <a:gd name="T41" fmla="*/ 75 h 108"/>
                <a:gd name="T42" fmla="*/ 40 w 41"/>
                <a:gd name="T43" fmla="*/ 65 h 108"/>
                <a:gd name="T44" fmla="*/ 40 w 41"/>
                <a:gd name="T45" fmla="*/ 54 h 108"/>
                <a:gd name="T46" fmla="*/ 40 w 41"/>
                <a:gd name="T47" fmla="*/ 44 h 108"/>
                <a:gd name="T48" fmla="*/ 40 w 41"/>
                <a:gd name="T49" fmla="*/ 41 h 108"/>
                <a:gd name="T50" fmla="*/ 40 w 41"/>
                <a:gd name="T51" fmla="*/ 37 h 108"/>
                <a:gd name="T52" fmla="*/ 41 w 41"/>
                <a:gd name="T53" fmla="*/ 33 h 108"/>
                <a:gd name="T54" fmla="*/ 41 w 41"/>
                <a:gd name="T55" fmla="*/ 31 h 108"/>
                <a:gd name="T56" fmla="*/ 41 w 41"/>
                <a:gd name="T57" fmla="*/ 22 h 108"/>
                <a:gd name="T58" fmla="*/ 40 w 41"/>
                <a:gd name="T59" fmla="*/ 14 h 108"/>
                <a:gd name="T60" fmla="*/ 41 w 41"/>
                <a:gd name="T61" fmla="*/ 10 h 108"/>
                <a:gd name="T62" fmla="*/ 41 w 41"/>
                <a:gd name="T63" fmla="*/ 7 h 108"/>
                <a:gd name="T64" fmla="*/ 40 w 41"/>
                <a:gd name="T65" fmla="*/ 6 h 108"/>
                <a:gd name="T66" fmla="*/ 38 w 41"/>
                <a:gd name="T67" fmla="*/ 4 h 108"/>
                <a:gd name="T68" fmla="*/ 35 w 41"/>
                <a:gd name="T69" fmla="*/ 1 h 108"/>
                <a:gd name="T70" fmla="*/ 31 w 41"/>
                <a:gd name="T71" fmla="*/ 0 h 108"/>
                <a:gd name="T72" fmla="*/ 27 w 41"/>
                <a:gd name="T73" fmla="*/ 0 h 108"/>
                <a:gd name="T74" fmla="*/ 21 w 41"/>
                <a:gd name="T75" fmla="*/ 4 h 108"/>
                <a:gd name="T76" fmla="*/ 17 w 41"/>
                <a:gd name="T77" fmla="*/ 6 h 108"/>
                <a:gd name="T78" fmla="*/ 15 w 41"/>
                <a:gd name="T79" fmla="*/ 9 h 108"/>
                <a:gd name="T80" fmla="*/ 14 w 41"/>
                <a:gd name="T81" fmla="*/ 15 h 108"/>
                <a:gd name="T82" fmla="*/ 12 w 41"/>
                <a:gd name="T83" fmla="*/ 18 h 108"/>
                <a:gd name="T84" fmla="*/ 10 w 41"/>
                <a:gd name="T85" fmla="*/ 21 h 108"/>
                <a:gd name="T86" fmla="*/ 8 w 41"/>
                <a:gd name="T87" fmla="*/ 28 h 108"/>
                <a:gd name="T88" fmla="*/ 5 w 41"/>
                <a:gd name="T89" fmla="*/ 36 h 108"/>
                <a:gd name="T90" fmla="*/ 1 w 41"/>
                <a:gd name="T91" fmla="*/ 45 h 108"/>
                <a:gd name="T92" fmla="*/ 0 w 41"/>
                <a:gd name="T93" fmla="*/ 52 h 108"/>
                <a:gd name="T94" fmla="*/ 0 w 41"/>
                <a:gd name="T95" fmla="*/ 5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1" h="108">
                  <a:moveTo>
                    <a:pt x="0" y="57"/>
                  </a:moveTo>
                  <a:lnTo>
                    <a:pt x="1" y="61"/>
                  </a:lnTo>
                  <a:lnTo>
                    <a:pt x="1" y="65"/>
                  </a:lnTo>
                  <a:lnTo>
                    <a:pt x="0" y="69"/>
                  </a:lnTo>
                  <a:lnTo>
                    <a:pt x="1" y="71"/>
                  </a:lnTo>
                  <a:lnTo>
                    <a:pt x="6" y="79"/>
                  </a:lnTo>
                  <a:lnTo>
                    <a:pt x="9" y="86"/>
                  </a:lnTo>
                  <a:lnTo>
                    <a:pt x="12" y="90"/>
                  </a:lnTo>
                  <a:lnTo>
                    <a:pt x="15" y="92"/>
                  </a:lnTo>
                  <a:lnTo>
                    <a:pt x="19" y="95"/>
                  </a:lnTo>
                  <a:lnTo>
                    <a:pt x="21" y="98"/>
                  </a:lnTo>
                  <a:lnTo>
                    <a:pt x="22" y="101"/>
                  </a:lnTo>
                  <a:lnTo>
                    <a:pt x="25" y="104"/>
                  </a:lnTo>
                  <a:lnTo>
                    <a:pt x="26" y="108"/>
                  </a:lnTo>
                  <a:lnTo>
                    <a:pt x="28" y="108"/>
                  </a:lnTo>
                  <a:lnTo>
                    <a:pt x="30" y="106"/>
                  </a:lnTo>
                  <a:lnTo>
                    <a:pt x="30" y="103"/>
                  </a:lnTo>
                  <a:lnTo>
                    <a:pt x="30" y="97"/>
                  </a:lnTo>
                  <a:lnTo>
                    <a:pt x="30" y="90"/>
                  </a:lnTo>
                  <a:lnTo>
                    <a:pt x="33" y="84"/>
                  </a:lnTo>
                  <a:lnTo>
                    <a:pt x="37" y="75"/>
                  </a:lnTo>
                  <a:lnTo>
                    <a:pt x="40" y="65"/>
                  </a:lnTo>
                  <a:lnTo>
                    <a:pt x="40" y="54"/>
                  </a:lnTo>
                  <a:lnTo>
                    <a:pt x="40" y="44"/>
                  </a:lnTo>
                  <a:lnTo>
                    <a:pt x="40" y="41"/>
                  </a:lnTo>
                  <a:lnTo>
                    <a:pt x="40" y="37"/>
                  </a:lnTo>
                  <a:lnTo>
                    <a:pt x="41" y="33"/>
                  </a:lnTo>
                  <a:lnTo>
                    <a:pt x="41" y="31"/>
                  </a:lnTo>
                  <a:lnTo>
                    <a:pt x="41" y="22"/>
                  </a:lnTo>
                  <a:lnTo>
                    <a:pt x="40" y="14"/>
                  </a:lnTo>
                  <a:lnTo>
                    <a:pt x="41" y="10"/>
                  </a:lnTo>
                  <a:lnTo>
                    <a:pt x="41" y="7"/>
                  </a:lnTo>
                  <a:lnTo>
                    <a:pt x="40" y="6"/>
                  </a:lnTo>
                  <a:lnTo>
                    <a:pt x="38" y="4"/>
                  </a:lnTo>
                  <a:lnTo>
                    <a:pt x="35" y="1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1" y="4"/>
                  </a:lnTo>
                  <a:lnTo>
                    <a:pt x="17" y="6"/>
                  </a:lnTo>
                  <a:lnTo>
                    <a:pt x="15" y="9"/>
                  </a:lnTo>
                  <a:lnTo>
                    <a:pt x="14" y="15"/>
                  </a:lnTo>
                  <a:lnTo>
                    <a:pt x="12" y="18"/>
                  </a:lnTo>
                  <a:lnTo>
                    <a:pt x="10" y="21"/>
                  </a:lnTo>
                  <a:lnTo>
                    <a:pt x="8" y="28"/>
                  </a:lnTo>
                  <a:lnTo>
                    <a:pt x="5" y="36"/>
                  </a:lnTo>
                  <a:lnTo>
                    <a:pt x="1" y="45"/>
                  </a:lnTo>
                  <a:lnTo>
                    <a:pt x="0" y="52"/>
                  </a:lnTo>
                  <a:lnTo>
                    <a:pt x="0" y="57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7" name="Freeform 283">
              <a:extLst>
                <a:ext uri="{FF2B5EF4-FFF2-40B4-BE49-F238E27FC236}">
                  <a16:creationId xmlns:a16="http://schemas.microsoft.com/office/drawing/2014/main" id="{0A618202-8DE7-4470-9704-77FA26193F67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5869" y="3271868"/>
              <a:ext cx="394177" cy="314077"/>
            </a:xfrm>
            <a:custGeom>
              <a:avLst/>
              <a:gdLst>
                <a:gd name="T0" fmla="*/ 6 w 374"/>
                <a:gd name="T1" fmla="*/ 133 h 297"/>
                <a:gd name="T2" fmla="*/ 11 w 374"/>
                <a:gd name="T3" fmla="*/ 110 h 297"/>
                <a:gd name="T4" fmla="*/ 13 w 374"/>
                <a:gd name="T5" fmla="*/ 94 h 297"/>
                <a:gd name="T6" fmla="*/ 29 w 374"/>
                <a:gd name="T7" fmla="*/ 99 h 297"/>
                <a:gd name="T8" fmla="*/ 50 w 374"/>
                <a:gd name="T9" fmla="*/ 104 h 297"/>
                <a:gd name="T10" fmla="*/ 64 w 374"/>
                <a:gd name="T11" fmla="*/ 93 h 297"/>
                <a:gd name="T12" fmla="*/ 79 w 374"/>
                <a:gd name="T13" fmla="*/ 82 h 297"/>
                <a:gd name="T14" fmla="*/ 99 w 374"/>
                <a:gd name="T15" fmla="*/ 47 h 297"/>
                <a:gd name="T16" fmla="*/ 118 w 374"/>
                <a:gd name="T17" fmla="*/ 39 h 297"/>
                <a:gd name="T18" fmla="*/ 128 w 374"/>
                <a:gd name="T19" fmla="*/ 32 h 297"/>
                <a:gd name="T20" fmla="*/ 159 w 374"/>
                <a:gd name="T21" fmla="*/ 37 h 297"/>
                <a:gd name="T22" fmla="*/ 179 w 374"/>
                <a:gd name="T23" fmla="*/ 42 h 297"/>
                <a:gd name="T24" fmla="*/ 191 w 374"/>
                <a:gd name="T25" fmla="*/ 48 h 297"/>
                <a:gd name="T26" fmla="*/ 204 w 374"/>
                <a:gd name="T27" fmla="*/ 39 h 297"/>
                <a:gd name="T28" fmla="*/ 213 w 374"/>
                <a:gd name="T29" fmla="*/ 38 h 297"/>
                <a:gd name="T30" fmla="*/ 223 w 374"/>
                <a:gd name="T31" fmla="*/ 34 h 297"/>
                <a:gd name="T32" fmla="*/ 243 w 374"/>
                <a:gd name="T33" fmla="*/ 29 h 297"/>
                <a:gd name="T34" fmla="*/ 243 w 374"/>
                <a:gd name="T35" fmla="*/ 13 h 297"/>
                <a:gd name="T36" fmla="*/ 268 w 374"/>
                <a:gd name="T37" fmla="*/ 7 h 297"/>
                <a:gd name="T38" fmla="*/ 275 w 374"/>
                <a:gd name="T39" fmla="*/ 17 h 297"/>
                <a:gd name="T40" fmla="*/ 279 w 374"/>
                <a:gd name="T41" fmla="*/ 35 h 297"/>
                <a:gd name="T42" fmla="*/ 292 w 374"/>
                <a:gd name="T43" fmla="*/ 58 h 297"/>
                <a:gd name="T44" fmla="*/ 315 w 374"/>
                <a:gd name="T45" fmla="*/ 45 h 297"/>
                <a:gd name="T46" fmla="*/ 341 w 374"/>
                <a:gd name="T47" fmla="*/ 35 h 297"/>
                <a:gd name="T48" fmla="*/ 357 w 374"/>
                <a:gd name="T49" fmla="*/ 34 h 297"/>
                <a:gd name="T50" fmla="*/ 369 w 374"/>
                <a:gd name="T51" fmla="*/ 40 h 297"/>
                <a:gd name="T52" fmla="*/ 367 w 374"/>
                <a:gd name="T53" fmla="*/ 47 h 297"/>
                <a:gd name="T54" fmla="*/ 343 w 374"/>
                <a:gd name="T55" fmla="*/ 50 h 297"/>
                <a:gd name="T56" fmla="*/ 302 w 374"/>
                <a:gd name="T57" fmla="*/ 59 h 297"/>
                <a:gd name="T58" fmla="*/ 291 w 374"/>
                <a:gd name="T59" fmla="*/ 66 h 297"/>
                <a:gd name="T60" fmla="*/ 288 w 374"/>
                <a:gd name="T61" fmla="*/ 83 h 297"/>
                <a:gd name="T62" fmla="*/ 300 w 374"/>
                <a:gd name="T63" fmla="*/ 108 h 297"/>
                <a:gd name="T64" fmla="*/ 288 w 374"/>
                <a:gd name="T65" fmla="*/ 125 h 297"/>
                <a:gd name="T66" fmla="*/ 293 w 374"/>
                <a:gd name="T67" fmla="*/ 137 h 297"/>
                <a:gd name="T68" fmla="*/ 271 w 374"/>
                <a:gd name="T69" fmla="*/ 147 h 297"/>
                <a:gd name="T70" fmla="*/ 260 w 374"/>
                <a:gd name="T71" fmla="*/ 150 h 297"/>
                <a:gd name="T72" fmla="*/ 275 w 374"/>
                <a:gd name="T73" fmla="*/ 167 h 297"/>
                <a:gd name="T74" fmla="*/ 260 w 374"/>
                <a:gd name="T75" fmla="*/ 176 h 297"/>
                <a:gd name="T76" fmla="*/ 252 w 374"/>
                <a:gd name="T77" fmla="*/ 195 h 297"/>
                <a:gd name="T78" fmla="*/ 252 w 374"/>
                <a:gd name="T79" fmla="*/ 221 h 297"/>
                <a:gd name="T80" fmla="*/ 234 w 374"/>
                <a:gd name="T81" fmla="*/ 219 h 297"/>
                <a:gd name="T82" fmla="*/ 223 w 374"/>
                <a:gd name="T83" fmla="*/ 221 h 297"/>
                <a:gd name="T84" fmla="*/ 213 w 374"/>
                <a:gd name="T85" fmla="*/ 232 h 297"/>
                <a:gd name="T86" fmla="*/ 196 w 374"/>
                <a:gd name="T87" fmla="*/ 236 h 297"/>
                <a:gd name="T88" fmla="*/ 182 w 374"/>
                <a:gd name="T89" fmla="*/ 247 h 297"/>
                <a:gd name="T90" fmla="*/ 181 w 374"/>
                <a:gd name="T91" fmla="*/ 271 h 297"/>
                <a:gd name="T92" fmla="*/ 179 w 374"/>
                <a:gd name="T93" fmla="*/ 285 h 297"/>
                <a:gd name="T94" fmla="*/ 147 w 374"/>
                <a:gd name="T95" fmla="*/ 294 h 297"/>
                <a:gd name="T96" fmla="*/ 118 w 374"/>
                <a:gd name="T97" fmla="*/ 297 h 297"/>
                <a:gd name="T98" fmla="*/ 57 w 374"/>
                <a:gd name="T99" fmla="*/ 292 h 297"/>
                <a:gd name="T100" fmla="*/ 48 w 374"/>
                <a:gd name="T101" fmla="*/ 257 h 297"/>
                <a:gd name="T102" fmla="*/ 36 w 374"/>
                <a:gd name="T103" fmla="*/ 231 h 297"/>
                <a:gd name="T104" fmla="*/ 16 w 374"/>
                <a:gd name="T105" fmla="*/ 200 h 297"/>
                <a:gd name="T106" fmla="*/ 13 w 374"/>
                <a:gd name="T107" fmla="*/ 165 h 297"/>
                <a:gd name="T108" fmla="*/ 0 w 374"/>
                <a:gd name="T109" fmla="*/ 149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74" h="297">
                  <a:moveTo>
                    <a:pt x="0" y="145"/>
                  </a:moveTo>
                  <a:lnTo>
                    <a:pt x="0" y="142"/>
                  </a:lnTo>
                  <a:lnTo>
                    <a:pt x="0" y="140"/>
                  </a:lnTo>
                  <a:lnTo>
                    <a:pt x="4" y="136"/>
                  </a:lnTo>
                  <a:lnTo>
                    <a:pt x="6" y="135"/>
                  </a:lnTo>
                  <a:lnTo>
                    <a:pt x="6" y="133"/>
                  </a:lnTo>
                  <a:lnTo>
                    <a:pt x="4" y="129"/>
                  </a:lnTo>
                  <a:lnTo>
                    <a:pt x="8" y="126"/>
                  </a:lnTo>
                  <a:lnTo>
                    <a:pt x="10" y="123"/>
                  </a:lnTo>
                  <a:lnTo>
                    <a:pt x="11" y="118"/>
                  </a:lnTo>
                  <a:lnTo>
                    <a:pt x="11" y="113"/>
                  </a:lnTo>
                  <a:lnTo>
                    <a:pt x="11" y="110"/>
                  </a:lnTo>
                  <a:lnTo>
                    <a:pt x="10" y="108"/>
                  </a:lnTo>
                  <a:lnTo>
                    <a:pt x="10" y="107"/>
                  </a:lnTo>
                  <a:lnTo>
                    <a:pt x="10" y="104"/>
                  </a:lnTo>
                  <a:lnTo>
                    <a:pt x="11" y="99"/>
                  </a:lnTo>
                  <a:lnTo>
                    <a:pt x="11" y="96"/>
                  </a:lnTo>
                  <a:lnTo>
                    <a:pt x="13" y="94"/>
                  </a:lnTo>
                  <a:lnTo>
                    <a:pt x="14" y="93"/>
                  </a:lnTo>
                  <a:lnTo>
                    <a:pt x="18" y="94"/>
                  </a:lnTo>
                  <a:lnTo>
                    <a:pt x="21" y="97"/>
                  </a:lnTo>
                  <a:lnTo>
                    <a:pt x="24" y="98"/>
                  </a:lnTo>
                  <a:lnTo>
                    <a:pt x="26" y="99"/>
                  </a:lnTo>
                  <a:lnTo>
                    <a:pt x="29" y="99"/>
                  </a:lnTo>
                  <a:lnTo>
                    <a:pt x="31" y="99"/>
                  </a:lnTo>
                  <a:lnTo>
                    <a:pt x="35" y="99"/>
                  </a:lnTo>
                  <a:lnTo>
                    <a:pt x="40" y="103"/>
                  </a:lnTo>
                  <a:lnTo>
                    <a:pt x="43" y="109"/>
                  </a:lnTo>
                  <a:lnTo>
                    <a:pt x="46" y="106"/>
                  </a:lnTo>
                  <a:lnTo>
                    <a:pt x="50" y="104"/>
                  </a:lnTo>
                  <a:lnTo>
                    <a:pt x="53" y="104"/>
                  </a:lnTo>
                  <a:lnTo>
                    <a:pt x="57" y="102"/>
                  </a:lnTo>
                  <a:lnTo>
                    <a:pt x="61" y="99"/>
                  </a:lnTo>
                  <a:lnTo>
                    <a:pt x="63" y="96"/>
                  </a:lnTo>
                  <a:lnTo>
                    <a:pt x="64" y="94"/>
                  </a:lnTo>
                  <a:lnTo>
                    <a:pt x="64" y="93"/>
                  </a:lnTo>
                  <a:lnTo>
                    <a:pt x="64" y="92"/>
                  </a:lnTo>
                  <a:lnTo>
                    <a:pt x="66" y="91"/>
                  </a:lnTo>
                  <a:lnTo>
                    <a:pt x="63" y="88"/>
                  </a:lnTo>
                  <a:lnTo>
                    <a:pt x="62" y="85"/>
                  </a:lnTo>
                  <a:lnTo>
                    <a:pt x="70" y="85"/>
                  </a:lnTo>
                  <a:lnTo>
                    <a:pt x="79" y="82"/>
                  </a:lnTo>
                  <a:lnTo>
                    <a:pt x="88" y="77"/>
                  </a:lnTo>
                  <a:lnTo>
                    <a:pt x="95" y="72"/>
                  </a:lnTo>
                  <a:lnTo>
                    <a:pt x="97" y="69"/>
                  </a:lnTo>
                  <a:lnTo>
                    <a:pt x="99" y="65"/>
                  </a:lnTo>
                  <a:lnTo>
                    <a:pt x="99" y="56"/>
                  </a:lnTo>
                  <a:lnTo>
                    <a:pt x="99" y="47"/>
                  </a:lnTo>
                  <a:lnTo>
                    <a:pt x="100" y="43"/>
                  </a:lnTo>
                  <a:lnTo>
                    <a:pt x="104" y="40"/>
                  </a:lnTo>
                  <a:lnTo>
                    <a:pt x="107" y="40"/>
                  </a:lnTo>
                  <a:lnTo>
                    <a:pt x="111" y="40"/>
                  </a:lnTo>
                  <a:lnTo>
                    <a:pt x="115" y="40"/>
                  </a:lnTo>
                  <a:lnTo>
                    <a:pt x="118" y="39"/>
                  </a:lnTo>
                  <a:lnTo>
                    <a:pt x="120" y="37"/>
                  </a:lnTo>
                  <a:lnTo>
                    <a:pt x="120" y="34"/>
                  </a:lnTo>
                  <a:lnTo>
                    <a:pt x="120" y="32"/>
                  </a:lnTo>
                  <a:lnTo>
                    <a:pt x="122" y="29"/>
                  </a:lnTo>
                  <a:lnTo>
                    <a:pt x="126" y="31"/>
                  </a:lnTo>
                  <a:lnTo>
                    <a:pt x="128" y="32"/>
                  </a:lnTo>
                  <a:lnTo>
                    <a:pt x="133" y="35"/>
                  </a:lnTo>
                  <a:lnTo>
                    <a:pt x="137" y="37"/>
                  </a:lnTo>
                  <a:lnTo>
                    <a:pt x="141" y="37"/>
                  </a:lnTo>
                  <a:lnTo>
                    <a:pt x="148" y="35"/>
                  </a:lnTo>
                  <a:lnTo>
                    <a:pt x="155" y="35"/>
                  </a:lnTo>
                  <a:lnTo>
                    <a:pt x="159" y="37"/>
                  </a:lnTo>
                  <a:lnTo>
                    <a:pt x="163" y="39"/>
                  </a:lnTo>
                  <a:lnTo>
                    <a:pt x="166" y="40"/>
                  </a:lnTo>
                  <a:lnTo>
                    <a:pt x="170" y="40"/>
                  </a:lnTo>
                  <a:lnTo>
                    <a:pt x="174" y="40"/>
                  </a:lnTo>
                  <a:lnTo>
                    <a:pt x="177" y="40"/>
                  </a:lnTo>
                  <a:lnTo>
                    <a:pt x="179" y="42"/>
                  </a:lnTo>
                  <a:lnTo>
                    <a:pt x="181" y="43"/>
                  </a:lnTo>
                  <a:lnTo>
                    <a:pt x="184" y="45"/>
                  </a:lnTo>
                  <a:lnTo>
                    <a:pt x="185" y="48"/>
                  </a:lnTo>
                  <a:lnTo>
                    <a:pt x="187" y="49"/>
                  </a:lnTo>
                  <a:lnTo>
                    <a:pt x="190" y="49"/>
                  </a:lnTo>
                  <a:lnTo>
                    <a:pt x="191" y="48"/>
                  </a:lnTo>
                  <a:lnTo>
                    <a:pt x="193" y="48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1" y="42"/>
                  </a:lnTo>
                  <a:lnTo>
                    <a:pt x="203" y="40"/>
                  </a:lnTo>
                  <a:lnTo>
                    <a:pt x="204" y="39"/>
                  </a:lnTo>
                  <a:lnTo>
                    <a:pt x="206" y="39"/>
                  </a:lnTo>
                  <a:lnTo>
                    <a:pt x="207" y="39"/>
                  </a:lnTo>
                  <a:lnTo>
                    <a:pt x="208" y="39"/>
                  </a:lnTo>
                  <a:lnTo>
                    <a:pt x="209" y="38"/>
                  </a:lnTo>
                  <a:lnTo>
                    <a:pt x="211" y="37"/>
                  </a:lnTo>
                  <a:lnTo>
                    <a:pt x="213" y="38"/>
                  </a:lnTo>
                  <a:lnTo>
                    <a:pt x="216" y="40"/>
                  </a:lnTo>
                  <a:lnTo>
                    <a:pt x="218" y="43"/>
                  </a:lnTo>
                  <a:lnTo>
                    <a:pt x="220" y="44"/>
                  </a:lnTo>
                  <a:lnTo>
                    <a:pt x="223" y="42"/>
                  </a:lnTo>
                  <a:lnTo>
                    <a:pt x="223" y="38"/>
                  </a:lnTo>
                  <a:lnTo>
                    <a:pt x="223" y="34"/>
                  </a:lnTo>
                  <a:lnTo>
                    <a:pt x="223" y="31"/>
                  </a:lnTo>
                  <a:lnTo>
                    <a:pt x="225" y="29"/>
                  </a:lnTo>
                  <a:lnTo>
                    <a:pt x="228" y="28"/>
                  </a:lnTo>
                  <a:lnTo>
                    <a:pt x="234" y="28"/>
                  </a:lnTo>
                  <a:lnTo>
                    <a:pt x="239" y="29"/>
                  </a:lnTo>
                  <a:lnTo>
                    <a:pt x="243" y="29"/>
                  </a:lnTo>
                  <a:lnTo>
                    <a:pt x="244" y="26"/>
                  </a:lnTo>
                  <a:lnTo>
                    <a:pt x="244" y="24"/>
                  </a:lnTo>
                  <a:lnTo>
                    <a:pt x="241" y="22"/>
                  </a:lnTo>
                  <a:lnTo>
                    <a:pt x="240" y="19"/>
                  </a:lnTo>
                  <a:lnTo>
                    <a:pt x="240" y="17"/>
                  </a:lnTo>
                  <a:lnTo>
                    <a:pt x="243" y="13"/>
                  </a:lnTo>
                  <a:lnTo>
                    <a:pt x="244" y="11"/>
                  </a:lnTo>
                  <a:lnTo>
                    <a:pt x="246" y="8"/>
                  </a:lnTo>
                  <a:lnTo>
                    <a:pt x="250" y="2"/>
                  </a:lnTo>
                  <a:lnTo>
                    <a:pt x="256" y="0"/>
                  </a:lnTo>
                  <a:lnTo>
                    <a:pt x="263" y="2"/>
                  </a:lnTo>
                  <a:lnTo>
                    <a:pt x="268" y="7"/>
                  </a:lnTo>
                  <a:lnTo>
                    <a:pt x="268" y="10"/>
                  </a:lnTo>
                  <a:lnTo>
                    <a:pt x="268" y="13"/>
                  </a:lnTo>
                  <a:lnTo>
                    <a:pt x="268" y="16"/>
                  </a:lnTo>
                  <a:lnTo>
                    <a:pt x="270" y="17"/>
                  </a:lnTo>
                  <a:lnTo>
                    <a:pt x="272" y="17"/>
                  </a:lnTo>
                  <a:lnTo>
                    <a:pt x="275" y="17"/>
                  </a:lnTo>
                  <a:lnTo>
                    <a:pt x="277" y="17"/>
                  </a:lnTo>
                  <a:lnTo>
                    <a:pt x="278" y="18"/>
                  </a:lnTo>
                  <a:lnTo>
                    <a:pt x="279" y="22"/>
                  </a:lnTo>
                  <a:lnTo>
                    <a:pt x="279" y="27"/>
                  </a:lnTo>
                  <a:lnTo>
                    <a:pt x="279" y="32"/>
                  </a:lnTo>
                  <a:lnTo>
                    <a:pt x="279" y="35"/>
                  </a:lnTo>
                  <a:lnTo>
                    <a:pt x="279" y="43"/>
                  </a:lnTo>
                  <a:lnTo>
                    <a:pt x="282" y="49"/>
                  </a:lnTo>
                  <a:lnTo>
                    <a:pt x="284" y="54"/>
                  </a:lnTo>
                  <a:lnTo>
                    <a:pt x="287" y="56"/>
                  </a:lnTo>
                  <a:lnTo>
                    <a:pt x="289" y="58"/>
                  </a:lnTo>
                  <a:lnTo>
                    <a:pt x="292" y="58"/>
                  </a:lnTo>
                  <a:lnTo>
                    <a:pt x="298" y="54"/>
                  </a:lnTo>
                  <a:lnTo>
                    <a:pt x="303" y="49"/>
                  </a:lnTo>
                  <a:lnTo>
                    <a:pt x="307" y="48"/>
                  </a:lnTo>
                  <a:lnTo>
                    <a:pt x="310" y="48"/>
                  </a:lnTo>
                  <a:lnTo>
                    <a:pt x="313" y="48"/>
                  </a:lnTo>
                  <a:lnTo>
                    <a:pt x="315" y="45"/>
                  </a:lnTo>
                  <a:lnTo>
                    <a:pt x="319" y="38"/>
                  </a:lnTo>
                  <a:lnTo>
                    <a:pt x="326" y="33"/>
                  </a:lnTo>
                  <a:lnTo>
                    <a:pt x="331" y="33"/>
                  </a:lnTo>
                  <a:lnTo>
                    <a:pt x="337" y="33"/>
                  </a:lnTo>
                  <a:lnTo>
                    <a:pt x="340" y="34"/>
                  </a:lnTo>
                  <a:lnTo>
                    <a:pt x="341" y="35"/>
                  </a:lnTo>
                  <a:lnTo>
                    <a:pt x="341" y="37"/>
                  </a:lnTo>
                  <a:lnTo>
                    <a:pt x="340" y="39"/>
                  </a:lnTo>
                  <a:lnTo>
                    <a:pt x="343" y="39"/>
                  </a:lnTo>
                  <a:lnTo>
                    <a:pt x="348" y="38"/>
                  </a:lnTo>
                  <a:lnTo>
                    <a:pt x="353" y="37"/>
                  </a:lnTo>
                  <a:lnTo>
                    <a:pt x="357" y="34"/>
                  </a:lnTo>
                  <a:lnTo>
                    <a:pt x="361" y="34"/>
                  </a:lnTo>
                  <a:lnTo>
                    <a:pt x="366" y="34"/>
                  </a:lnTo>
                  <a:lnTo>
                    <a:pt x="370" y="37"/>
                  </a:lnTo>
                  <a:lnTo>
                    <a:pt x="374" y="39"/>
                  </a:lnTo>
                  <a:lnTo>
                    <a:pt x="372" y="40"/>
                  </a:lnTo>
                  <a:lnTo>
                    <a:pt x="369" y="40"/>
                  </a:lnTo>
                  <a:lnTo>
                    <a:pt x="367" y="39"/>
                  </a:lnTo>
                  <a:lnTo>
                    <a:pt x="364" y="40"/>
                  </a:lnTo>
                  <a:lnTo>
                    <a:pt x="362" y="42"/>
                  </a:lnTo>
                  <a:lnTo>
                    <a:pt x="362" y="43"/>
                  </a:lnTo>
                  <a:lnTo>
                    <a:pt x="364" y="45"/>
                  </a:lnTo>
                  <a:lnTo>
                    <a:pt x="367" y="47"/>
                  </a:lnTo>
                  <a:lnTo>
                    <a:pt x="361" y="49"/>
                  </a:lnTo>
                  <a:lnTo>
                    <a:pt x="356" y="51"/>
                  </a:lnTo>
                  <a:lnTo>
                    <a:pt x="353" y="53"/>
                  </a:lnTo>
                  <a:lnTo>
                    <a:pt x="350" y="53"/>
                  </a:lnTo>
                  <a:lnTo>
                    <a:pt x="347" y="51"/>
                  </a:lnTo>
                  <a:lnTo>
                    <a:pt x="343" y="50"/>
                  </a:lnTo>
                  <a:lnTo>
                    <a:pt x="337" y="51"/>
                  </a:lnTo>
                  <a:lnTo>
                    <a:pt x="330" y="53"/>
                  </a:lnTo>
                  <a:lnTo>
                    <a:pt x="316" y="53"/>
                  </a:lnTo>
                  <a:lnTo>
                    <a:pt x="310" y="55"/>
                  </a:lnTo>
                  <a:lnTo>
                    <a:pt x="304" y="58"/>
                  </a:lnTo>
                  <a:lnTo>
                    <a:pt x="302" y="59"/>
                  </a:lnTo>
                  <a:lnTo>
                    <a:pt x="299" y="61"/>
                  </a:lnTo>
                  <a:lnTo>
                    <a:pt x="298" y="64"/>
                  </a:lnTo>
                  <a:lnTo>
                    <a:pt x="295" y="66"/>
                  </a:lnTo>
                  <a:lnTo>
                    <a:pt x="294" y="66"/>
                  </a:lnTo>
                  <a:lnTo>
                    <a:pt x="292" y="66"/>
                  </a:lnTo>
                  <a:lnTo>
                    <a:pt x="291" y="66"/>
                  </a:lnTo>
                  <a:lnTo>
                    <a:pt x="288" y="69"/>
                  </a:lnTo>
                  <a:lnTo>
                    <a:pt x="284" y="74"/>
                  </a:lnTo>
                  <a:lnTo>
                    <a:pt x="282" y="77"/>
                  </a:lnTo>
                  <a:lnTo>
                    <a:pt x="282" y="80"/>
                  </a:lnTo>
                  <a:lnTo>
                    <a:pt x="283" y="81"/>
                  </a:lnTo>
                  <a:lnTo>
                    <a:pt x="288" y="83"/>
                  </a:lnTo>
                  <a:lnTo>
                    <a:pt x="293" y="91"/>
                  </a:lnTo>
                  <a:lnTo>
                    <a:pt x="298" y="101"/>
                  </a:lnTo>
                  <a:lnTo>
                    <a:pt x="297" y="103"/>
                  </a:lnTo>
                  <a:lnTo>
                    <a:pt x="298" y="106"/>
                  </a:lnTo>
                  <a:lnTo>
                    <a:pt x="299" y="107"/>
                  </a:lnTo>
                  <a:lnTo>
                    <a:pt x="300" y="108"/>
                  </a:lnTo>
                  <a:lnTo>
                    <a:pt x="298" y="110"/>
                  </a:lnTo>
                  <a:lnTo>
                    <a:pt x="297" y="114"/>
                  </a:lnTo>
                  <a:lnTo>
                    <a:pt x="295" y="118"/>
                  </a:lnTo>
                  <a:lnTo>
                    <a:pt x="293" y="120"/>
                  </a:lnTo>
                  <a:lnTo>
                    <a:pt x="289" y="123"/>
                  </a:lnTo>
                  <a:lnTo>
                    <a:pt x="288" y="125"/>
                  </a:lnTo>
                  <a:lnTo>
                    <a:pt x="288" y="128"/>
                  </a:lnTo>
                  <a:lnTo>
                    <a:pt x="287" y="128"/>
                  </a:lnTo>
                  <a:lnTo>
                    <a:pt x="286" y="129"/>
                  </a:lnTo>
                  <a:lnTo>
                    <a:pt x="288" y="133"/>
                  </a:lnTo>
                  <a:lnTo>
                    <a:pt x="292" y="135"/>
                  </a:lnTo>
                  <a:lnTo>
                    <a:pt x="293" y="137"/>
                  </a:lnTo>
                  <a:lnTo>
                    <a:pt x="293" y="139"/>
                  </a:lnTo>
                  <a:lnTo>
                    <a:pt x="292" y="144"/>
                  </a:lnTo>
                  <a:lnTo>
                    <a:pt x="287" y="146"/>
                  </a:lnTo>
                  <a:lnTo>
                    <a:pt x="283" y="147"/>
                  </a:lnTo>
                  <a:lnTo>
                    <a:pt x="277" y="149"/>
                  </a:lnTo>
                  <a:lnTo>
                    <a:pt x="271" y="147"/>
                  </a:lnTo>
                  <a:lnTo>
                    <a:pt x="268" y="146"/>
                  </a:lnTo>
                  <a:lnTo>
                    <a:pt x="266" y="146"/>
                  </a:lnTo>
                  <a:lnTo>
                    <a:pt x="262" y="146"/>
                  </a:lnTo>
                  <a:lnTo>
                    <a:pt x="261" y="146"/>
                  </a:lnTo>
                  <a:lnTo>
                    <a:pt x="260" y="149"/>
                  </a:lnTo>
                  <a:lnTo>
                    <a:pt x="260" y="150"/>
                  </a:lnTo>
                  <a:lnTo>
                    <a:pt x="263" y="153"/>
                  </a:lnTo>
                  <a:lnTo>
                    <a:pt x="267" y="156"/>
                  </a:lnTo>
                  <a:lnTo>
                    <a:pt x="271" y="160"/>
                  </a:lnTo>
                  <a:lnTo>
                    <a:pt x="271" y="162"/>
                  </a:lnTo>
                  <a:lnTo>
                    <a:pt x="273" y="165"/>
                  </a:lnTo>
                  <a:lnTo>
                    <a:pt x="275" y="167"/>
                  </a:lnTo>
                  <a:lnTo>
                    <a:pt x="275" y="169"/>
                  </a:lnTo>
                  <a:lnTo>
                    <a:pt x="272" y="172"/>
                  </a:lnTo>
                  <a:lnTo>
                    <a:pt x="270" y="173"/>
                  </a:lnTo>
                  <a:lnTo>
                    <a:pt x="266" y="176"/>
                  </a:lnTo>
                  <a:lnTo>
                    <a:pt x="263" y="176"/>
                  </a:lnTo>
                  <a:lnTo>
                    <a:pt x="260" y="176"/>
                  </a:lnTo>
                  <a:lnTo>
                    <a:pt x="257" y="177"/>
                  </a:lnTo>
                  <a:lnTo>
                    <a:pt x="255" y="178"/>
                  </a:lnTo>
                  <a:lnTo>
                    <a:pt x="255" y="181"/>
                  </a:lnTo>
                  <a:lnTo>
                    <a:pt x="256" y="184"/>
                  </a:lnTo>
                  <a:lnTo>
                    <a:pt x="255" y="190"/>
                  </a:lnTo>
                  <a:lnTo>
                    <a:pt x="252" y="195"/>
                  </a:lnTo>
                  <a:lnTo>
                    <a:pt x="252" y="198"/>
                  </a:lnTo>
                  <a:lnTo>
                    <a:pt x="252" y="200"/>
                  </a:lnTo>
                  <a:lnTo>
                    <a:pt x="254" y="206"/>
                  </a:lnTo>
                  <a:lnTo>
                    <a:pt x="255" y="211"/>
                  </a:lnTo>
                  <a:lnTo>
                    <a:pt x="254" y="216"/>
                  </a:lnTo>
                  <a:lnTo>
                    <a:pt x="252" y="221"/>
                  </a:lnTo>
                  <a:lnTo>
                    <a:pt x="248" y="225"/>
                  </a:lnTo>
                  <a:lnTo>
                    <a:pt x="245" y="225"/>
                  </a:lnTo>
                  <a:lnTo>
                    <a:pt x="244" y="225"/>
                  </a:lnTo>
                  <a:lnTo>
                    <a:pt x="240" y="221"/>
                  </a:lnTo>
                  <a:lnTo>
                    <a:pt x="238" y="220"/>
                  </a:lnTo>
                  <a:lnTo>
                    <a:pt x="234" y="219"/>
                  </a:lnTo>
                  <a:lnTo>
                    <a:pt x="234" y="219"/>
                  </a:lnTo>
                  <a:lnTo>
                    <a:pt x="234" y="220"/>
                  </a:lnTo>
                  <a:lnTo>
                    <a:pt x="234" y="221"/>
                  </a:lnTo>
                  <a:lnTo>
                    <a:pt x="229" y="220"/>
                  </a:lnTo>
                  <a:lnTo>
                    <a:pt x="225" y="220"/>
                  </a:lnTo>
                  <a:lnTo>
                    <a:pt x="223" y="221"/>
                  </a:lnTo>
                  <a:lnTo>
                    <a:pt x="222" y="224"/>
                  </a:lnTo>
                  <a:lnTo>
                    <a:pt x="219" y="226"/>
                  </a:lnTo>
                  <a:lnTo>
                    <a:pt x="216" y="227"/>
                  </a:lnTo>
                  <a:lnTo>
                    <a:pt x="209" y="228"/>
                  </a:lnTo>
                  <a:lnTo>
                    <a:pt x="211" y="231"/>
                  </a:lnTo>
                  <a:lnTo>
                    <a:pt x="213" y="232"/>
                  </a:lnTo>
                  <a:lnTo>
                    <a:pt x="217" y="235"/>
                  </a:lnTo>
                  <a:lnTo>
                    <a:pt x="211" y="237"/>
                  </a:lnTo>
                  <a:lnTo>
                    <a:pt x="203" y="238"/>
                  </a:lnTo>
                  <a:lnTo>
                    <a:pt x="200" y="238"/>
                  </a:lnTo>
                  <a:lnTo>
                    <a:pt x="198" y="237"/>
                  </a:lnTo>
                  <a:lnTo>
                    <a:pt x="196" y="236"/>
                  </a:lnTo>
                  <a:lnTo>
                    <a:pt x="195" y="236"/>
                  </a:lnTo>
                  <a:lnTo>
                    <a:pt x="191" y="237"/>
                  </a:lnTo>
                  <a:lnTo>
                    <a:pt x="188" y="240"/>
                  </a:lnTo>
                  <a:lnTo>
                    <a:pt x="187" y="243"/>
                  </a:lnTo>
                  <a:lnTo>
                    <a:pt x="185" y="246"/>
                  </a:lnTo>
                  <a:lnTo>
                    <a:pt x="182" y="247"/>
                  </a:lnTo>
                  <a:lnTo>
                    <a:pt x="181" y="248"/>
                  </a:lnTo>
                  <a:lnTo>
                    <a:pt x="180" y="251"/>
                  </a:lnTo>
                  <a:lnTo>
                    <a:pt x="180" y="254"/>
                  </a:lnTo>
                  <a:lnTo>
                    <a:pt x="180" y="262"/>
                  </a:lnTo>
                  <a:lnTo>
                    <a:pt x="181" y="269"/>
                  </a:lnTo>
                  <a:lnTo>
                    <a:pt x="181" y="271"/>
                  </a:lnTo>
                  <a:lnTo>
                    <a:pt x="181" y="275"/>
                  </a:lnTo>
                  <a:lnTo>
                    <a:pt x="182" y="278"/>
                  </a:lnTo>
                  <a:lnTo>
                    <a:pt x="184" y="280"/>
                  </a:lnTo>
                  <a:lnTo>
                    <a:pt x="184" y="281"/>
                  </a:lnTo>
                  <a:lnTo>
                    <a:pt x="181" y="284"/>
                  </a:lnTo>
                  <a:lnTo>
                    <a:pt x="179" y="285"/>
                  </a:lnTo>
                  <a:lnTo>
                    <a:pt x="174" y="287"/>
                  </a:lnTo>
                  <a:lnTo>
                    <a:pt x="166" y="289"/>
                  </a:lnTo>
                  <a:lnTo>
                    <a:pt x="163" y="290"/>
                  </a:lnTo>
                  <a:lnTo>
                    <a:pt x="160" y="290"/>
                  </a:lnTo>
                  <a:lnTo>
                    <a:pt x="154" y="292"/>
                  </a:lnTo>
                  <a:lnTo>
                    <a:pt x="147" y="294"/>
                  </a:lnTo>
                  <a:lnTo>
                    <a:pt x="139" y="292"/>
                  </a:lnTo>
                  <a:lnTo>
                    <a:pt x="134" y="292"/>
                  </a:lnTo>
                  <a:lnTo>
                    <a:pt x="131" y="294"/>
                  </a:lnTo>
                  <a:lnTo>
                    <a:pt x="125" y="297"/>
                  </a:lnTo>
                  <a:lnTo>
                    <a:pt x="122" y="297"/>
                  </a:lnTo>
                  <a:lnTo>
                    <a:pt x="118" y="297"/>
                  </a:lnTo>
                  <a:lnTo>
                    <a:pt x="111" y="295"/>
                  </a:lnTo>
                  <a:lnTo>
                    <a:pt x="102" y="295"/>
                  </a:lnTo>
                  <a:lnTo>
                    <a:pt x="84" y="297"/>
                  </a:lnTo>
                  <a:lnTo>
                    <a:pt x="75" y="297"/>
                  </a:lnTo>
                  <a:lnTo>
                    <a:pt x="67" y="295"/>
                  </a:lnTo>
                  <a:lnTo>
                    <a:pt x="57" y="292"/>
                  </a:lnTo>
                  <a:lnTo>
                    <a:pt x="48" y="289"/>
                  </a:lnTo>
                  <a:lnTo>
                    <a:pt x="40" y="286"/>
                  </a:lnTo>
                  <a:lnTo>
                    <a:pt x="31" y="283"/>
                  </a:lnTo>
                  <a:lnTo>
                    <a:pt x="38" y="273"/>
                  </a:lnTo>
                  <a:lnTo>
                    <a:pt x="46" y="260"/>
                  </a:lnTo>
                  <a:lnTo>
                    <a:pt x="48" y="257"/>
                  </a:lnTo>
                  <a:lnTo>
                    <a:pt x="51" y="251"/>
                  </a:lnTo>
                  <a:lnTo>
                    <a:pt x="52" y="246"/>
                  </a:lnTo>
                  <a:lnTo>
                    <a:pt x="52" y="240"/>
                  </a:lnTo>
                  <a:lnTo>
                    <a:pt x="50" y="236"/>
                  </a:lnTo>
                  <a:lnTo>
                    <a:pt x="46" y="233"/>
                  </a:lnTo>
                  <a:lnTo>
                    <a:pt x="36" y="231"/>
                  </a:lnTo>
                  <a:lnTo>
                    <a:pt x="31" y="230"/>
                  </a:lnTo>
                  <a:lnTo>
                    <a:pt x="27" y="228"/>
                  </a:lnTo>
                  <a:lnTo>
                    <a:pt x="24" y="226"/>
                  </a:lnTo>
                  <a:lnTo>
                    <a:pt x="21" y="221"/>
                  </a:lnTo>
                  <a:lnTo>
                    <a:pt x="19" y="206"/>
                  </a:lnTo>
                  <a:lnTo>
                    <a:pt x="16" y="200"/>
                  </a:lnTo>
                  <a:lnTo>
                    <a:pt x="14" y="193"/>
                  </a:lnTo>
                  <a:lnTo>
                    <a:pt x="11" y="187"/>
                  </a:lnTo>
                  <a:lnTo>
                    <a:pt x="9" y="181"/>
                  </a:lnTo>
                  <a:lnTo>
                    <a:pt x="8" y="174"/>
                  </a:lnTo>
                  <a:lnTo>
                    <a:pt x="10" y="168"/>
                  </a:lnTo>
                  <a:lnTo>
                    <a:pt x="13" y="165"/>
                  </a:lnTo>
                  <a:lnTo>
                    <a:pt x="13" y="163"/>
                  </a:lnTo>
                  <a:lnTo>
                    <a:pt x="11" y="162"/>
                  </a:lnTo>
                  <a:lnTo>
                    <a:pt x="6" y="161"/>
                  </a:lnTo>
                  <a:lnTo>
                    <a:pt x="3" y="157"/>
                  </a:lnTo>
                  <a:lnTo>
                    <a:pt x="0" y="153"/>
                  </a:lnTo>
                  <a:lnTo>
                    <a:pt x="0" y="149"/>
                  </a:lnTo>
                  <a:lnTo>
                    <a:pt x="0" y="14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8" name="Freeform 284">
              <a:extLst>
                <a:ext uri="{FF2B5EF4-FFF2-40B4-BE49-F238E27FC236}">
                  <a16:creationId xmlns:a16="http://schemas.microsoft.com/office/drawing/2014/main" id="{6B53B40D-D0EB-4497-BA87-199240F886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8098" y="3796736"/>
              <a:ext cx="4216" cy="2109"/>
            </a:xfrm>
            <a:custGeom>
              <a:avLst/>
              <a:gdLst>
                <a:gd name="T0" fmla="*/ 3 w 5"/>
                <a:gd name="T1" fmla="*/ 2 h 3"/>
                <a:gd name="T2" fmla="*/ 0 w 5"/>
                <a:gd name="T3" fmla="*/ 0 h 3"/>
                <a:gd name="T4" fmla="*/ 5 w 5"/>
                <a:gd name="T5" fmla="*/ 3 h 3"/>
                <a:gd name="T6" fmla="*/ 3 w 5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3" y="2"/>
                  </a:moveTo>
                  <a:lnTo>
                    <a:pt x="0" y="0"/>
                  </a:lnTo>
                  <a:lnTo>
                    <a:pt x="5" y="3"/>
                  </a:lnTo>
                  <a:lnTo>
                    <a:pt x="3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9" name="Freeform 285">
              <a:extLst>
                <a:ext uri="{FF2B5EF4-FFF2-40B4-BE49-F238E27FC236}">
                  <a16:creationId xmlns:a16="http://schemas.microsoft.com/office/drawing/2014/main" id="{D60AC9D2-EA40-42AA-9E7C-41B8B19DDB5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2314" y="3813599"/>
              <a:ext cx="6324" cy="6324"/>
            </a:xfrm>
            <a:custGeom>
              <a:avLst/>
              <a:gdLst>
                <a:gd name="T0" fmla="*/ 0 w 6"/>
                <a:gd name="T1" fmla="*/ 1 h 6"/>
                <a:gd name="T2" fmla="*/ 1 w 6"/>
                <a:gd name="T3" fmla="*/ 3 h 6"/>
                <a:gd name="T4" fmla="*/ 2 w 6"/>
                <a:gd name="T5" fmla="*/ 6 h 6"/>
                <a:gd name="T6" fmla="*/ 4 w 6"/>
                <a:gd name="T7" fmla="*/ 3 h 6"/>
                <a:gd name="T8" fmla="*/ 5 w 6"/>
                <a:gd name="T9" fmla="*/ 3 h 6"/>
                <a:gd name="T10" fmla="*/ 6 w 6"/>
                <a:gd name="T11" fmla="*/ 2 h 6"/>
                <a:gd name="T12" fmla="*/ 6 w 6"/>
                <a:gd name="T13" fmla="*/ 2 h 6"/>
                <a:gd name="T14" fmla="*/ 5 w 6"/>
                <a:gd name="T15" fmla="*/ 0 h 6"/>
                <a:gd name="T16" fmla="*/ 4 w 6"/>
                <a:gd name="T17" fmla="*/ 0 h 6"/>
                <a:gd name="T18" fmla="*/ 0 w 6"/>
                <a:gd name="T1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6">
                  <a:moveTo>
                    <a:pt x="0" y="1"/>
                  </a:moveTo>
                  <a:lnTo>
                    <a:pt x="1" y="3"/>
                  </a:lnTo>
                  <a:lnTo>
                    <a:pt x="2" y="6"/>
                  </a:lnTo>
                  <a:lnTo>
                    <a:pt x="4" y="3"/>
                  </a:lnTo>
                  <a:lnTo>
                    <a:pt x="5" y="3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0"/>
                  </a:lnTo>
                  <a:lnTo>
                    <a:pt x="4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0" name="Freeform 286">
              <a:extLst>
                <a:ext uri="{FF2B5EF4-FFF2-40B4-BE49-F238E27FC236}">
                  <a16:creationId xmlns:a16="http://schemas.microsoft.com/office/drawing/2014/main" id="{A3195455-4500-424F-8887-D8F9C17909C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4423" y="3809383"/>
              <a:ext cx="4216" cy="4216"/>
            </a:xfrm>
            <a:custGeom>
              <a:avLst/>
              <a:gdLst>
                <a:gd name="T0" fmla="*/ 0 w 2"/>
                <a:gd name="T1" fmla="*/ 0 h 2"/>
                <a:gd name="T2" fmla="*/ 2 w 2"/>
                <a:gd name="T3" fmla="*/ 2 h 2"/>
                <a:gd name="T4" fmla="*/ 0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2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1" name="Freeform 287">
              <a:extLst>
                <a:ext uri="{FF2B5EF4-FFF2-40B4-BE49-F238E27FC236}">
                  <a16:creationId xmlns:a16="http://schemas.microsoft.com/office/drawing/2014/main" id="{3885100A-9141-425E-826B-3FE95BA52E9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4423" y="3817815"/>
              <a:ext cx="10540" cy="25295"/>
            </a:xfrm>
            <a:custGeom>
              <a:avLst/>
              <a:gdLst>
                <a:gd name="T0" fmla="*/ 0 w 10"/>
                <a:gd name="T1" fmla="*/ 4 h 25"/>
                <a:gd name="T2" fmla="*/ 2 w 10"/>
                <a:gd name="T3" fmla="*/ 8 h 25"/>
                <a:gd name="T4" fmla="*/ 5 w 10"/>
                <a:gd name="T5" fmla="*/ 11 h 25"/>
                <a:gd name="T6" fmla="*/ 5 w 10"/>
                <a:gd name="T7" fmla="*/ 18 h 25"/>
                <a:gd name="T8" fmla="*/ 5 w 10"/>
                <a:gd name="T9" fmla="*/ 20 h 25"/>
                <a:gd name="T10" fmla="*/ 3 w 10"/>
                <a:gd name="T11" fmla="*/ 22 h 25"/>
                <a:gd name="T12" fmla="*/ 3 w 10"/>
                <a:gd name="T13" fmla="*/ 24 h 25"/>
                <a:gd name="T14" fmla="*/ 5 w 10"/>
                <a:gd name="T15" fmla="*/ 24 h 25"/>
                <a:gd name="T16" fmla="*/ 6 w 10"/>
                <a:gd name="T17" fmla="*/ 22 h 25"/>
                <a:gd name="T18" fmla="*/ 6 w 10"/>
                <a:gd name="T19" fmla="*/ 25 h 25"/>
                <a:gd name="T20" fmla="*/ 7 w 10"/>
                <a:gd name="T21" fmla="*/ 25 h 25"/>
                <a:gd name="T22" fmla="*/ 8 w 10"/>
                <a:gd name="T23" fmla="*/ 24 h 25"/>
                <a:gd name="T24" fmla="*/ 10 w 10"/>
                <a:gd name="T25" fmla="*/ 20 h 25"/>
                <a:gd name="T26" fmla="*/ 10 w 10"/>
                <a:gd name="T27" fmla="*/ 14 h 25"/>
                <a:gd name="T28" fmla="*/ 10 w 10"/>
                <a:gd name="T29" fmla="*/ 11 h 25"/>
                <a:gd name="T30" fmla="*/ 8 w 10"/>
                <a:gd name="T31" fmla="*/ 8 h 25"/>
                <a:gd name="T32" fmla="*/ 6 w 10"/>
                <a:gd name="T33" fmla="*/ 5 h 25"/>
                <a:gd name="T34" fmla="*/ 5 w 10"/>
                <a:gd name="T35" fmla="*/ 4 h 25"/>
                <a:gd name="T36" fmla="*/ 3 w 10"/>
                <a:gd name="T37" fmla="*/ 2 h 25"/>
                <a:gd name="T38" fmla="*/ 2 w 10"/>
                <a:gd name="T39" fmla="*/ 0 h 25"/>
                <a:gd name="T40" fmla="*/ 1 w 10"/>
                <a:gd name="T41" fmla="*/ 0 h 25"/>
                <a:gd name="T42" fmla="*/ 0 w 10"/>
                <a:gd name="T43" fmla="*/ 2 h 25"/>
                <a:gd name="T44" fmla="*/ 0 w 10"/>
                <a:gd name="T45" fmla="*/ 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" h="25">
                  <a:moveTo>
                    <a:pt x="0" y="4"/>
                  </a:moveTo>
                  <a:lnTo>
                    <a:pt x="2" y="8"/>
                  </a:lnTo>
                  <a:lnTo>
                    <a:pt x="5" y="11"/>
                  </a:lnTo>
                  <a:lnTo>
                    <a:pt x="5" y="18"/>
                  </a:lnTo>
                  <a:lnTo>
                    <a:pt x="5" y="20"/>
                  </a:lnTo>
                  <a:lnTo>
                    <a:pt x="3" y="22"/>
                  </a:lnTo>
                  <a:lnTo>
                    <a:pt x="3" y="24"/>
                  </a:lnTo>
                  <a:lnTo>
                    <a:pt x="5" y="24"/>
                  </a:lnTo>
                  <a:lnTo>
                    <a:pt x="6" y="22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8" y="24"/>
                  </a:lnTo>
                  <a:lnTo>
                    <a:pt x="10" y="20"/>
                  </a:lnTo>
                  <a:lnTo>
                    <a:pt x="10" y="14"/>
                  </a:lnTo>
                  <a:lnTo>
                    <a:pt x="10" y="11"/>
                  </a:lnTo>
                  <a:lnTo>
                    <a:pt x="8" y="8"/>
                  </a:lnTo>
                  <a:lnTo>
                    <a:pt x="6" y="5"/>
                  </a:lnTo>
                  <a:lnTo>
                    <a:pt x="5" y="4"/>
                  </a:lnTo>
                  <a:lnTo>
                    <a:pt x="3" y="2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2" name="Freeform 288">
              <a:extLst>
                <a:ext uri="{FF2B5EF4-FFF2-40B4-BE49-F238E27FC236}">
                  <a16:creationId xmlns:a16="http://schemas.microsoft.com/office/drawing/2014/main" id="{95ECD4A7-85E8-47F7-B67F-2D86088E6A1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6530" y="3838894"/>
              <a:ext cx="2109" cy="4216"/>
            </a:xfrm>
            <a:custGeom>
              <a:avLst/>
              <a:gdLst>
                <a:gd name="T0" fmla="*/ 0 w 2"/>
                <a:gd name="T1" fmla="*/ 4 h 5"/>
                <a:gd name="T2" fmla="*/ 0 w 2"/>
                <a:gd name="T3" fmla="*/ 4 h 5"/>
                <a:gd name="T4" fmla="*/ 1 w 2"/>
                <a:gd name="T5" fmla="*/ 4 h 5"/>
                <a:gd name="T6" fmla="*/ 1 w 2"/>
                <a:gd name="T7" fmla="*/ 4 h 5"/>
                <a:gd name="T8" fmla="*/ 1 w 2"/>
                <a:gd name="T9" fmla="*/ 5 h 5"/>
                <a:gd name="T10" fmla="*/ 2 w 2"/>
                <a:gd name="T11" fmla="*/ 4 h 5"/>
                <a:gd name="T12" fmla="*/ 1 w 2"/>
                <a:gd name="T13" fmla="*/ 0 h 5"/>
                <a:gd name="T14" fmla="*/ 0 w 2"/>
                <a:gd name="T1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5">
                  <a:moveTo>
                    <a:pt x="0" y="4"/>
                  </a:move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5"/>
                  </a:lnTo>
                  <a:lnTo>
                    <a:pt x="2" y="4"/>
                  </a:lnTo>
                  <a:lnTo>
                    <a:pt x="1" y="0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3" name="Freeform 289">
              <a:extLst>
                <a:ext uri="{FF2B5EF4-FFF2-40B4-BE49-F238E27FC236}">
                  <a16:creationId xmlns:a16="http://schemas.microsoft.com/office/drawing/2014/main" id="{2CEE1679-35AB-4B17-9699-17057DD163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8639" y="3830462"/>
              <a:ext cx="0" cy="4216"/>
            </a:xfrm>
            <a:custGeom>
              <a:avLst/>
              <a:gdLst>
                <a:gd name="T0" fmla="*/ 0 h 4"/>
                <a:gd name="T1" fmla="*/ 4 h 4"/>
                <a:gd name="T2" fmla="*/ 0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lnTo>
                    <a:pt x="0" y="4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4" name="Freeform 290">
              <a:extLst>
                <a:ext uri="{FF2B5EF4-FFF2-40B4-BE49-F238E27FC236}">
                  <a16:creationId xmlns:a16="http://schemas.microsoft.com/office/drawing/2014/main" id="{66B3FEB5-6995-49B7-9CFA-3C42A57F6C1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1286" y="3826246"/>
              <a:ext cx="4216" cy="14756"/>
            </a:xfrm>
            <a:custGeom>
              <a:avLst/>
              <a:gdLst>
                <a:gd name="T0" fmla="*/ 0 w 3"/>
                <a:gd name="T1" fmla="*/ 14 h 14"/>
                <a:gd name="T2" fmla="*/ 2 w 3"/>
                <a:gd name="T3" fmla="*/ 12 h 14"/>
                <a:gd name="T4" fmla="*/ 3 w 3"/>
                <a:gd name="T5" fmla="*/ 8 h 14"/>
                <a:gd name="T6" fmla="*/ 1 w 3"/>
                <a:gd name="T7" fmla="*/ 3 h 14"/>
                <a:gd name="T8" fmla="*/ 0 w 3"/>
                <a:gd name="T9" fmla="*/ 0 h 14"/>
                <a:gd name="T10" fmla="*/ 0 w 3"/>
                <a:gd name="T11" fmla="*/ 7 h 14"/>
                <a:gd name="T12" fmla="*/ 0 w 3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14">
                  <a:moveTo>
                    <a:pt x="0" y="14"/>
                  </a:moveTo>
                  <a:lnTo>
                    <a:pt x="2" y="12"/>
                  </a:lnTo>
                  <a:lnTo>
                    <a:pt x="3" y="8"/>
                  </a:lnTo>
                  <a:lnTo>
                    <a:pt x="1" y="3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5" name="Freeform 291">
              <a:extLst>
                <a:ext uri="{FF2B5EF4-FFF2-40B4-BE49-F238E27FC236}">
                  <a16:creationId xmlns:a16="http://schemas.microsoft.com/office/drawing/2014/main" id="{82089703-ABC9-40EA-9BE9-83C359421D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11825" y="3824138"/>
              <a:ext cx="4216" cy="8432"/>
            </a:xfrm>
            <a:custGeom>
              <a:avLst/>
              <a:gdLst>
                <a:gd name="T0" fmla="*/ 2 w 3"/>
                <a:gd name="T1" fmla="*/ 9 h 9"/>
                <a:gd name="T2" fmla="*/ 3 w 3"/>
                <a:gd name="T3" fmla="*/ 6 h 9"/>
                <a:gd name="T4" fmla="*/ 2 w 3"/>
                <a:gd name="T5" fmla="*/ 4 h 9"/>
                <a:gd name="T6" fmla="*/ 0 w 3"/>
                <a:gd name="T7" fmla="*/ 0 h 9"/>
                <a:gd name="T8" fmla="*/ 0 w 3"/>
                <a:gd name="T9" fmla="*/ 5 h 9"/>
                <a:gd name="T10" fmla="*/ 2 w 3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9">
                  <a:moveTo>
                    <a:pt x="2" y="9"/>
                  </a:moveTo>
                  <a:lnTo>
                    <a:pt x="3" y="6"/>
                  </a:lnTo>
                  <a:lnTo>
                    <a:pt x="2" y="4"/>
                  </a:lnTo>
                  <a:lnTo>
                    <a:pt x="0" y="0"/>
                  </a:lnTo>
                  <a:lnTo>
                    <a:pt x="0" y="5"/>
                  </a:lnTo>
                  <a:lnTo>
                    <a:pt x="2" y="9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6" name="Freeform 292">
              <a:extLst>
                <a:ext uri="{FF2B5EF4-FFF2-40B4-BE49-F238E27FC236}">
                  <a16:creationId xmlns:a16="http://schemas.microsoft.com/office/drawing/2014/main" id="{6DA85C66-61A5-4CF0-A615-6E014DD461F6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8688" y="3847325"/>
              <a:ext cx="0" cy="6324"/>
            </a:xfrm>
            <a:custGeom>
              <a:avLst/>
              <a:gdLst>
                <a:gd name="T0" fmla="*/ 0 h 7"/>
                <a:gd name="T1" fmla="*/ 4 h 7"/>
                <a:gd name="T2" fmla="*/ 7 h 7"/>
                <a:gd name="T3" fmla="*/ 0 h 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7">
                  <a:moveTo>
                    <a:pt x="0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7" name="Freeform 293">
              <a:extLst>
                <a:ext uri="{FF2B5EF4-FFF2-40B4-BE49-F238E27FC236}">
                  <a16:creationId xmlns:a16="http://schemas.microsoft.com/office/drawing/2014/main" id="{B44B42EE-E77C-489B-A11F-6F721CDC3E7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8688" y="3853648"/>
              <a:ext cx="4216" cy="8432"/>
            </a:xfrm>
            <a:custGeom>
              <a:avLst/>
              <a:gdLst>
                <a:gd name="T0" fmla="*/ 1 w 3"/>
                <a:gd name="T1" fmla="*/ 8 h 8"/>
                <a:gd name="T2" fmla="*/ 3 w 3"/>
                <a:gd name="T3" fmla="*/ 7 h 8"/>
                <a:gd name="T4" fmla="*/ 3 w 3"/>
                <a:gd name="T5" fmla="*/ 4 h 8"/>
                <a:gd name="T6" fmla="*/ 1 w 3"/>
                <a:gd name="T7" fmla="*/ 2 h 8"/>
                <a:gd name="T8" fmla="*/ 0 w 3"/>
                <a:gd name="T9" fmla="*/ 0 h 8"/>
                <a:gd name="T10" fmla="*/ 1 w 3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8">
                  <a:moveTo>
                    <a:pt x="1" y="8"/>
                  </a:moveTo>
                  <a:lnTo>
                    <a:pt x="3" y="7"/>
                  </a:lnTo>
                  <a:lnTo>
                    <a:pt x="3" y="4"/>
                  </a:lnTo>
                  <a:lnTo>
                    <a:pt x="1" y="2"/>
                  </a:lnTo>
                  <a:lnTo>
                    <a:pt x="0" y="0"/>
                  </a:lnTo>
                  <a:lnTo>
                    <a:pt x="1" y="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8" name="Freeform 294">
              <a:extLst>
                <a:ext uri="{FF2B5EF4-FFF2-40B4-BE49-F238E27FC236}">
                  <a16:creationId xmlns:a16="http://schemas.microsoft.com/office/drawing/2014/main" id="{9D9894E4-DFAB-47BA-B4EF-A62865ECE0F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998" y="3685016"/>
              <a:ext cx="158093" cy="202358"/>
            </a:xfrm>
            <a:custGeom>
              <a:avLst/>
              <a:gdLst>
                <a:gd name="T0" fmla="*/ 14 w 150"/>
                <a:gd name="T1" fmla="*/ 7 h 192"/>
                <a:gd name="T2" fmla="*/ 22 w 150"/>
                <a:gd name="T3" fmla="*/ 6 h 192"/>
                <a:gd name="T4" fmla="*/ 39 w 150"/>
                <a:gd name="T5" fmla="*/ 21 h 192"/>
                <a:gd name="T6" fmla="*/ 48 w 150"/>
                <a:gd name="T7" fmla="*/ 22 h 192"/>
                <a:gd name="T8" fmla="*/ 54 w 150"/>
                <a:gd name="T9" fmla="*/ 43 h 192"/>
                <a:gd name="T10" fmla="*/ 119 w 150"/>
                <a:gd name="T11" fmla="*/ 49 h 192"/>
                <a:gd name="T12" fmla="*/ 122 w 150"/>
                <a:gd name="T13" fmla="*/ 56 h 192"/>
                <a:gd name="T14" fmla="*/ 116 w 150"/>
                <a:gd name="T15" fmla="*/ 80 h 192"/>
                <a:gd name="T16" fmla="*/ 107 w 150"/>
                <a:gd name="T17" fmla="*/ 81 h 192"/>
                <a:gd name="T18" fmla="*/ 98 w 150"/>
                <a:gd name="T19" fmla="*/ 92 h 192"/>
                <a:gd name="T20" fmla="*/ 105 w 150"/>
                <a:gd name="T21" fmla="*/ 113 h 192"/>
                <a:gd name="T22" fmla="*/ 112 w 150"/>
                <a:gd name="T23" fmla="*/ 119 h 192"/>
                <a:gd name="T24" fmla="*/ 117 w 150"/>
                <a:gd name="T25" fmla="*/ 112 h 192"/>
                <a:gd name="T26" fmla="*/ 118 w 150"/>
                <a:gd name="T27" fmla="*/ 96 h 192"/>
                <a:gd name="T28" fmla="*/ 129 w 150"/>
                <a:gd name="T29" fmla="*/ 97 h 192"/>
                <a:gd name="T30" fmla="*/ 150 w 150"/>
                <a:gd name="T31" fmla="*/ 174 h 192"/>
                <a:gd name="T32" fmla="*/ 138 w 150"/>
                <a:gd name="T33" fmla="*/ 171 h 192"/>
                <a:gd name="T34" fmla="*/ 142 w 150"/>
                <a:gd name="T35" fmla="*/ 192 h 192"/>
                <a:gd name="T36" fmla="*/ 128 w 150"/>
                <a:gd name="T37" fmla="*/ 158 h 192"/>
                <a:gd name="T38" fmla="*/ 122 w 150"/>
                <a:gd name="T39" fmla="*/ 140 h 192"/>
                <a:gd name="T40" fmla="*/ 110 w 150"/>
                <a:gd name="T41" fmla="*/ 121 h 192"/>
                <a:gd name="T42" fmla="*/ 100 w 150"/>
                <a:gd name="T43" fmla="*/ 131 h 192"/>
                <a:gd name="T44" fmla="*/ 90 w 150"/>
                <a:gd name="T45" fmla="*/ 126 h 192"/>
                <a:gd name="T46" fmla="*/ 84 w 150"/>
                <a:gd name="T47" fmla="*/ 109 h 192"/>
                <a:gd name="T48" fmla="*/ 84 w 150"/>
                <a:gd name="T49" fmla="*/ 99 h 192"/>
                <a:gd name="T50" fmla="*/ 81 w 150"/>
                <a:gd name="T51" fmla="*/ 98 h 192"/>
                <a:gd name="T52" fmla="*/ 81 w 150"/>
                <a:gd name="T53" fmla="*/ 105 h 192"/>
                <a:gd name="T54" fmla="*/ 82 w 150"/>
                <a:gd name="T55" fmla="*/ 112 h 192"/>
                <a:gd name="T56" fmla="*/ 80 w 150"/>
                <a:gd name="T57" fmla="*/ 121 h 192"/>
                <a:gd name="T58" fmla="*/ 84 w 150"/>
                <a:gd name="T59" fmla="*/ 133 h 192"/>
                <a:gd name="T60" fmla="*/ 81 w 150"/>
                <a:gd name="T61" fmla="*/ 142 h 192"/>
                <a:gd name="T62" fmla="*/ 74 w 150"/>
                <a:gd name="T63" fmla="*/ 156 h 192"/>
                <a:gd name="T64" fmla="*/ 76 w 150"/>
                <a:gd name="T65" fmla="*/ 147 h 192"/>
                <a:gd name="T66" fmla="*/ 68 w 150"/>
                <a:gd name="T67" fmla="*/ 144 h 192"/>
                <a:gd name="T68" fmla="*/ 67 w 150"/>
                <a:gd name="T69" fmla="*/ 145 h 192"/>
                <a:gd name="T70" fmla="*/ 67 w 150"/>
                <a:gd name="T71" fmla="*/ 155 h 192"/>
                <a:gd name="T72" fmla="*/ 59 w 150"/>
                <a:gd name="T73" fmla="*/ 158 h 192"/>
                <a:gd name="T74" fmla="*/ 59 w 150"/>
                <a:gd name="T75" fmla="*/ 140 h 192"/>
                <a:gd name="T76" fmla="*/ 54 w 150"/>
                <a:gd name="T77" fmla="*/ 141 h 192"/>
                <a:gd name="T78" fmla="*/ 54 w 150"/>
                <a:gd name="T79" fmla="*/ 157 h 192"/>
                <a:gd name="T80" fmla="*/ 49 w 150"/>
                <a:gd name="T81" fmla="*/ 160 h 192"/>
                <a:gd name="T82" fmla="*/ 38 w 150"/>
                <a:gd name="T83" fmla="*/ 130 h 192"/>
                <a:gd name="T84" fmla="*/ 31 w 150"/>
                <a:gd name="T85" fmla="*/ 110 h 192"/>
                <a:gd name="T86" fmla="*/ 26 w 150"/>
                <a:gd name="T87" fmla="*/ 99 h 192"/>
                <a:gd name="T88" fmla="*/ 26 w 150"/>
                <a:gd name="T89" fmla="*/ 82 h 192"/>
                <a:gd name="T90" fmla="*/ 10 w 150"/>
                <a:gd name="T91" fmla="*/ 70 h 192"/>
                <a:gd name="T92" fmla="*/ 5 w 150"/>
                <a:gd name="T93" fmla="*/ 59 h 192"/>
                <a:gd name="T94" fmla="*/ 12 w 150"/>
                <a:gd name="T95" fmla="*/ 54 h 192"/>
                <a:gd name="T96" fmla="*/ 21 w 150"/>
                <a:gd name="T97" fmla="*/ 45 h 192"/>
                <a:gd name="T98" fmla="*/ 23 w 150"/>
                <a:gd name="T99" fmla="*/ 40 h 192"/>
                <a:gd name="T100" fmla="*/ 14 w 150"/>
                <a:gd name="T101" fmla="*/ 35 h 192"/>
                <a:gd name="T102" fmla="*/ 0 w 150"/>
                <a:gd name="T103" fmla="*/ 17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50" h="192">
                  <a:moveTo>
                    <a:pt x="3" y="3"/>
                  </a:moveTo>
                  <a:lnTo>
                    <a:pt x="4" y="0"/>
                  </a:lnTo>
                  <a:lnTo>
                    <a:pt x="9" y="2"/>
                  </a:lnTo>
                  <a:lnTo>
                    <a:pt x="11" y="5"/>
                  </a:lnTo>
                  <a:lnTo>
                    <a:pt x="14" y="7"/>
                  </a:lnTo>
                  <a:lnTo>
                    <a:pt x="15" y="10"/>
                  </a:lnTo>
                  <a:lnTo>
                    <a:pt x="17" y="11"/>
                  </a:lnTo>
                  <a:lnTo>
                    <a:pt x="23" y="12"/>
                  </a:lnTo>
                  <a:lnTo>
                    <a:pt x="20" y="6"/>
                  </a:lnTo>
                  <a:lnTo>
                    <a:pt x="22" y="6"/>
                  </a:lnTo>
                  <a:lnTo>
                    <a:pt x="25" y="7"/>
                  </a:lnTo>
                  <a:lnTo>
                    <a:pt x="27" y="12"/>
                  </a:lnTo>
                  <a:lnTo>
                    <a:pt x="30" y="16"/>
                  </a:lnTo>
                  <a:lnTo>
                    <a:pt x="32" y="17"/>
                  </a:lnTo>
                  <a:lnTo>
                    <a:pt x="39" y="21"/>
                  </a:lnTo>
                  <a:lnTo>
                    <a:pt x="41" y="17"/>
                  </a:lnTo>
                  <a:lnTo>
                    <a:pt x="41" y="13"/>
                  </a:lnTo>
                  <a:lnTo>
                    <a:pt x="43" y="14"/>
                  </a:lnTo>
                  <a:lnTo>
                    <a:pt x="46" y="16"/>
                  </a:lnTo>
                  <a:lnTo>
                    <a:pt x="48" y="22"/>
                  </a:lnTo>
                  <a:lnTo>
                    <a:pt x="51" y="29"/>
                  </a:lnTo>
                  <a:lnTo>
                    <a:pt x="51" y="35"/>
                  </a:lnTo>
                  <a:lnTo>
                    <a:pt x="51" y="39"/>
                  </a:lnTo>
                  <a:lnTo>
                    <a:pt x="52" y="42"/>
                  </a:lnTo>
                  <a:lnTo>
                    <a:pt x="54" y="43"/>
                  </a:lnTo>
                  <a:lnTo>
                    <a:pt x="64" y="45"/>
                  </a:lnTo>
                  <a:lnTo>
                    <a:pt x="74" y="46"/>
                  </a:lnTo>
                  <a:lnTo>
                    <a:pt x="94" y="46"/>
                  </a:lnTo>
                  <a:lnTo>
                    <a:pt x="113" y="46"/>
                  </a:lnTo>
                  <a:lnTo>
                    <a:pt x="119" y="49"/>
                  </a:lnTo>
                  <a:lnTo>
                    <a:pt x="126" y="53"/>
                  </a:lnTo>
                  <a:lnTo>
                    <a:pt x="128" y="54"/>
                  </a:lnTo>
                  <a:lnTo>
                    <a:pt x="128" y="55"/>
                  </a:lnTo>
                  <a:lnTo>
                    <a:pt x="127" y="56"/>
                  </a:lnTo>
                  <a:lnTo>
                    <a:pt x="122" y="56"/>
                  </a:lnTo>
                  <a:lnTo>
                    <a:pt x="123" y="59"/>
                  </a:lnTo>
                  <a:lnTo>
                    <a:pt x="123" y="62"/>
                  </a:lnTo>
                  <a:lnTo>
                    <a:pt x="121" y="69"/>
                  </a:lnTo>
                  <a:lnTo>
                    <a:pt x="117" y="73"/>
                  </a:lnTo>
                  <a:lnTo>
                    <a:pt x="116" y="80"/>
                  </a:lnTo>
                  <a:lnTo>
                    <a:pt x="113" y="78"/>
                  </a:lnTo>
                  <a:lnTo>
                    <a:pt x="112" y="80"/>
                  </a:lnTo>
                  <a:lnTo>
                    <a:pt x="110" y="80"/>
                  </a:lnTo>
                  <a:lnTo>
                    <a:pt x="108" y="78"/>
                  </a:lnTo>
                  <a:lnTo>
                    <a:pt x="107" y="81"/>
                  </a:lnTo>
                  <a:lnTo>
                    <a:pt x="106" y="82"/>
                  </a:lnTo>
                  <a:lnTo>
                    <a:pt x="101" y="82"/>
                  </a:lnTo>
                  <a:lnTo>
                    <a:pt x="101" y="85"/>
                  </a:lnTo>
                  <a:lnTo>
                    <a:pt x="100" y="88"/>
                  </a:lnTo>
                  <a:lnTo>
                    <a:pt x="98" y="92"/>
                  </a:lnTo>
                  <a:lnTo>
                    <a:pt x="97" y="96"/>
                  </a:lnTo>
                  <a:lnTo>
                    <a:pt x="97" y="101"/>
                  </a:lnTo>
                  <a:lnTo>
                    <a:pt x="100" y="105"/>
                  </a:lnTo>
                  <a:lnTo>
                    <a:pt x="105" y="115"/>
                  </a:lnTo>
                  <a:lnTo>
                    <a:pt x="105" y="113"/>
                  </a:lnTo>
                  <a:lnTo>
                    <a:pt x="105" y="109"/>
                  </a:lnTo>
                  <a:lnTo>
                    <a:pt x="106" y="110"/>
                  </a:lnTo>
                  <a:lnTo>
                    <a:pt x="107" y="113"/>
                  </a:lnTo>
                  <a:lnTo>
                    <a:pt x="111" y="117"/>
                  </a:lnTo>
                  <a:lnTo>
                    <a:pt x="112" y="119"/>
                  </a:lnTo>
                  <a:lnTo>
                    <a:pt x="113" y="119"/>
                  </a:lnTo>
                  <a:lnTo>
                    <a:pt x="116" y="119"/>
                  </a:lnTo>
                  <a:lnTo>
                    <a:pt x="117" y="117"/>
                  </a:lnTo>
                  <a:lnTo>
                    <a:pt x="118" y="114"/>
                  </a:lnTo>
                  <a:lnTo>
                    <a:pt x="117" y="112"/>
                  </a:lnTo>
                  <a:lnTo>
                    <a:pt x="117" y="108"/>
                  </a:lnTo>
                  <a:lnTo>
                    <a:pt x="117" y="104"/>
                  </a:lnTo>
                  <a:lnTo>
                    <a:pt x="119" y="101"/>
                  </a:lnTo>
                  <a:lnTo>
                    <a:pt x="119" y="98"/>
                  </a:lnTo>
                  <a:lnTo>
                    <a:pt x="118" y="96"/>
                  </a:lnTo>
                  <a:lnTo>
                    <a:pt x="122" y="97"/>
                  </a:lnTo>
                  <a:lnTo>
                    <a:pt x="124" y="96"/>
                  </a:lnTo>
                  <a:lnTo>
                    <a:pt x="127" y="94"/>
                  </a:lnTo>
                  <a:lnTo>
                    <a:pt x="128" y="94"/>
                  </a:lnTo>
                  <a:lnTo>
                    <a:pt x="129" y="97"/>
                  </a:lnTo>
                  <a:lnTo>
                    <a:pt x="132" y="108"/>
                  </a:lnTo>
                  <a:lnTo>
                    <a:pt x="135" y="119"/>
                  </a:lnTo>
                  <a:lnTo>
                    <a:pt x="144" y="146"/>
                  </a:lnTo>
                  <a:lnTo>
                    <a:pt x="146" y="161"/>
                  </a:lnTo>
                  <a:lnTo>
                    <a:pt x="150" y="174"/>
                  </a:lnTo>
                  <a:lnTo>
                    <a:pt x="148" y="174"/>
                  </a:lnTo>
                  <a:lnTo>
                    <a:pt x="145" y="172"/>
                  </a:lnTo>
                  <a:lnTo>
                    <a:pt x="142" y="171"/>
                  </a:lnTo>
                  <a:lnTo>
                    <a:pt x="139" y="171"/>
                  </a:lnTo>
                  <a:lnTo>
                    <a:pt x="138" y="171"/>
                  </a:lnTo>
                  <a:lnTo>
                    <a:pt x="137" y="173"/>
                  </a:lnTo>
                  <a:lnTo>
                    <a:pt x="138" y="179"/>
                  </a:lnTo>
                  <a:lnTo>
                    <a:pt x="140" y="187"/>
                  </a:lnTo>
                  <a:lnTo>
                    <a:pt x="140" y="189"/>
                  </a:lnTo>
                  <a:lnTo>
                    <a:pt x="142" y="192"/>
                  </a:lnTo>
                  <a:lnTo>
                    <a:pt x="137" y="184"/>
                  </a:lnTo>
                  <a:lnTo>
                    <a:pt x="133" y="177"/>
                  </a:lnTo>
                  <a:lnTo>
                    <a:pt x="132" y="171"/>
                  </a:lnTo>
                  <a:lnTo>
                    <a:pt x="130" y="164"/>
                  </a:lnTo>
                  <a:lnTo>
                    <a:pt x="128" y="158"/>
                  </a:lnTo>
                  <a:lnTo>
                    <a:pt x="124" y="151"/>
                  </a:lnTo>
                  <a:lnTo>
                    <a:pt x="122" y="144"/>
                  </a:lnTo>
                  <a:lnTo>
                    <a:pt x="122" y="141"/>
                  </a:lnTo>
                  <a:lnTo>
                    <a:pt x="123" y="137"/>
                  </a:lnTo>
                  <a:lnTo>
                    <a:pt x="122" y="140"/>
                  </a:lnTo>
                  <a:lnTo>
                    <a:pt x="121" y="144"/>
                  </a:lnTo>
                  <a:lnTo>
                    <a:pt x="118" y="139"/>
                  </a:lnTo>
                  <a:lnTo>
                    <a:pt x="114" y="133"/>
                  </a:lnTo>
                  <a:lnTo>
                    <a:pt x="111" y="128"/>
                  </a:lnTo>
                  <a:lnTo>
                    <a:pt x="110" y="121"/>
                  </a:lnTo>
                  <a:lnTo>
                    <a:pt x="108" y="124"/>
                  </a:lnTo>
                  <a:lnTo>
                    <a:pt x="107" y="125"/>
                  </a:lnTo>
                  <a:lnTo>
                    <a:pt x="103" y="129"/>
                  </a:lnTo>
                  <a:lnTo>
                    <a:pt x="102" y="131"/>
                  </a:lnTo>
                  <a:lnTo>
                    <a:pt x="100" y="131"/>
                  </a:lnTo>
                  <a:lnTo>
                    <a:pt x="97" y="129"/>
                  </a:lnTo>
                  <a:lnTo>
                    <a:pt x="97" y="131"/>
                  </a:lnTo>
                  <a:lnTo>
                    <a:pt x="95" y="133"/>
                  </a:lnTo>
                  <a:lnTo>
                    <a:pt x="94" y="131"/>
                  </a:lnTo>
                  <a:lnTo>
                    <a:pt x="90" y="126"/>
                  </a:lnTo>
                  <a:lnTo>
                    <a:pt x="87" y="121"/>
                  </a:lnTo>
                  <a:lnTo>
                    <a:pt x="86" y="118"/>
                  </a:lnTo>
                  <a:lnTo>
                    <a:pt x="85" y="115"/>
                  </a:lnTo>
                  <a:lnTo>
                    <a:pt x="85" y="113"/>
                  </a:lnTo>
                  <a:lnTo>
                    <a:pt x="84" y="109"/>
                  </a:lnTo>
                  <a:lnTo>
                    <a:pt x="82" y="105"/>
                  </a:lnTo>
                  <a:lnTo>
                    <a:pt x="82" y="104"/>
                  </a:lnTo>
                  <a:lnTo>
                    <a:pt x="84" y="103"/>
                  </a:lnTo>
                  <a:lnTo>
                    <a:pt x="84" y="102"/>
                  </a:lnTo>
                  <a:lnTo>
                    <a:pt x="84" y="99"/>
                  </a:lnTo>
                  <a:lnTo>
                    <a:pt x="84" y="101"/>
                  </a:lnTo>
                  <a:lnTo>
                    <a:pt x="85" y="102"/>
                  </a:lnTo>
                  <a:lnTo>
                    <a:pt x="84" y="102"/>
                  </a:lnTo>
                  <a:lnTo>
                    <a:pt x="81" y="102"/>
                  </a:lnTo>
                  <a:lnTo>
                    <a:pt x="81" y="98"/>
                  </a:lnTo>
                  <a:lnTo>
                    <a:pt x="80" y="99"/>
                  </a:lnTo>
                  <a:lnTo>
                    <a:pt x="78" y="99"/>
                  </a:lnTo>
                  <a:lnTo>
                    <a:pt x="79" y="101"/>
                  </a:lnTo>
                  <a:lnTo>
                    <a:pt x="80" y="103"/>
                  </a:lnTo>
                  <a:lnTo>
                    <a:pt x="81" y="105"/>
                  </a:lnTo>
                  <a:lnTo>
                    <a:pt x="79" y="105"/>
                  </a:lnTo>
                  <a:lnTo>
                    <a:pt x="75" y="104"/>
                  </a:lnTo>
                  <a:lnTo>
                    <a:pt x="71" y="103"/>
                  </a:lnTo>
                  <a:lnTo>
                    <a:pt x="78" y="107"/>
                  </a:lnTo>
                  <a:lnTo>
                    <a:pt x="82" y="112"/>
                  </a:lnTo>
                  <a:lnTo>
                    <a:pt x="82" y="113"/>
                  </a:lnTo>
                  <a:lnTo>
                    <a:pt x="82" y="114"/>
                  </a:lnTo>
                  <a:lnTo>
                    <a:pt x="79" y="117"/>
                  </a:lnTo>
                  <a:lnTo>
                    <a:pt x="80" y="119"/>
                  </a:lnTo>
                  <a:lnTo>
                    <a:pt x="80" y="121"/>
                  </a:lnTo>
                  <a:lnTo>
                    <a:pt x="78" y="126"/>
                  </a:lnTo>
                  <a:lnTo>
                    <a:pt x="81" y="128"/>
                  </a:lnTo>
                  <a:lnTo>
                    <a:pt x="81" y="129"/>
                  </a:lnTo>
                  <a:lnTo>
                    <a:pt x="81" y="135"/>
                  </a:lnTo>
                  <a:lnTo>
                    <a:pt x="84" y="133"/>
                  </a:lnTo>
                  <a:lnTo>
                    <a:pt x="86" y="136"/>
                  </a:lnTo>
                  <a:lnTo>
                    <a:pt x="87" y="141"/>
                  </a:lnTo>
                  <a:lnTo>
                    <a:pt x="85" y="145"/>
                  </a:lnTo>
                  <a:lnTo>
                    <a:pt x="81" y="147"/>
                  </a:lnTo>
                  <a:lnTo>
                    <a:pt x="81" y="142"/>
                  </a:lnTo>
                  <a:lnTo>
                    <a:pt x="81" y="148"/>
                  </a:lnTo>
                  <a:lnTo>
                    <a:pt x="79" y="155"/>
                  </a:lnTo>
                  <a:lnTo>
                    <a:pt x="78" y="157"/>
                  </a:lnTo>
                  <a:lnTo>
                    <a:pt x="76" y="157"/>
                  </a:lnTo>
                  <a:lnTo>
                    <a:pt x="74" y="156"/>
                  </a:lnTo>
                  <a:lnTo>
                    <a:pt x="75" y="153"/>
                  </a:lnTo>
                  <a:lnTo>
                    <a:pt x="73" y="156"/>
                  </a:lnTo>
                  <a:lnTo>
                    <a:pt x="73" y="153"/>
                  </a:lnTo>
                  <a:lnTo>
                    <a:pt x="74" y="150"/>
                  </a:lnTo>
                  <a:lnTo>
                    <a:pt x="76" y="147"/>
                  </a:lnTo>
                  <a:lnTo>
                    <a:pt x="76" y="145"/>
                  </a:lnTo>
                  <a:lnTo>
                    <a:pt x="71" y="151"/>
                  </a:lnTo>
                  <a:lnTo>
                    <a:pt x="73" y="146"/>
                  </a:lnTo>
                  <a:lnTo>
                    <a:pt x="69" y="151"/>
                  </a:lnTo>
                  <a:lnTo>
                    <a:pt x="68" y="144"/>
                  </a:lnTo>
                  <a:lnTo>
                    <a:pt x="68" y="140"/>
                  </a:lnTo>
                  <a:lnTo>
                    <a:pt x="69" y="135"/>
                  </a:lnTo>
                  <a:lnTo>
                    <a:pt x="67" y="137"/>
                  </a:lnTo>
                  <a:lnTo>
                    <a:pt x="65" y="141"/>
                  </a:lnTo>
                  <a:lnTo>
                    <a:pt x="67" y="145"/>
                  </a:lnTo>
                  <a:lnTo>
                    <a:pt x="65" y="147"/>
                  </a:lnTo>
                  <a:lnTo>
                    <a:pt x="65" y="150"/>
                  </a:lnTo>
                  <a:lnTo>
                    <a:pt x="67" y="151"/>
                  </a:lnTo>
                  <a:lnTo>
                    <a:pt x="67" y="152"/>
                  </a:lnTo>
                  <a:lnTo>
                    <a:pt x="67" y="155"/>
                  </a:lnTo>
                  <a:lnTo>
                    <a:pt x="65" y="156"/>
                  </a:lnTo>
                  <a:lnTo>
                    <a:pt x="64" y="156"/>
                  </a:lnTo>
                  <a:lnTo>
                    <a:pt x="62" y="153"/>
                  </a:lnTo>
                  <a:lnTo>
                    <a:pt x="60" y="158"/>
                  </a:lnTo>
                  <a:lnTo>
                    <a:pt x="59" y="158"/>
                  </a:lnTo>
                  <a:lnTo>
                    <a:pt x="59" y="156"/>
                  </a:lnTo>
                  <a:lnTo>
                    <a:pt x="58" y="151"/>
                  </a:lnTo>
                  <a:lnTo>
                    <a:pt x="58" y="145"/>
                  </a:lnTo>
                  <a:lnTo>
                    <a:pt x="59" y="142"/>
                  </a:lnTo>
                  <a:lnTo>
                    <a:pt x="59" y="140"/>
                  </a:lnTo>
                  <a:lnTo>
                    <a:pt x="58" y="144"/>
                  </a:lnTo>
                  <a:lnTo>
                    <a:pt x="58" y="146"/>
                  </a:lnTo>
                  <a:lnTo>
                    <a:pt x="58" y="151"/>
                  </a:lnTo>
                  <a:lnTo>
                    <a:pt x="55" y="146"/>
                  </a:lnTo>
                  <a:lnTo>
                    <a:pt x="54" y="141"/>
                  </a:lnTo>
                  <a:lnTo>
                    <a:pt x="55" y="146"/>
                  </a:lnTo>
                  <a:lnTo>
                    <a:pt x="57" y="151"/>
                  </a:lnTo>
                  <a:lnTo>
                    <a:pt x="57" y="156"/>
                  </a:lnTo>
                  <a:lnTo>
                    <a:pt x="54" y="161"/>
                  </a:lnTo>
                  <a:lnTo>
                    <a:pt x="54" y="157"/>
                  </a:lnTo>
                  <a:lnTo>
                    <a:pt x="53" y="152"/>
                  </a:lnTo>
                  <a:lnTo>
                    <a:pt x="52" y="158"/>
                  </a:lnTo>
                  <a:lnTo>
                    <a:pt x="52" y="161"/>
                  </a:lnTo>
                  <a:lnTo>
                    <a:pt x="49" y="163"/>
                  </a:lnTo>
                  <a:lnTo>
                    <a:pt x="49" y="160"/>
                  </a:lnTo>
                  <a:lnTo>
                    <a:pt x="47" y="156"/>
                  </a:lnTo>
                  <a:lnTo>
                    <a:pt x="46" y="152"/>
                  </a:lnTo>
                  <a:lnTo>
                    <a:pt x="44" y="148"/>
                  </a:lnTo>
                  <a:lnTo>
                    <a:pt x="41" y="139"/>
                  </a:lnTo>
                  <a:lnTo>
                    <a:pt x="38" y="130"/>
                  </a:lnTo>
                  <a:lnTo>
                    <a:pt x="36" y="121"/>
                  </a:lnTo>
                  <a:lnTo>
                    <a:pt x="36" y="117"/>
                  </a:lnTo>
                  <a:lnTo>
                    <a:pt x="36" y="113"/>
                  </a:lnTo>
                  <a:lnTo>
                    <a:pt x="33" y="110"/>
                  </a:lnTo>
                  <a:lnTo>
                    <a:pt x="31" y="110"/>
                  </a:lnTo>
                  <a:lnTo>
                    <a:pt x="30" y="109"/>
                  </a:lnTo>
                  <a:lnTo>
                    <a:pt x="30" y="108"/>
                  </a:lnTo>
                  <a:lnTo>
                    <a:pt x="30" y="104"/>
                  </a:lnTo>
                  <a:lnTo>
                    <a:pt x="30" y="102"/>
                  </a:lnTo>
                  <a:lnTo>
                    <a:pt x="26" y="99"/>
                  </a:lnTo>
                  <a:lnTo>
                    <a:pt x="23" y="97"/>
                  </a:lnTo>
                  <a:lnTo>
                    <a:pt x="22" y="93"/>
                  </a:lnTo>
                  <a:lnTo>
                    <a:pt x="25" y="89"/>
                  </a:lnTo>
                  <a:lnTo>
                    <a:pt x="26" y="86"/>
                  </a:lnTo>
                  <a:lnTo>
                    <a:pt x="26" y="82"/>
                  </a:lnTo>
                  <a:lnTo>
                    <a:pt x="25" y="77"/>
                  </a:lnTo>
                  <a:lnTo>
                    <a:pt x="22" y="75"/>
                  </a:lnTo>
                  <a:lnTo>
                    <a:pt x="19" y="73"/>
                  </a:lnTo>
                  <a:lnTo>
                    <a:pt x="14" y="72"/>
                  </a:lnTo>
                  <a:lnTo>
                    <a:pt x="10" y="70"/>
                  </a:lnTo>
                  <a:lnTo>
                    <a:pt x="6" y="67"/>
                  </a:lnTo>
                  <a:lnTo>
                    <a:pt x="5" y="65"/>
                  </a:lnTo>
                  <a:lnTo>
                    <a:pt x="4" y="62"/>
                  </a:lnTo>
                  <a:lnTo>
                    <a:pt x="4" y="60"/>
                  </a:lnTo>
                  <a:lnTo>
                    <a:pt x="5" y="59"/>
                  </a:lnTo>
                  <a:lnTo>
                    <a:pt x="6" y="54"/>
                  </a:lnTo>
                  <a:lnTo>
                    <a:pt x="9" y="56"/>
                  </a:lnTo>
                  <a:lnTo>
                    <a:pt x="10" y="56"/>
                  </a:lnTo>
                  <a:lnTo>
                    <a:pt x="11" y="55"/>
                  </a:lnTo>
                  <a:lnTo>
                    <a:pt x="12" y="54"/>
                  </a:lnTo>
                  <a:lnTo>
                    <a:pt x="14" y="49"/>
                  </a:lnTo>
                  <a:lnTo>
                    <a:pt x="14" y="48"/>
                  </a:lnTo>
                  <a:lnTo>
                    <a:pt x="15" y="46"/>
                  </a:lnTo>
                  <a:lnTo>
                    <a:pt x="17" y="46"/>
                  </a:lnTo>
                  <a:lnTo>
                    <a:pt x="21" y="45"/>
                  </a:lnTo>
                  <a:lnTo>
                    <a:pt x="23" y="46"/>
                  </a:lnTo>
                  <a:lnTo>
                    <a:pt x="27" y="46"/>
                  </a:lnTo>
                  <a:lnTo>
                    <a:pt x="27" y="44"/>
                  </a:lnTo>
                  <a:lnTo>
                    <a:pt x="26" y="42"/>
                  </a:lnTo>
                  <a:lnTo>
                    <a:pt x="23" y="40"/>
                  </a:lnTo>
                  <a:lnTo>
                    <a:pt x="22" y="38"/>
                  </a:lnTo>
                  <a:lnTo>
                    <a:pt x="21" y="37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4" y="35"/>
                  </a:lnTo>
                  <a:lnTo>
                    <a:pt x="10" y="30"/>
                  </a:lnTo>
                  <a:lnTo>
                    <a:pt x="5" y="27"/>
                  </a:lnTo>
                  <a:lnTo>
                    <a:pt x="1" y="24"/>
                  </a:lnTo>
                  <a:lnTo>
                    <a:pt x="0" y="22"/>
                  </a:lnTo>
                  <a:lnTo>
                    <a:pt x="0" y="17"/>
                  </a:lnTo>
                  <a:lnTo>
                    <a:pt x="3" y="11"/>
                  </a:lnTo>
                  <a:lnTo>
                    <a:pt x="9" y="7"/>
                  </a:lnTo>
                  <a:lnTo>
                    <a:pt x="6" y="3"/>
                  </a:lnTo>
                  <a:lnTo>
                    <a:pt x="3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9" name="Freeform 326">
              <a:extLst>
                <a:ext uri="{FF2B5EF4-FFF2-40B4-BE49-F238E27FC236}">
                  <a16:creationId xmlns:a16="http://schemas.microsoft.com/office/drawing/2014/main" id="{8535E531-6415-48A7-852B-0E37C63FF6A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0919" y="3760901"/>
              <a:ext cx="4216" cy="4216"/>
            </a:xfrm>
            <a:custGeom>
              <a:avLst/>
              <a:gdLst>
                <a:gd name="T0" fmla="*/ 2 w 5"/>
                <a:gd name="T1" fmla="*/ 0 h 4"/>
                <a:gd name="T2" fmla="*/ 0 w 5"/>
                <a:gd name="T3" fmla="*/ 4 h 4"/>
                <a:gd name="T4" fmla="*/ 5 w 5"/>
                <a:gd name="T5" fmla="*/ 4 h 4"/>
                <a:gd name="T6" fmla="*/ 4 w 5"/>
                <a:gd name="T7" fmla="*/ 1 h 4"/>
                <a:gd name="T8" fmla="*/ 2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2" y="0"/>
                  </a:moveTo>
                  <a:lnTo>
                    <a:pt x="0" y="4"/>
                  </a:lnTo>
                  <a:lnTo>
                    <a:pt x="5" y="4"/>
                  </a:lnTo>
                  <a:lnTo>
                    <a:pt x="4" y="1"/>
                  </a:lnTo>
                  <a:lnTo>
                    <a:pt x="2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0" name="Freeform 327">
              <a:extLst>
                <a:ext uri="{FF2B5EF4-FFF2-40B4-BE49-F238E27FC236}">
                  <a16:creationId xmlns:a16="http://schemas.microsoft.com/office/drawing/2014/main" id="{ABB63646-4D2C-4E8D-A637-0439E609856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458" y="3756685"/>
              <a:ext cx="4216" cy="6324"/>
            </a:xfrm>
            <a:custGeom>
              <a:avLst/>
              <a:gdLst>
                <a:gd name="T0" fmla="*/ 0 w 5"/>
                <a:gd name="T1" fmla="*/ 2 h 4"/>
                <a:gd name="T2" fmla="*/ 0 w 5"/>
                <a:gd name="T3" fmla="*/ 4 h 4"/>
                <a:gd name="T4" fmla="*/ 3 w 5"/>
                <a:gd name="T5" fmla="*/ 4 h 4"/>
                <a:gd name="T6" fmla="*/ 5 w 5"/>
                <a:gd name="T7" fmla="*/ 4 h 4"/>
                <a:gd name="T8" fmla="*/ 5 w 5"/>
                <a:gd name="T9" fmla="*/ 2 h 4"/>
                <a:gd name="T10" fmla="*/ 5 w 5"/>
                <a:gd name="T11" fmla="*/ 0 h 4"/>
                <a:gd name="T12" fmla="*/ 3 w 5"/>
                <a:gd name="T13" fmla="*/ 2 h 4"/>
                <a:gd name="T14" fmla="*/ 0 w 5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4">
                  <a:moveTo>
                    <a:pt x="0" y="2"/>
                  </a:moveTo>
                  <a:lnTo>
                    <a:pt x="0" y="4"/>
                  </a:lnTo>
                  <a:lnTo>
                    <a:pt x="3" y="4"/>
                  </a:lnTo>
                  <a:lnTo>
                    <a:pt x="5" y="4"/>
                  </a:lnTo>
                  <a:lnTo>
                    <a:pt x="5" y="2"/>
                  </a:lnTo>
                  <a:lnTo>
                    <a:pt x="5" y="0"/>
                  </a:lnTo>
                  <a:lnTo>
                    <a:pt x="3" y="2"/>
                  </a:lnTo>
                  <a:lnTo>
                    <a:pt x="0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1" name="Freeform 328">
              <a:extLst>
                <a:ext uri="{FF2B5EF4-FFF2-40B4-BE49-F238E27FC236}">
                  <a16:creationId xmlns:a16="http://schemas.microsoft.com/office/drawing/2014/main" id="{B2785F49-3501-4511-B7B9-099828D9D16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13077" y="3744037"/>
              <a:ext cx="4216" cy="6324"/>
            </a:xfrm>
            <a:custGeom>
              <a:avLst/>
              <a:gdLst>
                <a:gd name="T0" fmla="*/ 0 w 5"/>
                <a:gd name="T1" fmla="*/ 0 h 5"/>
                <a:gd name="T2" fmla="*/ 0 w 5"/>
                <a:gd name="T3" fmla="*/ 3 h 5"/>
                <a:gd name="T4" fmla="*/ 1 w 5"/>
                <a:gd name="T5" fmla="*/ 4 h 5"/>
                <a:gd name="T6" fmla="*/ 2 w 5"/>
                <a:gd name="T7" fmla="*/ 5 h 5"/>
                <a:gd name="T8" fmla="*/ 5 w 5"/>
                <a:gd name="T9" fmla="*/ 4 h 5"/>
                <a:gd name="T10" fmla="*/ 2 w 5"/>
                <a:gd name="T11" fmla="*/ 3 h 5"/>
                <a:gd name="T12" fmla="*/ 0 w 5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5">
                  <a:moveTo>
                    <a:pt x="0" y="0"/>
                  </a:moveTo>
                  <a:lnTo>
                    <a:pt x="0" y="3"/>
                  </a:lnTo>
                  <a:lnTo>
                    <a:pt x="1" y="4"/>
                  </a:lnTo>
                  <a:lnTo>
                    <a:pt x="2" y="5"/>
                  </a:lnTo>
                  <a:lnTo>
                    <a:pt x="5" y="4"/>
                  </a:ln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2" name="Freeform 329">
              <a:extLst>
                <a:ext uri="{FF2B5EF4-FFF2-40B4-BE49-F238E27FC236}">
                  <a16:creationId xmlns:a16="http://schemas.microsoft.com/office/drawing/2014/main" id="{E6C96F6E-6F41-4521-B0F1-7F321E8D82D0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4694" y="3693448"/>
              <a:ext cx="2109" cy="2109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1 h 3"/>
                <a:gd name="T4" fmla="*/ 3 w 3"/>
                <a:gd name="T5" fmla="*/ 3 h 3"/>
                <a:gd name="T6" fmla="*/ 0 w 3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1"/>
                  </a:lnTo>
                  <a:lnTo>
                    <a:pt x="3" y="3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3" name="Freeform 330">
              <a:extLst>
                <a:ext uri="{FF2B5EF4-FFF2-40B4-BE49-F238E27FC236}">
                  <a16:creationId xmlns:a16="http://schemas.microsoft.com/office/drawing/2014/main" id="{AC407882-10FD-4A57-8209-6E10956BBF7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2098" y="3676585"/>
              <a:ext cx="14756" cy="25295"/>
            </a:xfrm>
            <a:custGeom>
              <a:avLst/>
              <a:gdLst>
                <a:gd name="T0" fmla="*/ 3 w 14"/>
                <a:gd name="T1" fmla="*/ 25 h 25"/>
                <a:gd name="T2" fmla="*/ 4 w 14"/>
                <a:gd name="T3" fmla="*/ 22 h 25"/>
                <a:gd name="T4" fmla="*/ 5 w 14"/>
                <a:gd name="T5" fmla="*/ 19 h 25"/>
                <a:gd name="T6" fmla="*/ 5 w 14"/>
                <a:gd name="T7" fmla="*/ 15 h 25"/>
                <a:gd name="T8" fmla="*/ 7 w 14"/>
                <a:gd name="T9" fmla="*/ 13 h 25"/>
                <a:gd name="T10" fmla="*/ 9 w 14"/>
                <a:gd name="T11" fmla="*/ 10 h 25"/>
                <a:gd name="T12" fmla="*/ 13 w 14"/>
                <a:gd name="T13" fmla="*/ 7 h 25"/>
                <a:gd name="T14" fmla="*/ 14 w 14"/>
                <a:gd name="T15" fmla="*/ 4 h 25"/>
                <a:gd name="T16" fmla="*/ 14 w 14"/>
                <a:gd name="T17" fmla="*/ 0 h 25"/>
                <a:gd name="T18" fmla="*/ 12 w 14"/>
                <a:gd name="T19" fmla="*/ 2 h 25"/>
                <a:gd name="T20" fmla="*/ 9 w 14"/>
                <a:gd name="T21" fmla="*/ 4 h 25"/>
                <a:gd name="T22" fmla="*/ 7 w 14"/>
                <a:gd name="T23" fmla="*/ 7 h 25"/>
                <a:gd name="T24" fmla="*/ 4 w 14"/>
                <a:gd name="T25" fmla="*/ 4 h 25"/>
                <a:gd name="T26" fmla="*/ 5 w 14"/>
                <a:gd name="T27" fmla="*/ 9 h 25"/>
                <a:gd name="T28" fmla="*/ 4 w 14"/>
                <a:gd name="T29" fmla="*/ 10 h 25"/>
                <a:gd name="T30" fmla="*/ 3 w 14"/>
                <a:gd name="T31" fmla="*/ 13 h 25"/>
                <a:gd name="T32" fmla="*/ 0 w 14"/>
                <a:gd name="T33" fmla="*/ 19 h 25"/>
                <a:gd name="T34" fmla="*/ 2 w 14"/>
                <a:gd name="T35" fmla="*/ 22 h 25"/>
                <a:gd name="T36" fmla="*/ 3 w 14"/>
                <a:gd name="T3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" h="25">
                  <a:moveTo>
                    <a:pt x="3" y="25"/>
                  </a:moveTo>
                  <a:lnTo>
                    <a:pt x="4" y="22"/>
                  </a:lnTo>
                  <a:lnTo>
                    <a:pt x="5" y="19"/>
                  </a:lnTo>
                  <a:lnTo>
                    <a:pt x="5" y="15"/>
                  </a:lnTo>
                  <a:lnTo>
                    <a:pt x="7" y="13"/>
                  </a:lnTo>
                  <a:lnTo>
                    <a:pt x="9" y="10"/>
                  </a:lnTo>
                  <a:lnTo>
                    <a:pt x="13" y="7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12" y="2"/>
                  </a:lnTo>
                  <a:lnTo>
                    <a:pt x="9" y="4"/>
                  </a:lnTo>
                  <a:lnTo>
                    <a:pt x="7" y="7"/>
                  </a:lnTo>
                  <a:lnTo>
                    <a:pt x="4" y="4"/>
                  </a:lnTo>
                  <a:lnTo>
                    <a:pt x="5" y="9"/>
                  </a:lnTo>
                  <a:lnTo>
                    <a:pt x="4" y="10"/>
                  </a:lnTo>
                  <a:lnTo>
                    <a:pt x="3" y="13"/>
                  </a:lnTo>
                  <a:lnTo>
                    <a:pt x="0" y="19"/>
                  </a:lnTo>
                  <a:lnTo>
                    <a:pt x="2" y="22"/>
                  </a:lnTo>
                  <a:lnTo>
                    <a:pt x="3" y="2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4" name="Freeform 331">
              <a:extLst>
                <a:ext uri="{FF2B5EF4-FFF2-40B4-BE49-F238E27FC236}">
                  <a16:creationId xmlns:a16="http://schemas.microsoft.com/office/drawing/2014/main" id="{BDC94529-387B-48D4-9979-77AD01ABBE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8961" y="3655506"/>
              <a:ext cx="2109" cy="2109"/>
            </a:xfrm>
            <a:custGeom>
              <a:avLst/>
              <a:gdLst>
                <a:gd name="T0" fmla="*/ 0 w 4"/>
                <a:gd name="T1" fmla="*/ 2 h 3"/>
                <a:gd name="T2" fmla="*/ 1 w 4"/>
                <a:gd name="T3" fmla="*/ 3 h 3"/>
                <a:gd name="T4" fmla="*/ 4 w 4"/>
                <a:gd name="T5" fmla="*/ 0 h 3"/>
                <a:gd name="T6" fmla="*/ 0 w 4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2"/>
                  </a:moveTo>
                  <a:lnTo>
                    <a:pt x="1" y="3"/>
                  </a:lnTo>
                  <a:lnTo>
                    <a:pt x="4" y="0"/>
                  </a:lnTo>
                  <a:lnTo>
                    <a:pt x="0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5" name="Freeform 332">
              <a:extLst>
                <a:ext uri="{FF2B5EF4-FFF2-40B4-BE49-F238E27FC236}">
                  <a16:creationId xmlns:a16="http://schemas.microsoft.com/office/drawing/2014/main" id="{C8B593B8-02BA-4AFB-B290-E929DD8EC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5284" y="3638643"/>
              <a:ext cx="4216" cy="6324"/>
            </a:xfrm>
            <a:custGeom>
              <a:avLst/>
              <a:gdLst>
                <a:gd name="T0" fmla="*/ 0 w 4"/>
                <a:gd name="T1" fmla="*/ 0 h 6"/>
                <a:gd name="T2" fmla="*/ 0 w 4"/>
                <a:gd name="T3" fmla="*/ 2 h 6"/>
                <a:gd name="T4" fmla="*/ 0 w 4"/>
                <a:gd name="T5" fmla="*/ 3 h 6"/>
                <a:gd name="T6" fmla="*/ 3 w 4"/>
                <a:gd name="T7" fmla="*/ 6 h 6"/>
                <a:gd name="T8" fmla="*/ 4 w 4"/>
                <a:gd name="T9" fmla="*/ 6 h 6"/>
                <a:gd name="T10" fmla="*/ 0 w 4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lnTo>
                    <a:pt x="0" y="2"/>
                  </a:lnTo>
                  <a:lnTo>
                    <a:pt x="0" y="3"/>
                  </a:lnTo>
                  <a:lnTo>
                    <a:pt x="3" y="6"/>
                  </a:ln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6" name="Freeform 333">
              <a:extLst>
                <a:ext uri="{FF2B5EF4-FFF2-40B4-BE49-F238E27FC236}">
                  <a16:creationId xmlns:a16="http://schemas.microsoft.com/office/drawing/2014/main" id="{A8737149-7F0E-421E-8C50-7A3BCDC720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500" y="3628104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4 w 4"/>
                <a:gd name="T3" fmla="*/ 2 h 2"/>
                <a:gd name="T4" fmla="*/ 0 w 4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4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7" name="Freeform 334">
              <a:extLst>
                <a:ext uri="{FF2B5EF4-FFF2-40B4-BE49-F238E27FC236}">
                  <a16:creationId xmlns:a16="http://schemas.microsoft.com/office/drawing/2014/main" id="{D0835EFA-FE4B-45A3-9906-FE32FF49217E}"/>
                </a:ext>
              </a:extLst>
            </p:cNvPr>
            <p:cNvSpPr>
              <a:spLocks/>
            </p:cNvSpPr>
            <p:nvPr/>
          </p:nvSpPr>
          <p:spPr bwMode="auto">
            <a:xfrm>
              <a:off x="9601608" y="3617564"/>
              <a:ext cx="10540" cy="14756"/>
            </a:xfrm>
            <a:custGeom>
              <a:avLst/>
              <a:gdLst>
                <a:gd name="T0" fmla="*/ 9 w 11"/>
                <a:gd name="T1" fmla="*/ 0 h 13"/>
                <a:gd name="T2" fmla="*/ 6 w 11"/>
                <a:gd name="T3" fmla="*/ 2 h 13"/>
                <a:gd name="T4" fmla="*/ 2 w 11"/>
                <a:gd name="T5" fmla="*/ 6 h 13"/>
                <a:gd name="T6" fmla="*/ 0 w 11"/>
                <a:gd name="T7" fmla="*/ 7 h 13"/>
                <a:gd name="T8" fmla="*/ 0 w 11"/>
                <a:gd name="T9" fmla="*/ 10 h 13"/>
                <a:gd name="T10" fmla="*/ 0 w 11"/>
                <a:gd name="T11" fmla="*/ 11 h 13"/>
                <a:gd name="T12" fmla="*/ 2 w 11"/>
                <a:gd name="T13" fmla="*/ 12 h 13"/>
                <a:gd name="T14" fmla="*/ 4 w 11"/>
                <a:gd name="T15" fmla="*/ 13 h 13"/>
                <a:gd name="T16" fmla="*/ 6 w 11"/>
                <a:gd name="T17" fmla="*/ 12 h 13"/>
                <a:gd name="T18" fmla="*/ 4 w 11"/>
                <a:gd name="T19" fmla="*/ 10 h 13"/>
                <a:gd name="T20" fmla="*/ 6 w 11"/>
                <a:gd name="T21" fmla="*/ 7 h 13"/>
                <a:gd name="T22" fmla="*/ 7 w 11"/>
                <a:gd name="T23" fmla="*/ 6 h 13"/>
                <a:gd name="T24" fmla="*/ 9 w 11"/>
                <a:gd name="T25" fmla="*/ 5 h 13"/>
                <a:gd name="T26" fmla="*/ 11 w 11"/>
                <a:gd name="T27" fmla="*/ 3 h 13"/>
                <a:gd name="T28" fmla="*/ 9 w 11"/>
                <a:gd name="T2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13">
                  <a:moveTo>
                    <a:pt x="9" y="0"/>
                  </a:moveTo>
                  <a:lnTo>
                    <a:pt x="6" y="2"/>
                  </a:lnTo>
                  <a:lnTo>
                    <a:pt x="2" y="6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1"/>
                  </a:lnTo>
                  <a:lnTo>
                    <a:pt x="2" y="12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4" y="10"/>
                  </a:lnTo>
                  <a:lnTo>
                    <a:pt x="6" y="7"/>
                  </a:lnTo>
                  <a:lnTo>
                    <a:pt x="7" y="6"/>
                  </a:lnTo>
                  <a:lnTo>
                    <a:pt x="9" y="5"/>
                  </a:lnTo>
                  <a:lnTo>
                    <a:pt x="11" y="3"/>
                  </a:lnTo>
                  <a:lnTo>
                    <a:pt x="9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8" name="Freeform 335">
              <a:extLst>
                <a:ext uri="{FF2B5EF4-FFF2-40B4-BE49-F238E27FC236}">
                  <a16:creationId xmlns:a16="http://schemas.microsoft.com/office/drawing/2014/main" id="{ACC27FD1-3399-49F9-9534-DED259930B52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7831" y="3402558"/>
              <a:ext cx="4216" cy="12647"/>
            </a:xfrm>
            <a:custGeom>
              <a:avLst/>
              <a:gdLst>
                <a:gd name="T0" fmla="*/ 4 w 5"/>
                <a:gd name="T1" fmla="*/ 0 h 11"/>
                <a:gd name="T2" fmla="*/ 0 w 5"/>
                <a:gd name="T3" fmla="*/ 2 h 11"/>
                <a:gd name="T4" fmla="*/ 0 w 5"/>
                <a:gd name="T5" fmla="*/ 6 h 11"/>
                <a:gd name="T6" fmla="*/ 3 w 5"/>
                <a:gd name="T7" fmla="*/ 9 h 11"/>
                <a:gd name="T8" fmla="*/ 5 w 5"/>
                <a:gd name="T9" fmla="*/ 11 h 11"/>
                <a:gd name="T10" fmla="*/ 4 w 5"/>
                <a:gd name="T11" fmla="*/ 6 h 11"/>
                <a:gd name="T12" fmla="*/ 4 w 5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1">
                  <a:moveTo>
                    <a:pt x="4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3" y="9"/>
                  </a:lnTo>
                  <a:lnTo>
                    <a:pt x="5" y="11"/>
                  </a:lnTo>
                  <a:lnTo>
                    <a:pt x="4" y="6"/>
                  </a:lnTo>
                  <a:lnTo>
                    <a:pt x="4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9" name="Freeform 336">
              <a:extLst>
                <a:ext uri="{FF2B5EF4-FFF2-40B4-BE49-F238E27FC236}">
                  <a16:creationId xmlns:a16="http://schemas.microsoft.com/office/drawing/2014/main" id="{4BC5ED35-6CF1-405D-B491-1610D45D65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7831" y="3417314"/>
              <a:ext cx="4216" cy="6324"/>
            </a:xfrm>
            <a:custGeom>
              <a:avLst/>
              <a:gdLst>
                <a:gd name="T0" fmla="*/ 3 w 3"/>
                <a:gd name="T1" fmla="*/ 2 h 5"/>
                <a:gd name="T2" fmla="*/ 2 w 3"/>
                <a:gd name="T3" fmla="*/ 0 h 5"/>
                <a:gd name="T4" fmla="*/ 0 w 3"/>
                <a:gd name="T5" fmla="*/ 0 h 5"/>
                <a:gd name="T6" fmla="*/ 1 w 3"/>
                <a:gd name="T7" fmla="*/ 4 h 5"/>
                <a:gd name="T8" fmla="*/ 3 w 3"/>
                <a:gd name="T9" fmla="*/ 5 h 5"/>
                <a:gd name="T10" fmla="*/ 3 w 3"/>
                <a:gd name="T11" fmla="*/ 4 h 5"/>
                <a:gd name="T12" fmla="*/ 3 w 3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5">
                  <a:moveTo>
                    <a:pt x="3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1" y="4"/>
                  </a:lnTo>
                  <a:lnTo>
                    <a:pt x="3" y="5"/>
                  </a:lnTo>
                  <a:lnTo>
                    <a:pt x="3" y="4"/>
                  </a:lnTo>
                  <a:lnTo>
                    <a:pt x="3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0" name="Freeform 337">
              <a:extLst>
                <a:ext uri="{FF2B5EF4-FFF2-40B4-BE49-F238E27FC236}">
                  <a16:creationId xmlns:a16="http://schemas.microsoft.com/office/drawing/2014/main" id="{6BDD7AB4-A5B8-4CD8-8FDF-16ABEB265ED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32047" y="3470011"/>
              <a:ext cx="8432" cy="6324"/>
            </a:xfrm>
            <a:custGeom>
              <a:avLst/>
              <a:gdLst>
                <a:gd name="T0" fmla="*/ 2 w 8"/>
                <a:gd name="T1" fmla="*/ 2 h 6"/>
                <a:gd name="T2" fmla="*/ 3 w 8"/>
                <a:gd name="T3" fmla="*/ 6 h 6"/>
                <a:gd name="T4" fmla="*/ 8 w 8"/>
                <a:gd name="T5" fmla="*/ 3 h 6"/>
                <a:gd name="T6" fmla="*/ 7 w 8"/>
                <a:gd name="T7" fmla="*/ 2 h 6"/>
                <a:gd name="T8" fmla="*/ 4 w 8"/>
                <a:gd name="T9" fmla="*/ 1 h 6"/>
                <a:gd name="T10" fmla="*/ 0 w 8"/>
                <a:gd name="T11" fmla="*/ 0 h 6"/>
                <a:gd name="T12" fmla="*/ 2 w 8"/>
                <a:gd name="T13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6">
                  <a:moveTo>
                    <a:pt x="2" y="2"/>
                  </a:moveTo>
                  <a:lnTo>
                    <a:pt x="3" y="6"/>
                  </a:lnTo>
                  <a:lnTo>
                    <a:pt x="8" y="3"/>
                  </a:lnTo>
                  <a:lnTo>
                    <a:pt x="7" y="2"/>
                  </a:lnTo>
                  <a:lnTo>
                    <a:pt x="4" y="1"/>
                  </a:lnTo>
                  <a:lnTo>
                    <a:pt x="0" y="0"/>
                  </a:lnTo>
                  <a:lnTo>
                    <a:pt x="2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1" name="Freeform 347">
              <a:extLst>
                <a:ext uri="{FF2B5EF4-FFF2-40B4-BE49-F238E27FC236}">
                  <a16:creationId xmlns:a16="http://schemas.microsoft.com/office/drawing/2014/main" id="{87828C76-DFDC-4224-96A8-277CED2184FC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2147" y="3552219"/>
              <a:ext cx="8432" cy="6324"/>
            </a:xfrm>
            <a:custGeom>
              <a:avLst/>
              <a:gdLst>
                <a:gd name="T0" fmla="*/ 2 w 7"/>
                <a:gd name="T1" fmla="*/ 0 h 6"/>
                <a:gd name="T2" fmla="*/ 0 w 7"/>
                <a:gd name="T3" fmla="*/ 1 h 6"/>
                <a:gd name="T4" fmla="*/ 1 w 7"/>
                <a:gd name="T5" fmla="*/ 4 h 6"/>
                <a:gd name="T6" fmla="*/ 2 w 7"/>
                <a:gd name="T7" fmla="*/ 5 h 6"/>
                <a:gd name="T8" fmla="*/ 5 w 7"/>
                <a:gd name="T9" fmla="*/ 6 h 6"/>
                <a:gd name="T10" fmla="*/ 7 w 7"/>
                <a:gd name="T11" fmla="*/ 6 h 6"/>
                <a:gd name="T12" fmla="*/ 7 w 7"/>
                <a:gd name="T13" fmla="*/ 4 h 6"/>
                <a:gd name="T14" fmla="*/ 5 w 7"/>
                <a:gd name="T15" fmla="*/ 1 h 6"/>
                <a:gd name="T16" fmla="*/ 2 w 7"/>
                <a:gd name="T1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">
                  <a:moveTo>
                    <a:pt x="2" y="0"/>
                  </a:moveTo>
                  <a:lnTo>
                    <a:pt x="0" y="1"/>
                  </a:lnTo>
                  <a:lnTo>
                    <a:pt x="1" y="4"/>
                  </a:lnTo>
                  <a:lnTo>
                    <a:pt x="2" y="5"/>
                  </a:lnTo>
                  <a:lnTo>
                    <a:pt x="5" y="6"/>
                  </a:lnTo>
                  <a:lnTo>
                    <a:pt x="7" y="6"/>
                  </a:lnTo>
                  <a:lnTo>
                    <a:pt x="7" y="4"/>
                  </a:lnTo>
                  <a:lnTo>
                    <a:pt x="5" y="1"/>
                  </a:lnTo>
                  <a:lnTo>
                    <a:pt x="2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2" name="Freeform 353">
              <a:extLst>
                <a:ext uri="{FF2B5EF4-FFF2-40B4-BE49-F238E27FC236}">
                  <a16:creationId xmlns:a16="http://schemas.microsoft.com/office/drawing/2014/main" id="{53C0D83E-AF8A-46D9-AB76-7FED7D66BEB4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4795" y="3537463"/>
              <a:ext cx="4216" cy="14756"/>
            </a:xfrm>
            <a:custGeom>
              <a:avLst/>
              <a:gdLst>
                <a:gd name="T0" fmla="*/ 1 w 4"/>
                <a:gd name="T1" fmla="*/ 0 h 14"/>
                <a:gd name="T2" fmla="*/ 0 w 4"/>
                <a:gd name="T3" fmla="*/ 3 h 14"/>
                <a:gd name="T4" fmla="*/ 0 w 4"/>
                <a:gd name="T5" fmla="*/ 8 h 14"/>
                <a:gd name="T6" fmla="*/ 0 w 4"/>
                <a:gd name="T7" fmla="*/ 13 h 14"/>
                <a:gd name="T8" fmla="*/ 1 w 4"/>
                <a:gd name="T9" fmla="*/ 14 h 14"/>
                <a:gd name="T10" fmla="*/ 4 w 4"/>
                <a:gd name="T11" fmla="*/ 14 h 14"/>
                <a:gd name="T12" fmla="*/ 2 w 4"/>
                <a:gd name="T13" fmla="*/ 11 h 14"/>
                <a:gd name="T14" fmla="*/ 2 w 4"/>
                <a:gd name="T15" fmla="*/ 7 h 14"/>
                <a:gd name="T16" fmla="*/ 2 w 4"/>
                <a:gd name="T17" fmla="*/ 3 h 14"/>
                <a:gd name="T18" fmla="*/ 1 w 4"/>
                <a:gd name="T1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4">
                  <a:moveTo>
                    <a:pt x="1" y="0"/>
                  </a:moveTo>
                  <a:lnTo>
                    <a:pt x="0" y="3"/>
                  </a:lnTo>
                  <a:lnTo>
                    <a:pt x="0" y="8"/>
                  </a:lnTo>
                  <a:lnTo>
                    <a:pt x="0" y="13"/>
                  </a:lnTo>
                  <a:lnTo>
                    <a:pt x="1" y="14"/>
                  </a:lnTo>
                  <a:lnTo>
                    <a:pt x="4" y="14"/>
                  </a:lnTo>
                  <a:lnTo>
                    <a:pt x="2" y="11"/>
                  </a:lnTo>
                  <a:lnTo>
                    <a:pt x="2" y="7"/>
                  </a:lnTo>
                  <a:lnTo>
                    <a:pt x="2" y="3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3" name="Freeform 422">
              <a:extLst>
                <a:ext uri="{FF2B5EF4-FFF2-40B4-BE49-F238E27FC236}">
                  <a16:creationId xmlns:a16="http://schemas.microsoft.com/office/drawing/2014/main" id="{B55438D7-D2AE-44D8-88C7-45D95C02D39C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9967" y="3900022"/>
              <a:ext cx="263488" cy="512220"/>
            </a:xfrm>
            <a:custGeom>
              <a:avLst/>
              <a:gdLst>
                <a:gd name="T0" fmla="*/ 10 w 251"/>
                <a:gd name="T1" fmla="*/ 54 h 485"/>
                <a:gd name="T2" fmla="*/ 9 w 251"/>
                <a:gd name="T3" fmla="*/ 31 h 485"/>
                <a:gd name="T4" fmla="*/ 30 w 251"/>
                <a:gd name="T5" fmla="*/ 23 h 485"/>
                <a:gd name="T6" fmla="*/ 42 w 251"/>
                <a:gd name="T7" fmla="*/ 13 h 485"/>
                <a:gd name="T8" fmla="*/ 53 w 251"/>
                <a:gd name="T9" fmla="*/ 2 h 485"/>
                <a:gd name="T10" fmla="*/ 75 w 251"/>
                <a:gd name="T11" fmla="*/ 1 h 485"/>
                <a:gd name="T12" fmla="*/ 84 w 251"/>
                <a:gd name="T13" fmla="*/ 13 h 485"/>
                <a:gd name="T14" fmla="*/ 93 w 251"/>
                <a:gd name="T15" fmla="*/ 29 h 485"/>
                <a:gd name="T16" fmla="*/ 103 w 251"/>
                <a:gd name="T17" fmla="*/ 26 h 485"/>
                <a:gd name="T18" fmla="*/ 110 w 251"/>
                <a:gd name="T19" fmla="*/ 51 h 485"/>
                <a:gd name="T20" fmla="*/ 109 w 251"/>
                <a:gd name="T21" fmla="*/ 66 h 485"/>
                <a:gd name="T22" fmla="*/ 114 w 251"/>
                <a:gd name="T23" fmla="*/ 96 h 485"/>
                <a:gd name="T24" fmla="*/ 136 w 251"/>
                <a:gd name="T25" fmla="*/ 74 h 485"/>
                <a:gd name="T26" fmla="*/ 153 w 251"/>
                <a:gd name="T27" fmla="*/ 81 h 485"/>
                <a:gd name="T28" fmla="*/ 166 w 251"/>
                <a:gd name="T29" fmla="*/ 75 h 485"/>
                <a:gd name="T30" fmla="*/ 182 w 251"/>
                <a:gd name="T31" fmla="*/ 66 h 485"/>
                <a:gd name="T32" fmla="*/ 213 w 251"/>
                <a:gd name="T33" fmla="*/ 93 h 485"/>
                <a:gd name="T34" fmla="*/ 223 w 251"/>
                <a:gd name="T35" fmla="*/ 130 h 485"/>
                <a:gd name="T36" fmla="*/ 243 w 251"/>
                <a:gd name="T37" fmla="*/ 151 h 485"/>
                <a:gd name="T38" fmla="*/ 248 w 251"/>
                <a:gd name="T39" fmla="*/ 167 h 485"/>
                <a:gd name="T40" fmla="*/ 250 w 251"/>
                <a:gd name="T41" fmla="*/ 185 h 485"/>
                <a:gd name="T42" fmla="*/ 237 w 251"/>
                <a:gd name="T43" fmla="*/ 200 h 485"/>
                <a:gd name="T44" fmla="*/ 202 w 251"/>
                <a:gd name="T45" fmla="*/ 198 h 485"/>
                <a:gd name="T46" fmla="*/ 171 w 251"/>
                <a:gd name="T47" fmla="*/ 220 h 485"/>
                <a:gd name="T48" fmla="*/ 166 w 251"/>
                <a:gd name="T49" fmla="*/ 243 h 485"/>
                <a:gd name="T50" fmla="*/ 184 w 251"/>
                <a:gd name="T51" fmla="*/ 284 h 485"/>
                <a:gd name="T52" fmla="*/ 173 w 251"/>
                <a:gd name="T53" fmla="*/ 275 h 485"/>
                <a:gd name="T54" fmla="*/ 162 w 251"/>
                <a:gd name="T55" fmla="*/ 263 h 485"/>
                <a:gd name="T56" fmla="*/ 153 w 251"/>
                <a:gd name="T57" fmla="*/ 258 h 485"/>
                <a:gd name="T58" fmla="*/ 126 w 251"/>
                <a:gd name="T59" fmla="*/ 254 h 485"/>
                <a:gd name="T60" fmla="*/ 123 w 251"/>
                <a:gd name="T61" fmla="*/ 227 h 485"/>
                <a:gd name="T62" fmla="*/ 101 w 251"/>
                <a:gd name="T63" fmla="*/ 228 h 485"/>
                <a:gd name="T64" fmla="*/ 96 w 251"/>
                <a:gd name="T65" fmla="*/ 252 h 485"/>
                <a:gd name="T66" fmla="*/ 94 w 251"/>
                <a:gd name="T67" fmla="*/ 283 h 485"/>
                <a:gd name="T68" fmla="*/ 82 w 251"/>
                <a:gd name="T69" fmla="*/ 326 h 485"/>
                <a:gd name="T70" fmla="*/ 82 w 251"/>
                <a:gd name="T71" fmla="*/ 356 h 485"/>
                <a:gd name="T72" fmla="*/ 90 w 251"/>
                <a:gd name="T73" fmla="*/ 369 h 485"/>
                <a:gd name="T74" fmla="*/ 107 w 251"/>
                <a:gd name="T75" fmla="*/ 388 h 485"/>
                <a:gd name="T76" fmla="*/ 122 w 251"/>
                <a:gd name="T77" fmla="*/ 425 h 485"/>
                <a:gd name="T78" fmla="*/ 114 w 251"/>
                <a:gd name="T79" fmla="*/ 417 h 485"/>
                <a:gd name="T80" fmla="*/ 126 w 251"/>
                <a:gd name="T81" fmla="*/ 436 h 485"/>
                <a:gd name="T82" fmla="*/ 154 w 251"/>
                <a:gd name="T83" fmla="*/ 447 h 485"/>
                <a:gd name="T84" fmla="*/ 171 w 251"/>
                <a:gd name="T85" fmla="*/ 469 h 485"/>
                <a:gd name="T86" fmla="*/ 159 w 251"/>
                <a:gd name="T87" fmla="*/ 479 h 485"/>
                <a:gd name="T88" fmla="*/ 141 w 251"/>
                <a:gd name="T89" fmla="*/ 482 h 485"/>
                <a:gd name="T90" fmla="*/ 135 w 251"/>
                <a:gd name="T91" fmla="*/ 462 h 485"/>
                <a:gd name="T92" fmla="*/ 116 w 251"/>
                <a:gd name="T93" fmla="*/ 452 h 485"/>
                <a:gd name="T94" fmla="*/ 103 w 251"/>
                <a:gd name="T95" fmla="*/ 446 h 485"/>
                <a:gd name="T96" fmla="*/ 96 w 251"/>
                <a:gd name="T97" fmla="*/ 431 h 485"/>
                <a:gd name="T98" fmla="*/ 87 w 251"/>
                <a:gd name="T99" fmla="*/ 419 h 485"/>
                <a:gd name="T100" fmla="*/ 77 w 251"/>
                <a:gd name="T101" fmla="*/ 408 h 485"/>
                <a:gd name="T102" fmla="*/ 66 w 251"/>
                <a:gd name="T103" fmla="*/ 397 h 485"/>
                <a:gd name="T104" fmla="*/ 56 w 251"/>
                <a:gd name="T105" fmla="*/ 382 h 485"/>
                <a:gd name="T106" fmla="*/ 72 w 251"/>
                <a:gd name="T107" fmla="*/ 316 h 485"/>
                <a:gd name="T108" fmla="*/ 89 w 251"/>
                <a:gd name="T109" fmla="*/ 285 h 485"/>
                <a:gd name="T110" fmla="*/ 79 w 251"/>
                <a:gd name="T111" fmla="*/ 259 h 485"/>
                <a:gd name="T112" fmla="*/ 69 w 251"/>
                <a:gd name="T113" fmla="*/ 219 h 485"/>
                <a:gd name="T114" fmla="*/ 37 w 251"/>
                <a:gd name="T115" fmla="*/ 173 h 485"/>
                <a:gd name="T116" fmla="*/ 47 w 251"/>
                <a:gd name="T117" fmla="*/ 163 h 485"/>
                <a:gd name="T118" fmla="*/ 50 w 251"/>
                <a:gd name="T119" fmla="*/ 141 h 485"/>
                <a:gd name="T120" fmla="*/ 40 w 251"/>
                <a:gd name="T121" fmla="*/ 117 h 485"/>
                <a:gd name="T122" fmla="*/ 14 w 251"/>
                <a:gd name="T123" fmla="*/ 83 h 485"/>
                <a:gd name="T124" fmla="*/ 0 w 251"/>
                <a:gd name="T125" fmla="*/ 6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1" h="485">
                  <a:moveTo>
                    <a:pt x="0" y="60"/>
                  </a:moveTo>
                  <a:lnTo>
                    <a:pt x="2" y="61"/>
                  </a:lnTo>
                  <a:lnTo>
                    <a:pt x="5" y="63"/>
                  </a:lnTo>
                  <a:lnTo>
                    <a:pt x="9" y="63"/>
                  </a:lnTo>
                  <a:lnTo>
                    <a:pt x="12" y="60"/>
                  </a:lnTo>
                  <a:lnTo>
                    <a:pt x="12" y="58"/>
                  </a:lnTo>
                  <a:lnTo>
                    <a:pt x="10" y="54"/>
                  </a:lnTo>
                  <a:lnTo>
                    <a:pt x="9" y="49"/>
                  </a:lnTo>
                  <a:lnTo>
                    <a:pt x="9" y="47"/>
                  </a:lnTo>
                  <a:lnTo>
                    <a:pt x="10" y="43"/>
                  </a:lnTo>
                  <a:lnTo>
                    <a:pt x="12" y="40"/>
                  </a:lnTo>
                  <a:lnTo>
                    <a:pt x="10" y="35"/>
                  </a:lnTo>
                  <a:lnTo>
                    <a:pt x="9" y="33"/>
                  </a:lnTo>
                  <a:lnTo>
                    <a:pt x="9" y="31"/>
                  </a:lnTo>
                  <a:lnTo>
                    <a:pt x="10" y="28"/>
                  </a:lnTo>
                  <a:lnTo>
                    <a:pt x="13" y="26"/>
                  </a:lnTo>
                  <a:lnTo>
                    <a:pt x="14" y="22"/>
                  </a:lnTo>
                  <a:lnTo>
                    <a:pt x="16" y="21"/>
                  </a:lnTo>
                  <a:lnTo>
                    <a:pt x="23" y="23"/>
                  </a:lnTo>
                  <a:lnTo>
                    <a:pt x="26" y="23"/>
                  </a:lnTo>
                  <a:lnTo>
                    <a:pt x="30" y="23"/>
                  </a:lnTo>
                  <a:lnTo>
                    <a:pt x="34" y="21"/>
                  </a:lnTo>
                  <a:lnTo>
                    <a:pt x="36" y="19"/>
                  </a:lnTo>
                  <a:lnTo>
                    <a:pt x="40" y="21"/>
                  </a:lnTo>
                  <a:lnTo>
                    <a:pt x="41" y="21"/>
                  </a:lnTo>
                  <a:lnTo>
                    <a:pt x="42" y="19"/>
                  </a:lnTo>
                  <a:lnTo>
                    <a:pt x="42" y="17"/>
                  </a:lnTo>
                  <a:lnTo>
                    <a:pt x="42" y="13"/>
                  </a:lnTo>
                  <a:lnTo>
                    <a:pt x="42" y="11"/>
                  </a:lnTo>
                  <a:lnTo>
                    <a:pt x="45" y="10"/>
                  </a:lnTo>
                  <a:lnTo>
                    <a:pt x="48" y="10"/>
                  </a:lnTo>
                  <a:lnTo>
                    <a:pt x="53" y="8"/>
                  </a:lnTo>
                  <a:lnTo>
                    <a:pt x="56" y="7"/>
                  </a:lnTo>
                  <a:lnTo>
                    <a:pt x="55" y="6"/>
                  </a:lnTo>
                  <a:lnTo>
                    <a:pt x="53" y="2"/>
                  </a:lnTo>
                  <a:lnTo>
                    <a:pt x="58" y="1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1" y="1"/>
                  </a:lnTo>
                  <a:lnTo>
                    <a:pt x="71" y="5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7" y="1"/>
                  </a:lnTo>
                  <a:lnTo>
                    <a:pt x="79" y="2"/>
                  </a:lnTo>
                  <a:lnTo>
                    <a:pt x="80" y="5"/>
                  </a:lnTo>
                  <a:lnTo>
                    <a:pt x="83" y="7"/>
                  </a:lnTo>
                  <a:lnTo>
                    <a:pt x="84" y="8"/>
                  </a:lnTo>
                  <a:lnTo>
                    <a:pt x="85" y="11"/>
                  </a:lnTo>
                  <a:lnTo>
                    <a:pt x="84" y="13"/>
                  </a:lnTo>
                  <a:lnTo>
                    <a:pt x="83" y="17"/>
                  </a:lnTo>
                  <a:lnTo>
                    <a:pt x="83" y="19"/>
                  </a:lnTo>
                  <a:lnTo>
                    <a:pt x="82" y="22"/>
                  </a:lnTo>
                  <a:lnTo>
                    <a:pt x="83" y="24"/>
                  </a:lnTo>
                  <a:lnTo>
                    <a:pt x="87" y="28"/>
                  </a:lnTo>
                  <a:lnTo>
                    <a:pt x="90" y="29"/>
                  </a:lnTo>
                  <a:lnTo>
                    <a:pt x="93" y="29"/>
                  </a:lnTo>
                  <a:lnTo>
                    <a:pt x="94" y="29"/>
                  </a:lnTo>
                  <a:lnTo>
                    <a:pt x="95" y="29"/>
                  </a:lnTo>
                  <a:lnTo>
                    <a:pt x="96" y="27"/>
                  </a:lnTo>
                  <a:lnTo>
                    <a:pt x="98" y="27"/>
                  </a:lnTo>
                  <a:lnTo>
                    <a:pt x="99" y="27"/>
                  </a:lnTo>
                  <a:lnTo>
                    <a:pt x="101" y="26"/>
                  </a:lnTo>
                  <a:lnTo>
                    <a:pt x="103" y="26"/>
                  </a:lnTo>
                  <a:lnTo>
                    <a:pt x="106" y="28"/>
                  </a:lnTo>
                  <a:lnTo>
                    <a:pt x="109" y="33"/>
                  </a:lnTo>
                  <a:lnTo>
                    <a:pt x="110" y="38"/>
                  </a:lnTo>
                  <a:lnTo>
                    <a:pt x="111" y="45"/>
                  </a:lnTo>
                  <a:lnTo>
                    <a:pt x="111" y="47"/>
                  </a:lnTo>
                  <a:lnTo>
                    <a:pt x="111" y="49"/>
                  </a:lnTo>
                  <a:lnTo>
                    <a:pt x="110" y="51"/>
                  </a:lnTo>
                  <a:lnTo>
                    <a:pt x="110" y="54"/>
                  </a:lnTo>
                  <a:lnTo>
                    <a:pt x="111" y="58"/>
                  </a:lnTo>
                  <a:lnTo>
                    <a:pt x="110" y="59"/>
                  </a:lnTo>
                  <a:lnTo>
                    <a:pt x="109" y="61"/>
                  </a:lnTo>
                  <a:lnTo>
                    <a:pt x="107" y="63"/>
                  </a:lnTo>
                  <a:lnTo>
                    <a:pt x="107" y="65"/>
                  </a:lnTo>
                  <a:lnTo>
                    <a:pt x="109" y="66"/>
                  </a:lnTo>
                  <a:lnTo>
                    <a:pt x="110" y="70"/>
                  </a:lnTo>
                  <a:lnTo>
                    <a:pt x="111" y="75"/>
                  </a:lnTo>
                  <a:lnTo>
                    <a:pt x="110" y="80"/>
                  </a:lnTo>
                  <a:lnTo>
                    <a:pt x="109" y="86"/>
                  </a:lnTo>
                  <a:lnTo>
                    <a:pt x="107" y="91"/>
                  </a:lnTo>
                  <a:lnTo>
                    <a:pt x="109" y="94"/>
                  </a:lnTo>
                  <a:lnTo>
                    <a:pt x="114" y="96"/>
                  </a:lnTo>
                  <a:lnTo>
                    <a:pt x="116" y="94"/>
                  </a:lnTo>
                  <a:lnTo>
                    <a:pt x="121" y="90"/>
                  </a:lnTo>
                  <a:lnTo>
                    <a:pt x="126" y="83"/>
                  </a:lnTo>
                  <a:lnTo>
                    <a:pt x="130" y="77"/>
                  </a:lnTo>
                  <a:lnTo>
                    <a:pt x="132" y="77"/>
                  </a:lnTo>
                  <a:lnTo>
                    <a:pt x="133" y="76"/>
                  </a:lnTo>
                  <a:lnTo>
                    <a:pt x="136" y="74"/>
                  </a:lnTo>
                  <a:lnTo>
                    <a:pt x="137" y="72"/>
                  </a:lnTo>
                  <a:lnTo>
                    <a:pt x="139" y="74"/>
                  </a:lnTo>
                  <a:lnTo>
                    <a:pt x="142" y="75"/>
                  </a:lnTo>
                  <a:lnTo>
                    <a:pt x="144" y="76"/>
                  </a:lnTo>
                  <a:lnTo>
                    <a:pt x="146" y="78"/>
                  </a:lnTo>
                  <a:lnTo>
                    <a:pt x="149" y="80"/>
                  </a:lnTo>
                  <a:lnTo>
                    <a:pt x="153" y="81"/>
                  </a:lnTo>
                  <a:lnTo>
                    <a:pt x="154" y="82"/>
                  </a:lnTo>
                  <a:lnTo>
                    <a:pt x="155" y="83"/>
                  </a:lnTo>
                  <a:lnTo>
                    <a:pt x="158" y="82"/>
                  </a:lnTo>
                  <a:lnTo>
                    <a:pt x="162" y="80"/>
                  </a:lnTo>
                  <a:lnTo>
                    <a:pt x="164" y="80"/>
                  </a:lnTo>
                  <a:lnTo>
                    <a:pt x="165" y="78"/>
                  </a:lnTo>
                  <a:lnTo>
                    <a:pt x="166" y="75"/>
                  </a:lnTo>
                  <a:lnTo>
                    <a:pt x="169" y="71"/>
                  </a:lnTo>
                  <a:lnTo>
                    <a:pt x="171" y="70"/>
                  </a:lnTo>
                  <a:lnTo>
                    <a:pt x="170" y="67"/>
                  </a:lnTo>
                  <a:lnTo>
                    <a:pt x="170" y="66"/>
                  </a:lnTo>
                  <a:lnTo>
                    <a:pt x="173" y="66"/>
                  </a:lnTo>
                  <a:lnTo>
                    <a:pt x="175" y="66"/>
                  </a:lnTo>
                  <a:lnTo>
                    <a:pt x="182" y="66"/>
                  </a:lnTo>
                  <a:lnTo>
                    <a:pt x="185" y="67"/>
                  </a:lnTo>
                  <a:lnTo>
                    <a:pt x="186" y="67"/>
                  </a:lnTo>
                  <a:lnTo>
                    <a:pt x="191" y="69"/>
                  </a:lnTo>
                  <a:lnTo>
                    <a:pt x="194" y="72"/>
                  </a:lnTo>
                  <a:lnTo>
                    <a:pt x="201" y="80"/>
                  </a:lnTo>
                  <a:lnTo>
                    <a:pt x="207" y="87"/>
                  </a:lnTo>
                  <a:lnTo>
                    <a:pt x="213" y="93"/>
                  </a:lnTo>
                  <a:lnTo>
                    <a:pt x="217" y="96"/>
                  </a:lnTo>
                  <a:lnTo>
                    <a:pt x="218" y="99"/>
                  </a:lnTo>
                  <a:lnTo>
                    <a:pt x="219" y="107"/>
                  </a:lnTo>
                  <a:lnTo>
                    <a:pt x="219" y="117"/>
                  </a:lnTo>
                  <a:lnTo>
                    <a:pt x="221" y="124"/>
                  </a:lnTo>
                  <a:lnTo>
                    <a:pt x="222" y="128"/>
                  </a:lnTo>
                  <a:lnTo>
                    <a:pt x="223" y="130"/>
                  </a:lnTo>
                  <a:lnTo>
                    <a:pt x="227" y="135"/>
                  </a:lnTo>
                  <a:lnTo>
                    <a:pt x="230" y="139"/>
                  </a:lnTo>
                  <a:lnTo>
                    <a:pt x="234" y="141"/>
                  </a:lnTo>
                  <a:lnTo>
                    <a:pt x="243" y="145"/>
                  </a:lnTo>
                  <a:lnTo>
                    <a:pt x="242" y="146"/>
                  </a:lnTo>
                  <a:lnTo>
                    <a:pt x="240" y="149"/>
                  </a:lnTo>
                  <a:lnTo>
                    <a:pt x="243" y="151"/>
                  </a:lnTo>
                  <a:lnTo>
                    <a:pt x="245" y="152"/>
                  </a:lnTo>
                  <a:lnTo>
                    <a:pt x="249" y="155"/>
                  </a:lnTo>
                  <a:lnTo>
                    <a:pt x="250" y="156"/>
                  </a:lnTo>
                  <a:lnTo>
                    <a:pt x="250" y="158"/>
                  </a:lnTo>
                  <a:lnTo>
                    <a:pt x="249" y="163"/>
                  </a:lnTo>
                  <a:lnTo>
                    <a:pt x="248" y="167"/>
                  </a:lnTo>
                  <a:lnTo>
                    <a:pt x="248" y="167"/>
                  </a:lnTo>
                  <a:lnTo>
                    <a:pt x="250" y="167"/>
                  </a:lnTo>
                  <a:lnTo>
                    <a:pt x="248" y="171"/>
                  </a:lnTo>
                  <a:lnTo>
                    <a:pt x="248" y="173"/>
                  </a:lnTo>
                  <a:lnTo>
                    <a:pt x="248" y="176"/>
                  </a:lnTo>
                  <a:lnTo>
                    <a:pt x="250" y="178"/>
                  </a:lnTo>
                  <a:lnTo>
                    <a:pt x="251" y="181"/>
                  </a:lnTo>
                  <a:lnTo>
                    <a:pt x="250" y="185"/>
                  </a:lnTo>
                  <a:lnTo>
                    <a:pt x="250" y="190"/>
                  </a:lnTo>
                  <a:lnTo>
                    <a:pt x="250" y="194"/>
                  </a:lnTo>
                  <a:lnTo>
                    <a:pt x="246" y="198"/>
                  </a:lnTo>
                  <a:lnTo>
                    <a:pt x="243" y="200"/>
                  </a:lnTo>
                  <a:lnTo>
                    <a:pt x="240" y="201"/>
                  </a:lnTo>
                  <a:lnTo>
                    <a:pt x="239" y="203"/>
                  </a:lnTo>
                  <a:lnTo>
                    <a:pt x="237" y="200"/>
                  </a:lnTo>
                  <a:lnTo>
                    <a:pt x="233" y="197"/>
                  </a:lnTo>
                  <a:lnTo>
                    <a:pt x="228" y="198"/>
                  </a:lnTo>
                  <a:lnTo>
                    <a:pt x="222" y="198"/>
                  </a:lnTo>
                  <a:lnTo>
                    <a:pt x="217" y="198"/>
                  </a:lnTo>
                  <a:lnTo>
                    <a:pt x="212" y="198"/>
                  </a:lnTo>
                  <a:lnTo>
                    <a:pt x="207" y="199"/>
                  </a:lnTo>
                  <a:lnTo>
                    <a:pt x="202" y="198"/>
                  </a:lnTo>
                  <a:lnTo>
                    <a:pt x="198" y="197"/>
                  </a:lnTo>
                  <a:lnTo>
                    <a:pt x="191" y="198"/>
                  </a:lnTo>
                  <a:lnTo>
                    <a:pt x="184" y="200"/>
                  </a:lnTo>
                  <a:lnTo>
                    <a:pt x="180" y="203"/>
                  </a:lnTo>
                  <a:lnTo>
                    <a:pt x="178" y="206"/>
                  </a:lnTo>
                  <a:lnTo>
                    <a:pt x="174" y="216"/>
                  </a:lnTo>
                  <a:lnTo>
                    <a:pt x="171" y="220"/>
                  </a:lnTo>
                  <a:lnTo>
                    <a:pt x="168" y="224"/>
                  </a:lnTo>
                  <a:lnTo>
                    <a:pt x="165" y="225"/>
                  </a:lnTo>
                  <a:lnTo>
                    <a:pt x="162" y="226"/>
                  </a:lnTo>
                  <a:lnTo>
                    <a:pt x="163" y="230"/>
                  </a:lnTo>
                  <a:lnTo>
                    <a:pt x="163" y="233"/>
                  </a:lnTo>
                  <a:lnTo>
                    <a:pt x="164" y="237"/>
                  </a:lnTo>
                  <a:lnTo>
                    <a:pt x="166" y="243"/>
                  </a:lnTo>
                  <a:lnTo>
                    <a:pt x="170" y="249"/>
                  </a:lnTo>
                  <a:lnTo>
                    <a:pt x="174" y="257"/>
                  </a:lnTo>
                  <a:lnTo>
                    <a:pt x="178" y="263"/>
                  </a:lnTo>
                  <a:lnTo>
                    <a:pt x="179" y="270"/>
                  </a:lnTo>
                  <a:lnTo>
                    <a:pt x="180" y="275"/>
                  </a:lnTo>
                  <a:lnTo>
                    <a:pt x="181" y="280"/>
                  </a:lnTo>
                  <a:lnTo>
                    <a:pt x="184" y="284"/>
                  </a:lnTo>
                  <a:lnTo>
                    <a:pt x="184" y="289"/>
                  </a:lnTo>
                  <a:lnTo>
                    <a:pt x="182" y="285"/>
                  </a:lnTo>
                  <a:lnTo>
                    <a:pt x="180" y="281"/>
                  </a:lnTo>
                  <a:lnTo>
                    <a:pt x="178" y="275"/>
                  </a:lnTo>
                  <a:lnTo>
                    <a:pt x="175" y="271"/>
                  </a:lnTo>
                  <a:lnTo>
                    <a:pt x="173" y="270"/>
                  </a:lnTo>
                  <a:lnTo>
                    <a:pt x="173" y="275"/>
                  </a:lnTo>
                  <a:lnTo>
                    <a:pt x="170" y="273"/>
                  </a:lnTo>
                  <a:lnTo>
                    <a:pt x="166" y="270"/>
                  </a:lnTo>
                  <a:lnTo>
                    <a:pt x="164" y="268"/>
                  </a:lnTo>
                  <a:lnTo>
                    <a:pt x="164" y="267"/>
                  </a:lnTo>
                  <a:lnTo>
                    <a:pt x="166" y="265"/>
                  </a:lnTo>
                  <a:lnTo>
                    <a:pt x="164" y="265"/>
                  </a:lnTo>
                  <a:lnTo>
                    <a:pt x="162" y="263"/>
                  </a:lnTo>
                  <a:lnTo>
                    <a:pt x="162" y="264"/>
                  </a:lnTo>
                  <a:lnTo>
                    <a:pt x="160" y="265"/>
                  </a:lnTo>
                  <a:lnTo>
                    <a:pt x="158" y="263"/>
                  </a:lnTo>
                  <a:lnTo>
                    <a:pt x="155" y="260"/>
                  </a:lnTo>
                  <a:lnTo>
                    <a:pt x="154" y="257"/>
                  </a:lnTo>
                  <a:lnTo>
                    <a:pt x="154" y="258"/>
                  </a:lnTo>
                  <a:lnTo>
                    <a:pt x="153" y="258"/>
                  </a:lnTo>
                  <a:lnTo>
                    <a:pt x="152" y="257"/>
                  </a:lnTo>
                  <a:lnTo>
                    <a:pt x="148" y="254"/>
                  </a:lnTo>
                  <a:lnTo>
                    <a:pt x="144" y="254"/>
                  </a:lnTo>
                  <a:lnTo>
                    <a:pt x="141" y="256"/>
                  </a:lnTo>
                  <a:lnTo>
                    <a:pt x="137" y="257"/>
                  </a:lnTo>
                  <a:lnTo>
                    <a:pt x="132" y="256"/>
                  </a:lnTo>
                  <a:lnTo>
                    <a:pt x="126" y="254"/>
                  </a:lnTo>
                  <a:lnTo>
                    <a:pt x="122" y="254"/>
                  </a:lnTo>
                  <a:lnTo>
                    <a:pt x="122" y="252"/>
                  </a:lnTo>
                  <a:lnTo>
                    <a:pt x="122" y="248"/>
                  </a:lnTo>
                  <a:lnTo>
                    <a:pt x="122" y="244"/>
                  </a:lnTo>
                  <a:lnTo>
                    <a:pt x="122" y="237"/>
                  </a:lnTo>
                  <a:lnTo>
                    <a:pt x="122" y="232"/>
                  </a:lnTo>
                  <a:lnTo>
                    <a:pt x="123" y="227"/>
                  </a:lnTo>
                  <a:lnTo>
                    <a:pt x="120" y="228"/>
                  </a:lnTo>
                  <a:lnTo>
                    <a:pt x="116" y="228"/>
                  </a:lnTo>
                  <a:lnTo>
                    <a:pt x="114" y="226"/>
                  </a:lnTo>
                  <a:lnTo>
                    <a:pt x="111" y="224"/>
                  </a:lnTo>
                  <a:lnTo>
                    <a:pt x="111" y="226"/>
                  </a:lnTo>
                  <a:lnTo>
                    <a:pt x="109" y="227"/>
                  </a:lnTo>
                  <a:lnTo>
                    <a:pt x="101" y="228"/>
                  </a:lnTo>
                  <a:lnTo>
                    <a:pt x="99" y="230"/>
                  </a:lnTo>
                  <a:lnTo>
                    <a:pt x="96" y="231"/>
                  </a:lnTo>
                  <a:lnTo>
                    <a:pt x="95" y="233"/>
                  </a:lnTo>
                  <a:lnTo>
                    <a:pt x="96" y="237"/>
                  </a:lnTo>
                  <a:lnTo>
                    <a:pt x="98" y="241"/>
                  </a:lnTo>
                  <a:lnTo>
                    <a:pt x="98" y="244"/>
                  </a:lnTo>
                  <a:lnTo>
                    <a:pt x="96" y="252"/>
                  </a:lnTo>
                  <a:lnTo>
                    <a:pt x="96" y="257"/>
                  </a:lnTo>
                  <a:lnTo>
                    <a:pt x="98" y="262"/>
                  </a:lnTo>
                  <a:lnTo>
                    <a:pt x="99" y="267"/>
                  </a:lnTo>
                  <a:lnTo>
                    <a:pt x="99" y="271"/>
                  </a:lnTo>
                  <a:lnTo>
                    <a:pt x="98" y="275"/>
                  </a:lnTo>
                  <a:lnTo>
                    <a:pt x="95" y="278"/>
                  </a:lnTo>
                  <a:lnTo>
                    <a:pt x="94" y="283"/>
                  </a:lnTo>
                  <a:lnTo>
                    <a:pt x="93" y="286"/>
                  </a:lnTo>
                  <a:lnTo>
                    <a:pt x="90" y="291"/>
                  </a:lnTo>
                  <a:lnTo>
                    <a:pt x="89" y="295"/>
                  </a:lnTo>
                  <a:lnTo>
                    <a:pt x="88" y="305"/>
                  </a:lnTo>
                  <a:lnTo>
                    <a:pt x="85" y="315"/>
                  </a:lnTo>
                  <a:lnTo>
                    <a:pt x="82" y="323"/>
                  </a:lnTo>
                  <a:lnTo>
                    <a:pt x="82" y="326"/>
                  </a:lnTo>
                  <a:lnTo>
                    <a:pt x="82" y="328"/>
                  </a:lnTo>
                  <a:lnTo>
                    <a:pt x="80" y="331"/>
                  </a:lnTo>
                  <a:lnTo>
                    <a:pt x="78" y="332"/>
                  </a:lnTo>
                  <a:lnTo>
                    <a:pt x="80" y="337"/>
                  </a:lnTo>
                  <a:lnTo>
                    <a:pt x="80" y="343"/>
                  </a:lnTo>
                  <a:lnTo>
                    <a:pt x="80" y="350"/>
                  </a:lnTo>
                  <a:lnTo>
                    <a:pt x="82" y="356"/>
                  </a:lnTo>
                  <a:lnTo>
                    <a:pt x="84" y="360"/>
                  </a:lnTo>
                  <a:lnTo>
                    <a:pt x="84" y="362"/>
                  </a:lnTo>
                  <a:lnTo>
                    <a:pt x="83" y="365"/>
                  </a:lnTo>
                  <a:lnTo>
                    <a:pt x="83" y="367"/>
                  </a:lnTo>
                  <a:lnTo>
                    <a:pt x="85" y="369"/>
                  </a:lnTo>
                  <a:lnTo>
                    <a:pt x="89" y="370"/>
                  </a:lnTo>
                  <a:lnTo>
                    <a:pt x="90" y="369"/>
                  </a:lnTo>
                  <a:lnTo>
                    <a:pt x="95" y="366"/>
                  </a:lnTo>
                  <a:lnTo>
                    <a:pt x="100" y="366"/>
                  </a:lnTo>
                  <a:lnTo>
                    <a:pt x="103" y="369"/>
                  </a:lnTo>
                  <a:lnTo>
                    <a:pt x="104" y="375"/>
                  </a:lnTo>
                  <a:lnTo>
                    <a:pt x="104" y="377"/>
                  </a:lnTo>
                  <a:lnTo>
                    <a:pt x="105" y="380"/>
                  </a:lnTo>
                  <a:lnTo>
                    <a:pt x="107" y="388"/>
                  </a:lnTo>
                  <a:lnTo>
                    <a:pt x="109" y="392"/>
                  </a:lnTo>
                  <a:lnTo>
                    <a:pt x="110" y="394"/>
                  </a:lnTo>
                  <a:lnTo>
                    <a:pt x="111" y="396"/>
                  </a:lnTo>
                  <a:lnTo>
                    <a:pt x="114" y="394"/>
                  </a:lnTo>
                  <a:lnTo>
                    <a:pt x="116" y="404"/>
                  </a:lnTo>
                  <a:lnTo>
                    <a:pt x="119" y="415"/>
                  </a:lnTo>
                  <a:lnTo>
                    <a:pt x="122" y="425"/>
                  </a:lnTo>
                  <a:lnTo>
                    <a:pt x="125" y="434"/>
                  </a:lnTo>
                  <a:lnTo>
                    <a:pt x="122" y="434"/>
                  </a:lnTo>
                  <a:lnTo>
                    <a:pt x="121" y="431"/>
                  </a:lnTo>
                  <a:lnTo>
                    <a:pt x="120" y="424"/>
                  </a:lnTo>
                  <a:lnTo>
                    <a:pt x="117" y="418"/>
                  </a:lnTo>
                  <a:lnTo>
                    <a:pt x="116" y="417"/>
                  </a:lnTo>
                  <a:lnTo>
                    <a:pt x="114" y="417"/>
                  </a:lnTo>
                  <a:lnTo>
                    <a:pt x="112" y="420"/>
                  </a:lnTo>
                  <a:lnTo>
                    <a:pt x="114" y="424"/>
                  </a:lnTo>
                  <a:lnTo>
                    <a:pt x="115" y="426"/>
                  </a:lnTo>
                  <a:lnTo>
                    <a:pt x="117" y="429"/>
                  </a:lnTo>
                  <a:lnTo>
                    <a:pt x="120" y="433"/>
                  </a:lnTo>
                  <a:lnTo>
                    <a:pt x="122" y="435"/>
                  </a:lnTo>
                  <a:lnTo>
                    <a:pt x="126" y="436"/>
                  </a:lnTo>
                  <a:lnTo>
                    <a:pt x="128" y="437"/>
                  </a:lnTo>
                  <a:lnTo>
                    <a:pt x="133" y="444"/>
                  </a:lnTo>
                  <a:lnTo>
                    <a:pt x="136" y="445"/>
                  </a:lnTo>
                  <a:lnTo>
                    <a:pt x="139" y="446"/>
                  </a:lnTo>
                  <a:lnTo>
                    <a:pt x="147" y="445"/>
                  </a:lnTo>
                  <a:lnTo>
                    <a:pt x="151" y="446"/>
                  </a:lnTo>
                  <a:lnTo>
                    <a:pt x="154" y="447"/>
                  </a:lnTo>
                  <a:lnTo>
                    <a:pt x="158" y="451"/>
                  </a:lnTo>
                  <a:lnTo>
                    <a:pt x="159" y="455"/>
                  </a:lnTo>
                  <a:lnTo>
                    <a:pt x="162" y="458"/>
                  </a:lnTo>
                  <a:lnTo>
                    <a:pt x="164" y="461"/>
                  </a:lnTo>
                  <a:lnTo>
                    <a:pt x="168" y="465"/>
                  </a:lnTo>
                  <a:lnTo>
                    <a:pt x="170" y="467"/>
                  </a:lnTo>
                  <a:lnTo>
                    <a:pt x="171" y="469"/>
                  </a:lnTo>
                  <a:lnTo>
                    <a:pt x="170" y="473"/>
                  </a:lnTo>
                  <a:lnTo>
                    <a:pt x="168" y="479"/>
                  </a:lnTo>
                  <a:lnTo>
                    <a:pt x="165" y="482"/>
                  </a:lnTo>
                  <a:lnTo>
                    <a:pt x="163" y="483"/>
                  </a:lnTo>
                  <a:lnTo>
                    <a:pt x="162" y="483"/>
                  </a:lnTo>
                  <a:lnTo>
                    <a:pt x="160" y="482"/>
                  </a:lnTo>
                  <a:lnTo>
                    <a:pt x="159" y="479"/>
                  </a:lnTo>
                  <a:lnTo>
                    <a:pt x="158" y="478"/>
                  </a:lnTo>
                  <a:lnTo>
                    <a:pt x="154" y="478"/>
                  </a:lnTo>
                  <a:lnTo>
                    <a:pt x="152" y="482"/>
                  </a:lnTo>
                  <a:lnTo>
                    <a:pt x="148" y="484"/>
                  </a:lnTo>
                  <a:lnTo>
                    <a:pt x="146" y="485"/>
                  </a:lnTo>
                  <a:lnTo>
                    <a:pt x="142" y="485"/>
                  </a:lnTo>
                  <a:lnTo>
                    <a:pt x="141" y="482"/>
                  </a:lnTo>
                  <a:lnTo>
                    <a:pt x="141" y="479"/>
                  </a:lnTo>
                  <a:lnTo>
                    <a:pt x="143" y="476"/>
                  </a:lnTo>
                  <a:lnTo>
                    <a:pt x="143" y="472"/>
                  </a:lnTo>
                  <a:lnTo>
                    <a:pt x="142" y="469"/>
                  </a:lnTo>
                  <a:lnTo>
                    <a:pt x="138" y="467"/>
                  </a:lnTo>
                  <a:lnTo>
                    <a:pt x="136" y="466"/>
                  </a:lnTo>
                  <a:lnTo>
                    <a:pt x="135" y="462"/>
                  </a:lnTo>
                  <a:lnTo>
                    <a:pt x="133" y="460"/>
                  </a:lnTo>
                  <a:lnTo>
                    <a:pt x="130" y="458"/>
                  </a:lnTo>
                  <a:lnTo>
                    <a:pt x="123" y="457"/>
                  </a:lnTo>
                  <a:lnTo>
                    <a:pt x="121" y="456"/>
                  </a:lnTo>
                  <a:lnTo>
                    <a:pt x="119" y="453"/>
                  </a:lnTo>
                  <a:lnTo>
                    <a:pt x="117" y="452"/>
                  </a:lnTo>
                  <a:lnTo>
                    <a:pt x="116" y="452"/>
                  </a:lnTo>
                  <a:lnTo>
                    <a:pt x="116" y="453"/>
                  </a:lnTo>
                  <a:lnTo>
                    <a:pt x="115" y="457"/>
                  </a:lnTo>
                  <a:lnTo>
                    <a:pt x="114" y="461"/>
                  </a:lnTo>
                  <a:lnTo>
                    <a:pt x="112" y="458"/>
                  </a:lnTo>
                  <a:lnTo>
                    <a:pt x="111" y="455"/>
                  </a:lnTo>
                  <a:lnTo>
                    <a:pt x="105" y="450"/>
                  </a:lnTo>
                  <a:lnTo>
                    <a:pt x="103" y="446"/>
                  </a:lnTo>
                  <a:lnTo>
                    <a:pt x="100" y="444"/>
                  </a:lnTo>
                  <a:lnTo>
                    <a:pt x="100" y="440"/>
                  </a:lnTo>
                  <a:lnTo>
                    <a:pt x="101" y="437"/>
                  </a:lnTo>
                  <a:lnTo>
                    <a:pt x="100" y="439"/>
                  </a:lnTo>
                  <a:lnTo>
                    <a:pt x="99" y="437"/>
                  </a:lnTo>
                  <a:lnTo>
                    <a:pt x="98" y="435"/>
                  </a:lnTo>
                  <a:lnTo>
                    <a:pt x="96" y="431"/>
                  </a:lnTo>
                  <a:lnTo>
                    <a:pt x="95" y="429"/>
                  </a:lnTo>
                  <a:lnTo>
                    <a:pt x="94" y="431"/>
                  </a:lnTo>
                  <a:lnTo>
                    <a:pt x="93" y="433"/>
                  </a:lnTo>
                  <a:lnTo>
                    <a:pt x="90" y="430"/>
                  </a:lnTo>
                  <a:lnTo>
                    <a:pt x="89" y="424"/>
                  </a:lnTo>
                  <a:lnTo>
                    <a:pt x="88" y="421"/>
                  </a:lnTo>
                  <a:lnTo>
                    <a:pt x="87" y="419"/>
                  </a:lnTo>
                  <a:lnTo>
                    <a:pt x="84" y="419"/>
                  </a:lnTo>
                  <a:lnTo>
                    <a:pt x="83" y="419"/>
                  </a:lnTo>
                  <a:lnTo>
                    <a:pt x="82" y="418"/>
                  </a:lnTo>
                  <a:lnTo>
                    <a:pt x="80" y="417"/>
                  </a:lnTo>
                  <a:lnTo>
                    <a:pt x="80" y="414"/>
                  </a:lnTo>
                  <a:lnTo>
                    <a:pt x="79" y="412"/>
                  </a:lnTo>
                  <a:lnTo>
                    <a:pt x="77" y="408"/>
                  </a:lnTo>
                  <a:lnTo>
                    <a:pt x="75" y="408"/>
                  </a:lnTo>
                  <a:lnTo>
                    <a:pt x="73" y="408"/>
                  </a:lnTo>
                  <a:lnTo>
                    <a:pt x="72" y="405"/>
                  </a:lnTo>
                  <a:lnTo>
                    <a:pt x="71" y="402"/>
                  </a:lnTo>
                  <a:lnTo>
                    <a:pt x="69" y="398"/>
                  </a:lnTo>
                  <a:lnTo>
                    <a:pt x="68" y="397"/>
                  </a:lnTo>
                  <a:lnTo>
                    <a:pt x="66" y="397"/>
                  </a:lnTo>
                  <a:lnTo>
                    <a:pt x="63" y="398"/>
                  </a:lnTo>
                  <a:lnTo>
                    <a:pt x="63" y="399"/>
                  </a:lnTo>
                  <a:lnTo>
                    <a:pt x="62" y="404"/>
                  </a:lnTo>
                  <a:lnTo>
                    <a:pt x="57" y="401"/>
                  </a:lnTo>
                  <a:lnTo>
                    <a:pt x="55" y="394"/>
                  </a:lnTo>
                  <a:lnTo>
                    <a:pt x="55" y="387"/>
                  </a:lnTo>
                  <a:lnTo>
                    <a:pt x="56" y="382"/>
                  </a:lnTo>
                  <a:lnTo>
                    <a:pt x="63" y="342"/>
                  </a:lnTo>
                  <a:lnTo>
                    <a:pt x="67" y="333"/>
                  </a:lnTo>
                  <a:lnTo>
                    <a:pt x="68" y="328"/>
                  </a:lnTo>
                  <a:lnTo>
                    <a:pt x="69" y="324"/>
                  </a:lnTo>
                  <a:lnTo>
                    <a:pt x="69" y="321"/>
                  </a:lnTo>
                  <a:lnTo>
                    <a:pt x="71" y="318"/>
                  </a:lnTo>
                  <a:lnTo>
                    <a:pt x="72" y="316"/>
                  </a:lnTo>
                  <a:lnTo>
                    <a:pt x="73" y="313"/>
                  </a:lnTo>
                  <a:lnTo>
                    <a:pt x="75" y="310"/>
                  </a:lnTo>
                  <a:lnTo>
                    <a:pt x="78" y="306"/>
                  </a:lnTo>
                  <a:lnTo>
                    <a:pt x="84" y="297"/>
                  </a:lnTo>
                  <a:lnTo>
                    <a:pt x="87" y="292"/>
                  </a:lnTo>
                  <a:lnTo>
                    <a:pt x="88" y="289"/>
                  </a:lnTo>
                  <a:lnTo>
                    <a:pt x="89" y="285"/>
                  </a:lnTo>
                  <a:lnTo>
                    <a:pt x="88" y="281"/>
                  </a:lnTo>
                  <a:lnTo>
                    <a:pt x="85" y="278"/>
                  </a:lnTo>
                  <a:lnTo>
                    <a:pt x="84" y="274"/>
                  </a:lnTo>
                  <a:lnTo>
                    <a:pt x="83" y="269"/>
                  </a:lnTo>
                  <a:lnTo>
                    <a:pt x="82" y="265"/>
                  </a:lnTo>
                  <a:lnTo>
                    <a:pt x="82" y="262"/>
                  </a:lnTo>
                  <a:lnTo>
                    <a:pt x="79" y="259"/>
                  </a:lnTo>
                  <a:lnTo>
                    <a:pt x="75" y="253"/>
                  </a:lnTo>
                  <a:lnTo>
                    <a:pt x="74" y="251"/>
                  </a:lnTo>
                  <a:lnTo>
                    <a:pt x="73" y="246"/>
                  </a:lnTo>
                  <a:lnTo>
                    <a:pt x="72" y="242"/>
                  </a:lnTo>
                  <a:lnTo>
                    <a:pt x="71" y="240"/>
                  </a:lnTo>
                  <a:lnTo>
                    <a:pt x="72" y="228"/>
                  </a:lnTo>
                  <a:lnTo>
                    <a:pt x="69" y="219"/>
                  </a:lnTo>
                  <a:lnTo>
                    <a:pt x="64" y="211"/>
                  </a:lnTo>
                  <a:lnTo>
                    <a:pt x="58" y="204"/>
                  </a:lnTo>
                  <a:lnTo>
                    <a:pt x="51" y="198"/>
                  </a:lnTo>
                  <a:lnTo>
                    <a:pt x="45" y="190"/>
                  </a:lnTo>
                  <a:lnTo>
                    <a:pt x="40" y="184"/>
                  </a:lnTo>
                  <a:lnTo>
                    <a:pt x="37" y="176"/>
                  </a:lnTo>
                  <a:lnTo>
                    <a:pt x="37" y="173"/>
                  </a:lnTo>
                  <a:lnTo>
                    <a:pt x="39" y="169"/>
                  </a:lnTo>
                  <a:lnTo>
                    <a:pt x="40" y="168"/>
                  </a:lnTo>
                  <a:lnTo>
                    <a:pt x="42" y="169"/>
                  </a:lnTo>
                  <a:lnTo>
                    <a:pt x="44" y="167"/>
                  </a:lnTo>
                  <a:lnTo>
                    <a:pt x="45" y="166"/>
                  </a:lnTo>
                  <a:lnTo>
                    <a:pt x="46" y="166"/>
                  </a:lnTo>
                  <a:lnTo>
                    <a:pt x="47" y="163"/>
                  </a:lnTo>
                  <a:lnTo>
                    <a:pt x="47" y="160"/>
                  </a:lnTo>
                  <a:lnTo>
                    <a:pt x="47" y="156"/>
                  </a:lnTo>
                  <a:lnTo>
                    <a:pt x="46" y="151"/>
                  </a:lnTo>
                  <a:lnTo>
                    <a:pt x="46" y="146"/>
                  </a:lnTo>
                  <a:lnTo>
                    <a:pt x="46" y="144"/>
                  </a:lnTo>
                  <a:lnTo>
                    <a:pt x="47" y="142"/>
                  </a:lnTo>
                  <a:lnTo>
                    <a:pt x="50" y="141"/>
                  </a:lnTo>
                  <a:lnTo>
                    <a:pt x="52" y="140"/>
                  </a:lnTo>
                  <a:lnTo>
                    <a:pt x="53" y="135"/>
                  </a:lnTo>
                  <a:lnTo>
                    <a:pt x="52" y="130"/>
                  </a:lnTo>
                  <a:lnTo>
                    <a:pt x="48" y="135"/>
                  </a:lnTo>
                  <a:lnTo>
                    <a:pt x="46" y="131"/>
                  </a:lnTo>
                  <a:lnTo>
                    <a:pt x="44" y="126"/>
                  </a:lnTo>
                  <a:lnTo>
                    <a:pt x="40" y="117"/>
                  </a:lnTo>
                  <a:lnTo>
                    <a:pt x="39" y="113"/>
                  </a:lnTo>
                  <a:lnTo>
                    <a:pt x="36" y="110"/>
                  </a:lnTo>
                  <a:lnTo>
                    <a:pt x="32" y="107"/>
                  </a:lnTo>
                  <a:lnTo>
                    <a:pt x="30" y="104"/>
                  </a:lnTo>
                  <a:lnTo>
                    <a:pt x="23" y="97"/>
                  </a:lnTo>
                  <a:lnTo>
                    <a:pt x="15" y="88"/>
                  </a:lnTo>
                  <a:lnTo>
                    <a:pt x="14" y="83"/>
                  </a:lnTo>
                  <a:lnTo>
                    <a:pt x="13" y="78"/>
                  </a:lnTo>
                  <a:lnTo>
                    <a:pt x="10" y="75"/>
                  </a:lnTo>
                  <a:lnTo>
                    <a:pt x="9" y="72"/>
                  </a:lnTo>
                  <a:lnTo>
                    <a:pt x="9" y="70"/>
                  </a:lnTo>
                  <a:lnTo>
                    <a:pt x="5" y="70"/>
                  </a:lnTo>
                  <a:lnTo>
                    <a:pt x="3" y="67"/>
                  </a:lnTo>
                  <a:lnTo>
                    <a:pt x="0" y="6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4" name="Freeform 661">
              <a:extLst>
                <a:ext uri="{FF2B5EF4-FFF2-40B4-BE49-F238E27FC236}">
                  <a16:creationId xmlns:a16="http://schemas.microsoft.com/office/drawing/2014/main" id="{4AED3AF8-E6BD-467C-BBCE-40EF187052D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2414" y="3897913"/>
              <a:ext cx="2109" cy="4216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1 h 2"/>
                <a:gd name="T4" fmla="*/ 1 w 1"/>
                <a:gd name="T5" fmla="*/ 2 h 2"/>
                <a:gd name="T6" fmla="*/ 0 w 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lnTo>
                    <a:pt x="0" y="1"/>
                  </a:lnTo>
                  <a:lnTo>
                    <a:pt x="1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5" name="Freeform 662">
              <a:extLst>
                <a:ext uri="{FF2B5EF4-FFF2-40B4-BE49-F238E27FC236}">
                  <a16:creationId xmlns:a16="http://schemas.microsoft.com/office/drawing/2014/main" id="{F6CAB4F9-52E0-4440-B089-21CDC5BA3B55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8739" y="3910561"/>
              <a:ext cx="4216" cy="8432"/>
            </a:xfrm>
            <a:custGeom>
              <a:avLst/>
              <a:gdLst>
                <a:gd name="T0" fmla="*/ 2 w 4"/>
                <a:gd name="T1" fmla="*/ 2 h 7"/>
                <a:gd name="T2" fmla="*/ 4 w 4"/>
                <a:gd name="T3" fmla="*/ 7 h 7"/>
                <a:gd name="T4" fmla="*/ 3 w 4"/>
                <a:gd name="T5" fmla="*/ 4 h 7"/>
                <a:gd name="T6" fmla="*/ 0 w 4"/>
                <a:gd name="T7" fmla="*/ 0 h 7"/>
                <a:gd name="T8" fmla="*/ 2 w 4"/>
                <a:gd name="T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7">
                  <a:moveTo>
                    <a:pt x="2" y="2"/>
                  </a:moveTo>
                  <a:lnTo>
                    <a:pt x="4" y="7"/>
                  </a:lnTo>
                  <a:lnTo>
                    <a:pt x="3" y="4"/>
                  </a:lnTo>
                  <a:lnTo>
                    <a:pt x="0" y="0"/>
                  </a:lnTo>
                  <a:lnTo>
                    <a:pt x="2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6" name="Freeform 663">
              <a:extLst>
                <a:ext uri="{FF2B5EF4-FFF2-40B4-BE49-F238E27FC236}">
                  <a16:creationId xmlns:a16="http://schemas.microsoft.com/office/drawing/2014/main" id="{DE3017D1-A106-4608-851A-57BECDED56D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3493" y="3914777"/>
              <a:ext cx="4216" cy="6324"/>
            </a:xfrm>
            <a:custGeom>
              <a:avLst/>
              <a:gdLst>
                <a:gd name="T0" fmla="*/ 0 w 4"/>
                <a:gd name="T1" fmla="*/ 0 h 6"/>
                <a:gd name="T2" fmla="*/ 0 w 4"/>
                <a:gd name="T3" fmla="*/ 1 h 6"/>
                <a:gd name="T4" fmla="*/ 1 w 4"/>
                <a:gd name="T5" fmla="*/ 3 h 6"/>
                <a:gd name="T6" fmla="*/ 4 w 4"/>
                <a:gd name="T7" fmla="*/ 6 h 6"/>
                <a:gd name="T8" fmla="*/ 3 w 4"/>
                <a:gd name="T9" fmla="*/ 2 h 6"/>
                <a:gd name="T10" fmla="*/ 0 w 4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lnTo>
                    <a:pt x="0" y="1"/>
                  </a:lnTo>
                  <a:lnTo>
                    <a:pt x="1" y="3"/>
                  </a:lnTo>
                  <a:lnTo>
                    <a:pt x="4" y="6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7" name="Freeform 664">
              <a:extLst>
                <a:ext uri="{FF2B5EF4-FFF2-40B4-BE49-F238E27FC236}">
                  <a16:creationId xmlns:a16="http://schemas.microsoft.com/office/drawing/2014/main" id="{BC4C5C02-F4D4-4497-BC3F-C8E8631560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9818" y="3952719"/>
              <a:ext cx="8432" cy="6324"/>
            </a:xfrm>
            <a:custGeom>
              <a:avLst/>
              <a:gdLst>
                <a:gd name="T0" fmla="*/ 5 w 8"/>
                <a:gd name="T1" fmla="*/ 0 h 5"/>
                <a:gd name="T2" fmla="*/ 0 w 8"/>
                <a:gd name="T3" fmla="*/ 1 h 5"/>
                <a:gd name="T4" fmla="*/ 4 w 8"/>
                <a:gd name="T5" fmla="*/ 4 h 5"/>
                <a:gd name="T6" fmla="*/ 6 w 8"/>
                <a:gd name="T7" fmla="*/ 5 h 5"/>
                <a:gd name="T8" fmla="*/ 8 w 8"/>
                <a:gd name="T9" fmla="*/ 5 h 5"/>
                <a:gd name="T10" fmla="*/ 8 w 8"/>
                <a:gd name="T11" fmla="*/ 4 h 5"/>
                <a:gd name="T12" fmla="*/ 8 w 8"/>
                <a:gd name="T13" fmla="*/ 1 h 5"/>
                <a:gd name="T14" fmla="*/ 5 w 8"/>
                <a:gd name="T1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5">
                  <a:moveTo>
                    <a:pt x="5" y="0"/>
                  </a:moveTo>
                  <a:lnTo>
                    <a:pt x="0" y="1"/>
                  </a:lnTo>
                  <a:lnTo>
                    <a:pt x="4" y="4"/>
                  </a:lnTo>
                  <a:lnTo>
                    <a:pt x="6" y="5"/>
                  </a:lnTo>
                  <a:lnTo>
                    <a:pt x="8" y="5"/>
                  </a:lnTo>
                  <a:lnTo>
                    <a:pt x="8" y="4"/>
                  </a:lnTo>
                  <a:lnTo>
                    <a:pt x="8" y="1"/>
                  </a:lnTo>
                  <a:lnTo>
                    <a:pt x="5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8" name="Freeform 665">
              <a:extLst>
                <a:ext uri="{FF2B5EF4-FFF2-40B4-BE49-F238E27FC236}">
                  <a16:creationId xmlns:a16="http://schemas.microsoft.com/office/drawing/2014/main" id="{C81DD741-D091-4FE0-A303-D5A4C8549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4033" y="3929532"/>
              <a:ext cx="8432" cy="8432"/>
            </a:xfrm>
            <a:custGeom>
              <a:avLst/>
              <a:gdLst>
                <a:gd name="T0" fmla="*/ 9 w 9"/>
                <a:gd name="T1" fmla="*/ 6 h 7"/>
                <a:gd name="T2" fmla="*/ 5 w 9"/>
                <a:gd name="T3" fmla="*/ 3 h 7"/>
                <a:gd name="T4" fmla="*/ 0 w 9"/>
                <a:gd name="T5" fmla="*/ 0 h 7"/>
                <a:gd name="T6" fmla="*/ 0 w 9"/>
                <a:gd name="T7" fmla="*/ 4 h 7"/>
                <a:gd name="T8" fmla="*/ 1 w 9"/>
                <a:gd name="T9" fmla="*/ 6 h 7"/>
                <a:gd name="T10" fmla="*/ 5 w 9"/>
                <a:gd name="T11" fmla="*/ 7 h 7"/>
                <a:gd name="T12" fmla="*/ 6 w 9"/>
                <a:gd name="T13" fmla="*/ 7 h 7"/>
                <a:gd name="T14" fmla="*/ 9 w 9"/>
                <a:gd name="T1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7">
                  <a:moveTo>
                    <a:pt x="9" y="6"/>
                  </a:moveTo>
                  <a:lnTo>
                    <a:pt x="5" y="3"/>
                  </a:lnTo>
                  <a:lnTo>
                    <a:pt x="0" y="0"/>
                  </a:lnTo>
                  <a:lnTo>
                    <a:pt x="0" y="4"/>
                  </a:lnTo>
                  <a:lnTo>
                    <a:pt x="1" y="6"/>
                  </a:lnTo>
                  <a:lnTo>
                    <a:pt x="5" y="7"/>
                  </a:lnTo>
                  <a:lnTo>
                    <a:pt x="6" y="7"/>
                  </a:lnTo>
                  <a:lnTo>
                    <a:pt x="9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9" name="Freeform 680">
              <a:extLst>
                <a:ext uri="{FF2B5EF4-FFF2-40B4-BE49-F238E27FC236}">
                  <a16:creationId xmlns:a16="http://schemas.microsoft.com/office/drawing/2014/main" id="{46D0B542-C47C-4698-85A1-F4DDC3A7D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1335" y="3617564"/>
              <a:ext cx="267704" cy="645017"/>
            </a:xfrm>
            <a:custGeom>
              <a:avLst/>
              <a:gdLst>
                <a:gd name="T0" fmla="*/ 9 w 254"/>
                <a:gd name="T1" fmla="*/ 227 h 612"/>
                <a:gd name="T2" fmla="*/ 18 w 254"/>
                <a:gd name="T3" fmla="*/ 216 h 612"/>
                <a:gd name="T4" fmla="*/ 19 w 254"/>
                <a:gd name="T5" fmla="*/ 190 h 612"/>
                <a:gd name="T6" fmla="*/ 25 w 254"/>
                <a:gd name="T7" fmla="*/ 150 h 612"/>
                <a:gd name="T8" fmla="*/ 52 w 254"/>
                <a:gd name="T9" fmla="*/ 125 h 612"/>
                <a:gd name="T10" fmla="*/ 60 w 254"/>
                <a:gd name="T11" fmla="*/ 85 h 612"/>
                <a:gd name="T12" fmla="*/ 66 w 254"/>
                <a:gd name="T13" fmla="*/ 59 h 612"/>
                <a:gd name="T14" fmla="*/ 97 w 254"/>
                <a:gd name="T15" fmla="*/ 39 h 612"/>
                <a:gd name="T16" fmla="*/ 100 w 254"/>
                <a:gd name="T17" fmla="*/ 33 h 612"/>
                <a:gd name="T18" fmla="*/ 110 w 254"/>
                <a:gd name="T19" fmla="*/ 8 h 612"/>
                <a:gd name="T20" fmla="*/ 137 w 254"/>
                <a:gd name="T21" fmla="*/ 27 h 612"/>
                <a:gd name="T22" fmla="*/ 161 w 254"/>
                <a:gd name="T23" fmla="*/ 72 h 612"/>
                <a:gd name="T24" fmla="*/ 158 w 254"/>
                <a:gd name="T25" fmla="*/ 88 h 612"/>
                <a:gd name="T26" fmla="*/ 148 w 254"/>
                <a:gd name="T27" fmla="*/ 101 h 612"/>
                <a:gd name="T28" fmla="*/ 137 w 254"/>
                <a:gd name="T29" fmla="*/ 124 h 612"/>
                <a:gd name="T30" fmla="*/ 141 w 254"/>
                <a:gd name="T31" fmla="*/ 151 h 612"/>
                <a:gd name="T32" fmla="*/ 177 w 254"/>
                <a:gd name="T33" fmla="*/ 144 h 612"/>
                <a:gd name="T34" fmla="*/ 178 w 254"/>
                <a:gd name="T35" fmla="*/ 165 h 612"/>
                <a:gd name="T36" fmla="*/ 200 w 254"/>
                <a:gd name="T37" fmla="*/ 182 h 612"/>
                <a:gd name="T38" fmla="*/ 196 w 254"/>
                <a:gd name="T39" fmla="*/ 212 h 612"/>
                <a:gd name="T40" fmla="*/ 222 w 254"/>
                <a:gd name="T41" fmla="*/ 226 h 612"/>
                <a:gd name="T42" fmla="*/ 238 w 254"/>
                <a:gd name="T43" fmla="*/ 232 h 612"/>
                <a:gd name="T44" fmla="*/ 246 w 254"/>
                <a:gd name="T45" fmla="*/ 238 h 612"/>
                <a:gd name="T46" fmla="*/ 236 w 254"/>
                <a:gd name="T47" fmla="*/ 254 h 612"/>
                <a:gd name="T48" fmla="*/ 215 w 254"/>
                <a:gd name="T49" fmla="*/ 274 h 612"/>
                <a:gd name="T50" fmla="*/ 200 w 254"/>
                <a:gd name="T51" fmla="*/ 289 h 612"/>
                <a:gd name="T52" fmla="*/ 174 w 254"/>
                <a:gd name="T53" fmla="*/ 289 h 612"/>
                <a:gd name="T54" fmla="*/ 169 w 254"/>
                <a:gd name="T55" fmla="*/ 315 h 612"/>
                <a:gd name="T56" fmla="*/ 162 w 254"/>
                <a:gd name="T57" fmla="*/ 335 h 612"/>
                <a:gd name="T58" fmla="*/ 183 w 254"/>
                <a:gd name="T59" fmla="*/ 366 h 612"/>
                <a:gd name="T60" fmla="*/ 211 w 254"/>
                <a:gd name="T61" fmla="*/ 398 h 612"/>
                <a:gd name="T62" fmla="*/ 206 w 254"/>
                <a:gd name="T63" fmla="*/ 424 h 612"/>
                <a:gd name="T64" fmla="*/ 198 w 254"/>
                <a:gd name="T65" fmla="*/ 447 h 612"/>
                <a:gd name="T66" fmla="*/ 231 w 254"/>
                <a:gd name="T67" fmla="*/ 504 h 612"/>
                <a:gd name="T68" fmla="*/ 243 w 254"/>
                <a:gd name="T69" fmla="*/ 539 h 612"/>
                <a:gd name="T70" fmla="*/ 228 w 254"/>
                <a:gd name="T71" fmla="*/ 587 h 612"/>
                <a:gd name="T72" fmla="*/ 217 w 254"/>
                <a:gd name="T73" fmla="*/ 592 h 612"/>
                <a:gd name="T74" fmla="*/ 223 w 254"/>
                <a:gd name="T75" fmla="*/ 567 h 612"/>
                <a:gd name="T76" fmla="*/ 220 w 254"/>
                <a:gd name="T77" fmla="*/ 551 h 612"/>
                <a:gd name="T78" fmla="*/ 217 w 254"/>
                <a:gd name="T79" fmla="*/ 538 h 612"/>
                <a:gd name="T80" fmla="*/ 215 w 254"/>
                <a:gd name="T81" fmla="*/ 514 h 612"/>
                <a:gd name="T82" fmla="*/ 200 w 254"/>
                <a:gd name="T83" fmla="*/ 494 h 612"/>
                <a:gd name="T84" fmla="*/ 190 w 254"/>
                <a:gd name="T85" fmla="*/ 457 h 612"/>
                <a:gd name="T86" fmla="*/ 178 w 254"/>
                <a:gd name="T87" fmla="*/ 415 h 612"/>
                <a:gd name="T88" fmla="*/ 167 w 254"/>
                <a:gd name="T89" fmla="*/ 394 h 612"/>
                <a:gd name="T90" fmla="*/ 150 w 254"/>
                <a:gd name="T91" fmla="*/ 369 h 612"/>
                <a:gd name="T92" fmla="*/ 139 w 254"/>
                <a:gd name="T93" fmla="*/ 396 h 612"/>
                <a:gd name="T94" fmla="*/ 135 w 254"/>
                <a:gd name="T95" fmla="*/ 401 h 612"/>
                <a:gd name="T96" fmla="*/ 120 w 254"/>
                <a:gd name="T97" fmla="*/ 417 h 612"/>
                <a:gd name="T98" fmla="*/ 109 w 254"/>
                <a:gd name="T99" fmla="*/ 414 h 612"/>
                <a:gd name="T100" fmla="*/ 105 w 254"/>
                <a:gd name="T101" fmla="*/ 409 h 612"/>
                <a:gd name="T102" fmla="*/ 98 w 254"/>
                <a:gd name="T103" fmla="*/ 408 h 612"/>
                <a:gd name="T104" fmla="*/ 92 w 254"/>
                <a:gd name="T105" fmla="*/ 412 h 612"/>
                <a:gd name="T106" fmla="*/ 84 w 254"/>
                <a:gd name="T107" fmla="*/ 409 h 612"/>
                <a:gd name="T108" fmla="*/ 81 w 254"/>
                <a:gd name="T109" fmla="*/ 382 h 612"/>
                <a:gd name="T110" fmla="*/ 78 w 254"/>
                <a:gd name="T111" fmla="*/ 344 h 612"/>
                <a:gd name="T112" fmla="*/ 62 w 254"/>
                <a:gd name="T113" fmla="*/ 315 h 612"/>
                <a:gd name="T114" fmla="*/ 55 w 254"/>
                <a:gd name="T115" fmla="*/ 316 h 612"/>
                <a:gd name="T116" fmla="*/ 56 w 254"/>
                <a:gd name="T117" fmla="*/ 306 h 612"/>
                <a:gd name="T118" fmla="*/ 46 w 254"/>
                <a:gd name="T119" fmla="*/ 290 h 612"/>
                <a:gd name="T120" fmla="*/ 35 w 254"/>
                <a:gd name="T121" fmla="*/ 286 h 612"/>
                <a:gd name="T122" fmla="*/ 28 w 254"/>
                <a:gd name="T123" fmla="*/ 269 h 612"/>
                <a:gd name="T124" fmla="*/ 17 w 254"/>
                <a:gd name="T125" fmla="*/ 262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4" h="612">
                  <a:moveTo>
                    <a:pt x="0" y="242"/>
                  </a:moveTo>
                  <a:lnTo>
                    <a:pt x="0" y="240"/>
                  </a:lnTo>
                  <a:lnTo>
                    <a:pt x="0" y="237"/>
                  </a:lnTo>
                  <a:lnTo>
                    <a:pt x="1" y="235"/>
                  </a:lnTo>
                  <a:lnTo>
                    <a:pt x="2" y="233"/>
                  </a:lnTo>
                  <a:lnTo>
                    <a:pt x="5" y="235"/>
                  </a:lnTo>
                  <a:lnTo>
                    <a:pt x="7" y="236"/>
                  </a:lnTo>
                  <a:lnTo>
                    <a:pt x="13" y="238"/>
                  </a:lnTo>
                  <a:lnTo>
                    <a:pt x="9" y="227"/>
                  </a:lnTo>
                  <a:lnTo>
                    <a:pt x="8" y="216"/>
                  </a:lnTo>
                  <a:lnTo>
                    <a:pt x="8" y="216"/>
                  </a:lnTo>
                  <a:lnTo>
                    <a:pt x="9" y="214"/>
                  </a:lnTo>
                  <a:lnTo>
                    <a:pt x="11" y="212"/>
                  </a:lnTo>
                  <a:lnTo>
                    <a:pt x="11" y="210"/>
                  </a:lnTo>
                  <a:lnTo>
                    <a:pt x="12" y="211"/>
                  </a:lnTo>
                  <a:lnTo>
                    <a:pt x="14" y="214"/>
                  </a:lnTo>
                  <a:lnTo>
                    <a:pt x="16" y="215"/>
                  </a:lnTo>
                  <a:lnTo>
                    <a:pt x="18" y="216"/>
                  </a:lnTo>
                  <a:lnTo>
                    <a:pt x="19" y="215"/>
                  </a:lnTo>
                  <a:lnTo>
                    <a:pt x="19" y="212"/>
                  </a:lnTo>
                  <a:lnTo>
                    <a:pt x="19" y="209"/>
                  </a:lnTo>
                  <a:lnTo>
                    <a:pt x="23" y="209"/>
                  </a:lnTo>
                  <a:lnTo>
                    <a:pt x="23" y="206"/>
                  </a:lnTo>
                  <a:lnTo>
                    <a:pt x="23" y="204"/>
                  </a:lnTo>
                  <a:lnTo>
                    <a:pt x="22" y="200"/>
                  </a:lnTo>
                  <a:lnTo>
                    <a:pt x="21" y="195"/>
                  </a:lnTo>
                  <a:lnTo>
                    <a:pt x="19" y="190"/>
                  </a:lnTo>
                  <a:lnTo>
                    <a:pt x="19" y="181"/>
                  </a:lnTo>
                  <a:lnTo>
                    <a:pt x="22" y="182"/>
                  </a:lnTo>
                  <a:lnTo>
                    <a:pt x="24" y="179"/>
                  </a:lnTo>
                  <a:lnTo>
                    <a:pt x="24" y="176"/>
                  </a:lnTo>
                  <a:lnTo>
                    <a:pt x="24" y="173"/>
                  </a:lnTo>
                  <a:lnTo>
                    <a:pt x="23" y="160"/>
                  </a:lnTo>
                  <a:lnTo>
                    <a:pt x="19" y="149"/>
                  </a:lnTo>
                  <a:lnTo>
                    <a:pt x="23" y="149"/>
                  </a:lnTo>
                  <a:lnTo>
                    <a:pt x="25" y="150"/>
                  </a:lnTo>
                  <a:lnTo>
                    <a:pt x="29" y="149"/>
                  </a:lnTo>
                  <a:lnTo>
                    <a:pt x="32" y="150"/>
                  </a:lnTo>
                  <a:lnTo>
                    <a:pt x="37" y="151"/>
                  </a:lnTo>
                  <a:lnTo>
                    <a:pt x="40" y="152"/>
                  </a:lnTo>
                  <a:lnTo>
                    <a:pt x="44" y="155"/>
                  </a:lnTo>
                  <a:lnTo>
                    <a:pt x="44" y="149"/>
                  </a:lnTo>
                  <a:lnTo>
                    <a:pt x="46" y="144"/>
                  </a:lnTo>
                  <a:lnTo>
                    <a:pt x="51" y="131"/>
                  </a:lnTo>
                  <a:lnTo>
                    <a:pt x="52" y="125"/>
                  </a:lnTo>
                  <a:lnTo>
                    <a:pt x="54" y="119"/>
                  </a:lnTo>
                  <a:lnTo>
                    <a:pt x="54" y="114"/>
                  </a:lnTo>
                  <a:lnTo>
                    <a:pt x="51" y="109"/>
                  </a:lnTo>
                  <a:lnTo>
                    <a:pt x="50" y="107"/>
                  </a:lnTo>
                  <a:lnTo>
                    <a:pt x="50" y="106"/>
                  </a:lnTo>
                  <a:lnTo>
                    <a:pt x="52" y="101"/>
                  </a:lnTo>
                  <a:lnTo>
                    <a:pt x="55" y="96"/>
                  </a:lnTo>
                  <a:lnTo>
                    <a:pt x="57" y="92"/>
                  </a:lnTo>
                  <a:lnTo>
                    <a:pt x="60" y="85"/>
                  </a:lnTo>
                  <a:lnTo>
                    <a:pt x="60" y="81"/>
                  </a:lnTo>
                  <a:lnTo>
                    <a:pt x="59" y="77"/>
                  </a:lnTo>
                  <a:lnTo>
                    <a:pt x="56" y="74"/>
                  </a:lnTo>
                  <a:lnTo>
                    <a:pt x="56" y="69"/>
                  </a:lnTo>
                  <a:lnTo>
                    <a:pt x="57" y="64"/>
                  </a:lnTo>
                  <a:lnTo>
                    <a:pt x="60" y="61"/>
                  </a:lnTo>
                  <a:lnTo>
                    <a:pt x="64" y="60"/>
                  </a:lnTo>
                  <a:lnTo>
                    <a:pt x="65" y="60"/>
                  </a:lnTo>
                  <a:lnTo>
                    <a:pt x="66" y="59"/>
                  </a:lnTo>
                  <a:lnTo>
                    <a:pt x="67" y="56"/>
                  </a:lnTo>
                  <a:lnTo>
                    <a:pt x="68" y="55"/>
                  </a:lnTo>
                  <a:lnTo>
                    <a:pt x="73" y="53"/>
                  </a:lnTo>
                  <a:lnTo>
                    <a:pt x="76" y="49"/>
                  </a:lnTo>
                  <a:lnTo>
                    <a:pt x="78" y="45"/>
                  </a:lnTo>
                  <a:lnTo>
                    <a:pt x="81" y="43"/>
                  </a:lnTo>
                  <a:lnTo>
                    <a:pt x="84" y="42"/>
                  </a:lnTo>
                  <a:lnTo>
                    <a:pt x="93" y="40"/>
                  </a:lnTo>
                  <a:lnTo>
                    <a:pt x="97" y="39"/>
                  </a:lnTo>
                  <a:lnTo>
                    <a:pt x="98" y="39"/>
                  </a:lnTo>
                  <a:lnTo>
                    <a:pt x="100" y="40"/>
                  </a:lnTo>
                  <a:lnTo>
                    <a:pt x="102" y="43"/>
                  </a:lnTo>
                  <a:lnTo>
                    <a:pt x="104" y="45"/>
                  </a:lnTo>
                  <a:lnTo>
                    <a:pt x="107" y="47"/>
                  </a:lnTo>
                  <a:lnTo>
                    <a:pt x="110" y="47"/>
                  </a:lnTo>
                  <a:lnTo>
                    <a:pt x="108" y="42"/>
                  </a:lnTo>
                  <a:lnTo>
                    <a:pt x="103" y="38"/>
                  </a:lnTo>
                  <a:lnTo>
                    <a:pt x="100" y="33"/>
                  </a:lnTo>
                  <a:lnTo>
                    <a:pt x="100" y="31"/>
                  </a:lnTo>
                  <a:lnTo>
                    <a:pt x="103" y="27"/>
                  </a:lnTo>
                  <a:lnTo>
                    <a:pt x="105" y="23"/>
                  </a:lnTo>
                  <a:lnTo>
                    <a:pt x="109" y="21"/>
                  </a:lnTo>
                  <a:lnTo>
                    <a:pt x="109" y="18"/>
                  </a:lnTo>
                  <a:lnTo>
                    <a:pt x="109" y="16"/>
                  </a:lnTo>
                  <a:lnTo>
                    <a:pt x="108" y="12"/>
                  </a:lnTo>
                  <a:lnTo>
                    <a:pt x="109" y="10"/>
                  </a:lnTo>
                  <a:lnTo>
                    <a:pt x="110" y="8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116" y="2"/>
                  </a:lnTo>
                  <a:lnTo>
                    <a:pt x="123" y="6"/>
                  </a:lnTo>
                  <a:lnTo>
                    <a:pt x="128" y="8"/>
                  </a:lnTo>
                  <a:lnTo>
                    <a:pt x="132" y="13"/>
                  </a:lnTo>
                  <a:lnTo>
                    <a:pt x="134" y="17"/>
                  </a:lnTo>
                  <a:lnTo>
                    <a:pt x="135" y="22"/>
                  </a:lnTo>
                  <a:lnTo>
                    <a:pt x="137" y="27"/>
                  </a:lnTo>
                  <a:lnTo>
                    <a:pt x="141" y="32"/>
                  </a:lnTo>
                  <a:lnTo>
                    <a:pt x="143" y="31"/>
                  </a:lnTo>
                  <a:lnTo>
                    <a:pt x="142" y="28"/>
                  </a:lnTo>
                  <a:lnTo>
                    <a:pt x="150" y="33"/>
                  </a:lnTo>
                  <a:lnTo>
                    <a:pt x="153" y="39"/>
                  </a:lnTo>
                  <a:lnTo>
                    <a:pt x="156" y="48"/>
                  </a:lnTo>
                  <a:lnTo>
                    <a:pt x="158" y="55"/>
                  </a:lnTo>
                  <a:lnTo>
                    <a:pt x="159" y="64"/>
                  </a:lnTo>
                  <a:lnTo>
                    <a:pt x="161" y="72"/>
                  </a:lnTo>
                  <a:lnTo>
                    <a:pt x="161" y="75"/>
                  </a:lnTo>
                  <a:lnTo>
                    <a:pt x="161" y="77"/>
                  </a:lnTo>
                  <a:lnTo>
                    <a:pt x="161" y="80"/>
                  </a:lnTo>
                  <a:lnTo>
                    <a:pt x="157" y="80"/>
                  </a:lnTo>
                  <a:lnTo>
                    <a:pt x="159" y="82"/>
                  </a:lnTo>
                  <a:lnTo>
                    <a:pt x="162" y="86"/>
                  </a:lnTo>
                  <a:lnTo>
                    <a:pt x="162" y="88"/>
                  </a:lnTo>
                  <a:lnTo>
                    <a:pt x="161" y="90"/>
                  </a:lnTo>
                  <a:lnTo>
                    <a:pt x="158" y="88"/>
                  </a:lnTo>
                  <a:lnTo>
                    <a:pt x="157" y="90"/>
                  </a:lnTo>
                  <a:lnTo>
                    <a:pt x="156" y="91"/>
                  </a:lnTo>
                  <a:lnTo>
                    <a:pt x="155" y="92"/>
                  </a:lnTo>
                  <a:lnTo>
                    <a:pt x="155" y="94"/>
                  </a:lnTo>
                  <a:lnTo>
                    <a:pt x="155" y="96"/>
                  </a:lnTo>
                  <a:lnTo>
                    <a:pt x="152" y="97"/>
                  </a:lnTo>
                  <a:lnTo>
                    <a:pt x="148" y="97"/>
                  </a:lnTo>
                  <a:lnTo>
                    <a:pt x="148" y="98"/>
                  </a:lnTo>
                  <a:lnTo>
                    <a:pt x="148" y="101"/>
                  </a:lnTo>
                  <a:lnTo>
                    <a:pt x="147" y="106"/>
                  </a:lnTo>
                  <a:lnTo>
                    <a:pt x="145" y="109"/>
                  </a:lnTo>
                  <a:lnTo>
                    <a:pt x="143" y="109"/>
                  </a:lnTo>
                  <a:lnTo>
                    <a:pt x="141" y="108"/>
                  </a:lnTo>
                  <a:lnTo>
                    <a:pt x="141" y="115"/>
                  </a:lnTo>
                  <a:lnTo>
                    <a:pt x="141" y="118"/>
                  </a:lnTo>
                  <a:lnTo>
                    <a:pt x="142" y="122"/>
                  </a:lnTo>
                  <a:lnTo>
                    <a:pt x="139" y="123"/>
                  </a:lnTo>
                  <a:lnTo>
                    <a:pt x="137" y="124"/>
                  </a:lnTo>
                  <a:lnTo>
                    <a:pt x="137" y="129"/>
                  </a:lnTo>
                  <a:lnTo>
                    <a:pt x="137" y="131"/>
                  </a:lnTo>
                  <a:lnTo>
                    <a:pt x="140" y="134"/>
                  </a:lnTo>
                  <a:lnTo>
                    <a:pt x="142" y="137"/>
                  </a:lnTo>
                  <a:lnTo>
                    <a:pt x="142" y="139"/>
                  </a:lnTo>
                  <a:lnTo>
                    <a:pt x="143" y="141"/>
                  </a:lnTo>
                  <a:lnTo>
                    <a:pt x="145" y="145"/>
                  </a:lnTo>
                  <a:lnTo>
                    <a:pt x="141" y="149"/>
                  </a:lnTo>
                  <a:lnTo>
                    <a:pt x="141" y="151"/>
                  </a:lnTo>
                  <a:lnTo>
                    <a:pt x="142" y="153"/>
                  </a:lnTo>
                  <a:lnTo>
                    <a:pt x="145" y="153"/>
                  </a:lnTo>
                  <a:lnTo>
                    <a:pt x="148" y="151"/>
                  </a:lnTo>
                  <a:lnTo>
                    <a:pt x="152" y="149"/>
                  </a:lnTo>
                  <a:lnTo>
                    <a:pt x="155" y="146"/>
                  </a:lnTo>
                  <a:lnTo>
                    <a:pt x="161" y="145"/>
                  </a:lnTo>
                  <a:lnTo>
                    <a:pt x="166" y="146"/>
                  </a:lnTo>
                  <a:lnTo>
                    <a:pt x="172" y="146"/>
                  </a:lnTo>
                  <a:lnTo>
                    <a:pt x="177" y="144"/>
                  </a:lnTo>
                  <a:lnTo>
                    <a:pt x="177" y="146"/>
                  </a:lnTo>
                  <a:lnTo>
                    <a:pt x="175" y="149"/>
                  </a:lnTo>
                  <a:lnTo>
                    <a:pt x="174" y="151"/>
                  </a:lnTo>
                  <a:lnTo>
                    <a:pt x="174" y="155"/>
                  </a:lnTo>
                  <a:lnTo>
                    <a:pt x="175" y="157"/>
                  </a:lnTo>
                  <a:lnTo>
                    <a:pt x="178" y="160"/>
                  </a:lnTo>
                  <a:lnTo>
                    <a:pt x="179" y="161"/>
                  </a:lnTo>
                  <a:lnTo>
                    <a:pt x="179" y="163"/>
                  </a:lnTo>
                  <a:lnTo>
                    <a:pt x="178" y="165"/>
                  </a:lnTo>
                  <a:lnTo>
                    <a:pt x="179" y="166"/>
                  </a:lnTo>
                  <a:lnTo>
                    <a:pt x="182" y="169"/>
                  </a:lnTo>
                  <a:lnTo>
                    <a:pt x="183" y="173"/>
                  </a:lnTo>
                  <a:lnTo>
                    <a:pt x="184" y="176"/>
                  </a:lnTo>
                  <a:lnTo>
                    <a:pt x="187" y="178"/>
                  </a:lnTo>
                  <a:lnTo>
                    <a:pt x="190" y="179"/>
                  </a:lnTo>
                  <a:lnTo>
                    <a:pt x="195" y="179"/>
                  </a:lnTo>
                  <a:lnTo>
                    <a:pt x="199" y="181"/>
                  </a:lnTo>
                  <a:lnTo>
                    <a:pt x="200" y="182"/>
                  </a:lnTo>
                  <a:lnTo>
                    <a:pt x="201" y="185"/>
                  </a:lnTo>
                  <a:lnTo>
                    <a:pt x="199" y="187"/>
                  </a:lnTo>
                  <a:lnTo>
                    <a:pt x="198" y="190"/>
                  </a:lnTo>
                  <a:lnTo>
                    <a:pt x="198" y="194"/>
                  </a:lnTo>
                  <a:lnTo>
                    <a:pt x="199" y="198"/>
                  </a:lnTo>
                  <a:lnTo>
                    <a:pt x="198" y="203"/>
                  </a:lnTo>
                  <a:lnTo>
                    <a:pt x="196" y="208"/>
                  </a:lnTo>
                  <a:lnTo>
                    <a:pt x="196" y="211"/>
                  </a:lnTo>
                  <a:lnTo>
                    <a:pt x="196" y="212"/>
                  </a:lnTo>
                  <a:lnTo>
                    <a:pt x="199" y="212"/>
                  </a:lnTo>
                  <a:lnTo>
                    <a:pt x="203" y="211"/>
                  </a:lnTo>
                  <a:lnTo>
                    <a:pt x="207" y="211"/>
                  </a:lnTo>
                  <a:lnTo>
                    <a:pt x="214" y="212"/>
                  </a:lnTo>
                  <a:lnTo>
                    <a:pt x="219" y="214"/>
                  </a:lnTo>
                  <a:lnTo>
                    <a:pt x="220" y="217"/>
                  </a:lnTo>
                  <a:lnTo>
                    <a:pt x="220" y="221"/>
                  </a:lnTo>
                  <a:lnTo>
                    <a:pt x="221" y="225"/>
                  </a:lnTo>
                  <a:lnTo>
                    <a:pt x="222" y="226"/>
                  </a:lnTo>
                  <a:lnTo>
                    <a:pt x="225" y="226"/>
                  </a:lnTo>
                  <a:lnTo>
                    <a:pt x="225" y="230"/>
                  </a:lnTo>
                  <a:lnTo>
                    <a:pt x="226" y="233"/>
                  </a:lnTo>
                  <a:lnTo>
                    <a:pt x="227" y="233"/>
                  </a:lnTo>
                  <a:lnTo>
                    <a:pt x="230" y="232"/>
                  </a:lnTo>
                  <a:lnTo>
                    <a:pt x="231" y="231"/>
                  </a:lnTo>
                  <a:lnTo>
                    <a:pt x="233" y="232"/>
                  </a:lnTo>
                  <a:lnTo>
                    <a:pt x="236" y="232"/>
                  </a:lnTo>
                  <a:lnTo>
                    <a:pt x="238" y="232"/>
                  </a:lnTo>
                  <a:lnTo>
                    <a:pt x="243" y="230"/>
                  </a:lnTo>
                  <a:lnTo>
                    <a:pt x="248" y="226"/>
                  </a:lnTo>
                  <a:lnTo>
                    <a:pt x="252" y="222"/>
                  </a:lnTo>
                  <a:lnTo>
                    <a:pt x="253" y="226"/>
                  </a:lnTo>
                  <a:lnTo>
                    <a:pt x="254" y="228"/>
                  </a:lnTo>
                  <a:lnTo>
                    <a:pt x="254" y="231"/>
                  </a:lnTo>
                  <a:lnTo>
                    <a:pt x="252" y="235"/>
                  </a:lnTo>
                  <a:lnTo>
                    <a:pt x="247" y="237"/>
                  </a:lnTo>
                  <a:lnTo>
                    <a:pt x="246" y="238"/>
                  </a:lnTo>
                  <a:lnTo>
                    <a:pt x="243" y="240"/>
                  </a:lnTo>
                  <a:lnTo>
                    <a:pt x="242" y="242"/>
                  </a:lnTo>
                  <a:lnTo>
                    <a:pt x="241" y="248"/>
                  </a:lnTo>
                  <a:lnTo>
                    <a:pt x="241" y="252"/>
                  </a:lnTo>
                  <a:lnTo>
                    <a:pt x="241" y="252"/>
                  </a:lnTo>
                  <a:lnTo>
                    <a:pt x="242" y="252"/>
                  </a:lnTo>
                  <a:lnTo>
                    <a:pt x="241" y="254"/>
                  </a:lnTo>
                  <a:lnTo>
                    <a:pt x="238" y="254"/>
                  </a:lnTo>
                  <a:lnTo>
                    <a:pt x="236" y="254"/>
                  </a:lnTo>
                  <a:lnTo>
                    <a:pt x="233" y="256"/>
                  </a:lnTo>
                  <a:lnTo>
                    <a:pt x="231" y="258"/>
                  </a:lnTo>
                  <a:lnTo>
                    <a:pt x="230" y="262"/>
                  </a:lnTo>
                  <a:lnTo>
                    <a:pt x="230" y="269"/>
                  </a:lnTo>
                  <a:lnTo>
                    <a:pt x="226" y="268"/>
                  </a:lnTo>
                  <a:lnTo>
                    <a:pt x="222" y="268"/>
                  </a:lnTo>
                  <a:lnTo>
                    <a:pt x="217" y="270"/>
                  </a:lnTo>
                  <a:lnTo>
                    <a:pt x="212" y="270"/>
                  </a:lnTo>
                  <a:lnTo>
                    <a:pt x="215" y="274"/>
                  </a:lnTo>
                  <a:lnTo>
                    <a:pt x="215" y="275"/>
                  </a:lnTo>
                  <a:lnTo>
                    <a:pt x="214" y="276"/>
                  </a:lnTo>
                  <a:lnTo>
                    <a:pt x="209" y="278"/>
                  </a:lnTo>
                  <a:lnTo>
                    <a:pt x="204" y="278"/>
                  </a:lnTo>
                  <a:lnTo>
                    <a:pt x="201" y="279"/>
                  </a:lnTo>
                  <a:lnTo>
                    <a:pt x="201" y="281"/>
                  </a:lnTo>
                  <a:lnTo>
                    <a:pt x="201" y="284"/>
                  </a:lnTo>
                  <a:lnTo>
                    <a:pt x="201" y="286"/>
                  </a:lnTo>
                  <a:lnTo>
                    <a:pt x="200" y="289"/>
                  </a:lnTo>
                  <a:lnTo>
                    <a:pt x="196" y="287"/>
                  </a:lnTo>
                  <a:lnTo>
                    <a:pt x="195" y="287"/>
                  </a:lnTo>
                  <a:lnTo>
                    <a:pt x="193" y="289"/>
                  </a:lnTo>
                  <a:lnTo>
                    <a:pt x="190" y="291"/>
                  </a:lnTo>
                  <a:lnTo>
                    <a:pt x="188" y="291"/>
                  </a:lnTo>
                  <a:lnTo>
                    <a:pt x="185" y="291"/>
                  </a:lnTo>
                  <a:lnTo>
                    <a:pt x="180" y="290"/>
                  </a:lnTo>
                  <a:lnTo>
                    <a:pt x="177" y="290"/>
                  </a:lnTo>
                  <a:lnTo>
                    <a:pt x="174" y="289"/>
                  </a:lnTo>
                  <a:lnTo>
                    <a:pt x="174" y="290"/>
                  </a:lnTo>
                  <a:lnTo>
                    <a:pt x="172" y="294"/>
                  </a:lnTo>
                  <a:lnTo>
                    <a:pt x="169" y="297"/>
                  </a:lnTo>
                  <a:lnTo>
                    <a:pt x="169" y="301"/>
                  </a:lnTo>
                  <a:lnTo>
                    <a:pt x="169" y="305"/>
                  </a:lnTo>
                  <a:lnTo>
                    <a:pt x="171" y="307"/>
                  </a:lnTo>
                  <a:lnTo>
                    <a:pt x="171" y="310"/>
                  </a:lnTo>
                  <a:lnTo>
                    <a:pt x="169" y="312"/>
                  </a:lnTo>
                  <a:lnTo>
                    <a:pt x="169" y="315"/>
                  </a:lnTo>
                  <a:lnTo>
                    <a:pt x="168" y="317"/>
                  </a:lnTo>
                  <a:lnTo>
                    <a:pt x="171" y="322"/>
                  </a:lnTo>
                  <a:lnTo>
                    <a:pt x="172" y="326"/>
                  </a:lnTo>
                  <a:lnTo>
                    <a:pt x="171" y="328"/>
                  </a:lnTo>
                  <a:lnTo>
                    <a:pt x="168" y="329"/>
                  </a:lnTo>
                  <a:lnTo>
                    <a:pt x="164" y="331"/>
                  </a:lnTo>
                  <a:lnTo>
                    <a:pt x="162" y="329"/>
                  </a:lnTo>
                  <a:lnTo>
                    <a:pt x="159" y="328"/>
                  </a:lnTo>
                  <a:lnTo>
                    <a:pt x="162" y="335"/>
                  </a:lnTo>
                  <a:lnTo>
                    <a:pt x="164" y="338"/>
                  </a:lnTo>
                  <a:lnTo>
                    <a:pt x="168" y="338"/>
                  </a:lnTo>
                  <a:lnTo>
                    <a:pt x="169" y="342"/>
                  </a:lnTo>
                  <a:lnTo>
                    <a:pt x="171" y="344"/>
                  </a:lnTo>
                  <a:lnTo>
                    <a:pt x="173" y="349"/>
                  </a:lnTo>
                  <a:lnTo>
                    <a:pt x="173" y="354"/>
                  </a:lnTo>
                  <a:lnTo>
                    <a:pt x="175" y="358"/>
                  </a:lnTo>
                  <a:lnTo>
                    <a:pt x="179" y="362"/>
                  </a:lnTo>
                  <a:lnTo>
                    <a:pt x="183" y="366"/>
                  </a:lnTo>
                  <a:lnTo>
                    <a:pt x="187" y="370"/>
                  </a:lnTo>
                  <a:lnTo>
                    <a:pt x="190" y="374"/>
                  </a:lnTo>
                  <a:lnTo>
                    <a:pt x="193" y="376"/>
                  </a:lnTo>
                  <a:lnTo>
                    <a:pt x="196" y="380"/>
                  </a:lnTo>
                  <a:lnTo>
                    <a:pt x="199" y="385"/>
                  </a:lnTo>
                  <a:lnTo>
                    <a:pt x="203" y="394"/>
                  </a:lnTo>
                  <a:lnTo>
                    <a:pt x="205" y="399"/>
                  </a:lnTo>
                  <a:lnTo>
                    <a:pt x="207" y="403"/>
                  </a:lnTo>
                  <a:lnTo>
                    <a:pt x="211" y="398"/>
                  </a:lnTo>
                  <a:lnTo>
                    <a:pt x="212" y="401"/>
                  </a:lnTo>
                  <a:lnTo>
                    <a:pt x="214" y="403"/>
                  </a:lnTo>
                  <a:lnTo>
                    <a:pt x="210" y="409"/>
                  </a:lnTo>
                  <a:lnTo>
                    <a:pt x="207" y="410"/>
                  </a:lnTo>
                  <a:lnTo>
                    <a:pt x="206" y="410"/>
                  </a:lnTo>
                  <a:lnTo>
                    <a:pt x="205" y="413"/>
                  </a:lnTo>
                  <a:lnTo>
                    <a:pt x="205" y="417"/>
                  </a:lnTo>
                  <a:lnTo>
                    <a:pt x="206" y="419"/>
                  </a:lnTo>
                  <a:lnTo>
                    <a:pt x="206" y="424"/>
                  </a:lnTo>
                  <a:lnTo>
                    <a:pt x="207" y="431"/>
                  </a:lnTo>
                  <a:lnTo>
                    <a:pt x="206" y="433"/>
                  </a:lnTo>
                  <a:lnTo>
                    <a:pt x="204" y="434"/>
                  </a:lnTo>
                  <a:lnTo>
                    <a:pt x="203" y="435"/>
                  </a:lnTo>
                  <a:lnTo>
                    <a:pt x="201" y="437"/>
                  </a:lnTo>
                  <a:lnTo>
                    <a:pt x="200" y="436"/>
                  </a:lnTo>
                  <a:lnTo>
                    <a:pt x="199" y="436"/>
                  </a:lnTo>
                  <a:lnTo>
                    <a:pt x="196" y="440"/>
                  </a:lnTo>
                  <a:lnTo>
                    <a:pt x="198" y="447"/>
                  </a:lnTo>
                  <a:lnTo>
                    <a:pt x="200" y="453"/>
                  </a:lnTo>
                  <a:lnTo>
                    <a:pt x="205" y="460"/>
                  </a:lnTo>
                  <a:lnTo>
                    <a:pt x="211" y="466"/>
                  </a:lnTo>
                  <a:lnTo>
                    <a:pt x="216" y="472"/>
                  </a:lnTo>
                  <a:lnTo>
                    <a:pt x="222" y="477"/>
                  </a:lnTo>
                  <a:lnTo>
                    <a:pt x="226" y="483"/>
                  </a:lnTo>
                  <a:lnTo>
                    <a:pt x="230" y="490"/>
                  </a:lnTo>
                  <a:lnTo>
                    <a:pt x="231" y="496"/>
                  </a:lnTo>
                  <a:lnTo>
                    <a:pt x="231" y="504"/>
                  </a:lnTo>
                  <a:lnTo>
                    <a:pt x="230" y="506"/>
                  </a:lnTo>
                  <a:lnTo>
                    <a:pt x="230" y="508"/>
                  </a:lnTo>
                  <a:lnTo>
                    <a:pt x="231" y="510"/>
                  </a:lnTo>
                  <a:lnTo>
                    <a:pt x="231" y="512"/>
                  </a:lnTo>
                  <a:lnTo>
                    <a:pt x="233" y="519"/>
                  </a:lnTo>
                  <a:lnTo>
                    <a:pt x="237" y="524"/>
                  </a:lnTo>
                  <a:lnTo>
                    <a:pt x="241" y="530"/>
                  </a:lnTo>
                  <a:lnTo>
                    <a:pt x="242" y="536"/>
                  </a:lnTo>
                  <a:lnTo>
                    <a:pt x="243" y="539"/>
                  </a:lnTo>
                  <a:lnTo>
                    <a:pt x="244" y="544"/>
                  </a:lnTo>
                  <a:lnTo>
                    <a:pt x="247" y="548"/>
                  </a:lnTo>
                  <a:lnTo>
                    <a:pt x="248" y="551"/>
                  </a:lnTo>
                  <a:lnTo>
                    <a:pt x="248" y="554"/>
                  </a:lnTo>
                  <a:lnTo>
                    <a:pt x="247" y="559"/>
                  </a:lnTo>
                  <a:lnTo>
                    <a:pt x="241" y="569"/>
                  </a:lnTo>
                  <a:lnTo>
                    <a:pt x="236" y="576"/>
                  </a:lnTo>
                  <a:lnTo>
                    <a:pt x="232" y="581"/>
                  </a:lnTo>
                  <a:lnTo>
                    <a:pt x="228" y="587"/>
                  </a:lnTo>
                  <a:lnTo>
                    <a:pt x="228" y="590"/>
                  </a:lnTo>
                  <a:lnTo>
                    <a:pt x="228" y="592"/>
                  </a:lnTo>
                  <a:lnTo>
                    <a:pt x="228" y="594"/>
                  </a:lnTo>
                  <a:lnTo>
                    <a:pt x="227" y="596"/>
                  </a:lnTo>
                  <a:lnTo>
                    <a:pt x="225" y="605"/>
                  </a:lnTo>
                  <a:lnTo>
                    <a:pt x="222" y="612"/>
                  </a:lnTo>
                  <a:lnTo>
                    <a:pt x="220" y="607"/>
                  </a:lnTo>
                  <a:lnTo>
                    <a:pt x="220" y="602"/>
                  </a:lnTo>
                  <a:lnTo>
                    <a:pt x="217" y="592"/>
                  </a:lnTo>
                  <a:lnTo>
                    <a:pt x="217" y="590"/>
                  </a:lnTo>
                  <a:lnTo>
                    <a:pt x="217" y="589"/>
                  </a:lnTo>
                  <a:lnTo>
                    <a:pt x="219" y="587"/>
                  </a:lnTo>
                  <a:lnTo>
                    <a:pt x="220" y="586"/>
                  </a:lnTo>
                  <a:lnTo>
                    <a:pt x="220" y="585"/>
                  </a:lnTo>
                  <a:lnTo>
                    <a:pt x="220" y="584"/>
                  </a:lnTo>
                  <a:lnTo>
                    <a:pt x="220" y="583"/>
                  </a:lnTo>
                  <a:lnTo>
                    <a:pt x="223" y="574"/>
                  </a:lnTo>
                  <a:lnTo>
                    <a:pt x="223" y="567"/>
                  </a:lnTo>
                  <a:lnTo>
                    <a:pt x="222" y="563"/>
                  </a:lnTo>
                  <a:lnTo>
                    <a:pt x="222" y="559"/>
                  </a:lnTo>
                  <a:lnTo>
                    <a:pt x="223" y="557"/>
                  </a:lnTo>
                  <a:lnTo>
                    <a:pt x="226" y="554"/>
                  </a:lnTo>
                  <a:lnTo>
                    <a:pt x="225" y="551"/>
                  </a:lnTo>
                  <a:lnTo>
                    <a:pt x="222" y="553"/>
                  </a:lnTo>
                  <a:lnTo>
                    <a:pt x="219" y="554"/>
                  </a:lnTo>
                  <a:lnTo>
                    <a:pt x="220" y="552"/>
                  </a:lnTo>
                  <a:lnTo>
                    <a:pt x="220" y="551"/>
                  </a:lnTo>
                  <a:lnTo>
                    <a:pt x="221" y="549"/>
                  </a:lnTo>
                  <a:lnTo>
                    <a:pt x="219" y="549"/>
                  </a:lnTo>
                  <a:lnTo>
                    <a:pt x="220" y="548"/>
                  </a:lnTo>
                  <a:lnTo>
                    <a:pt x="220" y="547"/>
                  </a:lnTo>
                  <a:lnTo>
                    <a:pt x="220" y="543"/>
                  </a:lnTo>
                  <a:lnTo>
                    <a:pt x="219" y="541"/>
                  </a:lnTo>
                  <a:lnTo>
                    <a:pt x="219" y="539"/>
                  </a:lnTo>
                  <a:lnTo>
                    <a:pt x="220" y="538"/>
                  </a:lnTo>
                  <a:lnTo>
                    <a:pt x="217" y="538"/>
                  </a:lnTo>
                  <a:lnTo>
                    <a:pt x="215" y="536"/>
                  </a:lnTo>
                  <a:lnTo>
                    <a:pt x="220" y="533"/>
                  </a:lnTo>
                  <a:lnTo>
                    <a:pt x="217" y="531"/>
                  </a:lnTo>
                  <a:lnTo>
                    <a:pt x="217" y="530"/>
                  </a:lnTo>
                  <a:lnTo>
                    <a:pt x="219" y="528"/>
                  </a:lnTo>
                  <a:lnTo>
                    <a:pt x="217" y="527"/>
                  </a:lnTo>
                  <a:lnTo>
                    <a:pt x="217" y="526"/>
                  </a:lnTo>
                  <a:lnTo>
                    <a:pt x="217" y="521"/>
                  </a:lnTo>
                  <a:lnTo>
                    <a:pt x="215" y="514"/>
                  </a:lnTo>
                  <a:lnTo>
                    <a:pt x="212" y="506"/>
                  </a:lnTo>
                  <a:lnTo>
                    <a:pt x="209" y="499"/>
                  </a:lnTo>
                  <a:lnTo>
                    <a:pt x="205" y="492"/>
                  </a:lnTo>
                  <a:lnTo>
                    <a:pt x="203" y="484"/>
                  </a:lnTo>
                  <a:lnTo>
                    <a:pt x="199" y="477"/>
                  </a:lnTo>
                  <a:lnTo>
                    <a:pt x="200" y="480"/>
                  </a:lnTo>
                  <a:lnTo>
                    <a:pt x="201" y="485"/>
                  </a:lnTo>
                  <a:lnTo>
                    <a:pt x="201" y="490"/>
                  </a:lnTo>
                  <a:lnTo>
                    <a:pt x="200" y="494"/>
                  </a:lnTo>
                  <a:lnTo>
                    <a:pt x="200" y="492"/>
                  </a:lnTo>
                  <a:lnTo>
                    <a:pt x="199" y="489"/>
                  </a:lnTo>
                  <a:lnTo>
                    <a:pt x="198" y="484"/>
                  </a:lnTo>
                  <a:lnTo>
                    <a:pt x="198" y="479"/>
                  </a:lnTo>
                  <a:lnTo>
                    <a:pt x="196" y="473"/>
                  </a:lnTo>
                  <a:lnTo>
                    <a:pt x="196" y="472"/>
                  </a:lnTo>
                  <a:lnTo>
                    <a:pt x="195" y="469"/>
                  </a:lnTo>
                  <a:lnTo>
                    <a:pt x="191" y="463"/>
                  </a:lnTo>
                  <a:lnTo>
                    <a:pt x="190" y="457"/>
                  </a:lnTo>
                  <a:lnTo>
                    <a:pt x="190" y="456"/>
                  </a:lnTo>
                  <a:lnTo>
                    <a:pt x="191" y="457"/>
                  </a:lnTo>
                  <a:lnTo>
                    <a:pt x="190" y="453"/>
                  </a:lnTo>
                  <a:lnTo>
                    <a:pt x="188" y="456"/>
                  </a:lnTo>
                  <a:lnTo>
                    <a:pt x="185" y="446"/>
                  </a:lnTo>
                  <a:lnTo>
                    <a:pt x="184" y="437"/>
                  </a:lnTo>
                  <a:lnTo>
                    <a:pt x="183" y="428"/>
                  </a:lnTo>
                  <a:lnTo>
                    <a:pt x="180" y="419"/>
                  </a:lnTo>
                  <a:lnTo>
                    <a:pt x="178" y="415"/>
                  </a:lnTo>
                  <a:lnTo>
                    <a:pt x="175" y="413"/>
                  </a:lnTo>
                  <a:lnTo>
                    <a:pt x="175" y="410"/>
                  </a:lnTo>
                  <a:lnTo>
                    <a:pt x="175" y="407"/>
                  </a:lnTo>
                  <a:lnTo>
                    <a:pt x="175" y="401"/>
                  </a:lnTo>
                  <a:lnTo>
                    <a:pt x="175" y="397"/>
                  </a:lnTo>
                  <a:lnTo>
                    <a:pt x="178" y="394"/>
                  </a:lnTo>
                  <a:lnTo>
                    <a:pt x="172" y="396"/>
                  </a:lnTo>
                  <a:lnTo>
                    <a:pt x="169" y="396"/>
                  </a:lnTo>
                  <a:lnTo>
                    <a:pt x="167" y="394"/>
                  </a:lnTo>
                  <a:lnTo>
                    <a:pt x="162" y="386"/>
                  </a:lnTo>
                  <a:lnTo>
                    <a:pt x="159" y="376"/>
                  </a:lnTo>
                  <a:lnTo>
                    <a:pt x="158" y="376"/>
                  </a:lnTo>
                  <a:lnTo>
                    <a:pt x="157" y="375"/>
                  </a:lnTo>
                  <a:lnTo>
                    <a:pt x="155" y="371"/>
                  </a:lnTo>
                  <a:lnTo>
                    <a:pt x="152" y="369"/>
                  </a:lnTo>
                  <a:lnTo>
                    <a:pt x="150" y="365"/>
                  </a:lnTo>
                  <a:lnTo>
                    <a:pt x="150" y="366"/>
                  </a:lnTo>
                  <a:lnTo>
                    <a:pt x="150" y="369"/>
                  </a:lnTo>
                  <a:lnTo>
                    <a:pt x="150" y="371"/>
                  </a:lnTo>
                  <a:lnTo>
                    <a:pt x="150" y="374"/>
                  </a:lnTo>
                  <a:lnTo>
                    <a:pt x="151" y="381"/>
                  </a:lnTo>
                  <a:lnTo>
                    <a:pt x="151" y="383"/>
                  </a:lnTo>
                  <a:lnTo>
                    <a:pt x="151" y="387"/>
                  </a:lnTo>
                  <a:lnTo>
                    <a:pt x="147" y="393"/>
                  </a:lnTo>
                  <a:lnTo>
                    <a:pt x="145" y="396"/>
                  </a:lnTo>
                  <a:lnTo>
                    <a:pt x="142" y="397"/>
                  </a:lnTo>
                  <a:lnTo>
                    <a:pt x="139" y="396"/>
                  </a:lnTo>
                  <a:lnTo>
                    <a:pt x="135" y="393"/>
                  </a:lnTo>
                  <a:lnTo>
                    <a:pt x="134" y="390"/>
                  </a:lnTo>
                  <a:lnTo>
                    <a:pt x="135" y="386"/>
                  </a:lnTo>
                  <a:lnTo>
                    <a:pt x="132" y="388"/>
                  </a:lnTo>
                  <a:lnTo>
                    <a:pt x="132" y="390"/>
                  </a:lnTo>
                  <a:lnTo>
                    <a:pt x="135" y="392"/>
                  </a:lnTo>
                  <a:lnTo>
                    <a:pt x="136" y="394"/>
                  </a:lnTo>
                  <a:lnTo>
                    <a:pt x="136" y="398"/>
                  </a:lnTo>
                  <a:lnTo>
                    <a:pt x="135" y="401"/>
                  </a:lnTo>
                  <a:lnTo>
                    <a:pt x="132" y="402"/>
                  </a:lnTo>
                  <a:lnTo>
                    <a:pt x="129" y="401"/>
                  </a:lnTo>
                  <a:lnTo>
                    <a:pt x="130" y="402"/>
                  </a:lnTo>
                  <a:lnTo>
                    <a:pt x="130" y="403"/>
                  </a:lnTo>
                  <a:lnTo>
                    <a:pt x="128" y="405"/>
                  </a:lnTo>
                  <a:lnTo>
                    <a:pt x="124" y="407"/>
                  </a:lnTo>
                  <a:lnTo>
                    <a:pt x="121" y="405"/>
                  </a:lnTo>
                  <a:lnTo>
                    <a:pt x="121" y="410"/>
                  </a:lnTo>
                  <a:lnTo>
                    <a:pt x="120" y="417"/>
                  </a:lnTo>
                  <a:lnTo>
                    <a:pt x="116" y="421"/>
                  </a:lnTo>
                  <a:lnTo>
                    <a:pt x="114" y="423"/>
                  </a:lnTo>
                  <a:lnTo>
                    <a:pt x="112" y="421"/>
                  </a:lnTo>
                  <a:lnTo>
                    <a:pt x="110" y="419"/>
                  </a:lnTo>
                  <a:lnTo>
                    <a:pt x="110" y="415"/>
                  </a:lnTo>
                  <a:lnTo>
                    <a:pt x="112" y="412"/>
                  </a:lnTo>
                  <a:lnTo>
                    <a:pt x="112" y="408"/>
                  </a:lnTo>
                  <a:lnTo>
                    <a:pt x="110" y="410"/>
                  </a:lnTo>
                  <a:lnTo>
                    <a:pt x="109" y="414"/>
                  </a:lnTo>
                  <a:lnTo>
                    <a:pt x="109" y="415"/>
                  </a:lnTo>
                  <a:lnTo>
                    <a:pt x="109" y="415"/>
                  </a:lnTo>
                  <a:lnTo>
                    <a:pt x="109" y="413"/>
                  </a:lnTo>
                  <a:lnTo>
                    <a:pt x="108" y="417"/>
                  </a:lnTo>
                  <a:lnTo>
                    <a:pt x="108" y="420"/>
                  </a:lnTo>
                  <a:lnTo>
                    <a:pt x="105" y="418"/>
                  </a:lnTo>
                  <a:lnTo>
                    <a:pt x="104" y="415"/>
                  </a:lnTo>
                  <a:lnTo>
                    <a:pt x="104" y="412"/>
                  </a:lnTo>
                  <a:lnTo>
                    <a:pt x="105" y="409"/>
                  </a:lnTo>
                  <a:lnTo>
                    <a:pt x="104" y="409"/>
                  </a:lnTo>
                  <a:lnTo>
                    <a:pt x="104" y="410"/>
                  </a:lnTo>
                  <a:lnTo>
                    <a:pt x="103" y="415"/>
                  </a:lnTo>
                  <a:lnTo>
                    <a:pt x="100" y="420"/>
                  </a:lnTo>
                  <a:lnTo>
                    <a:pt x="100" y="421"/>
                  </a:lnTo>
                  <a:lnTo>
                    <a:pt x="98" y="420"/>
                  </a:lnTo>
                  <a:lnTo>
                    <a:pt x="97" y="418"/>
                  </a:lnTo>
                  <a:lnTo>
                    <a:pt x="97" y="413"/>
                  </a:lnTo>
                  <a:lnTo>
                    <a:pt x="98" y="408"/>
                  </a:lnTo>
                  <a:lnTo>
                    <a:pt x="100" y="404"/>
                  </a:lnTo>
                  <a:lnTo>
                    <a:pt x="98" y="407"/>
                  </a:lnTo>
                  <a:lnTo>
                    <a:pt x="96" y="410"/>
                  </a:lnTo>
                  <a:lnTo>
                    <a:pt x="94" y="415"/>
                  </a:lnTo>
                  <a:lnTo>
                    <a:pt x="93" y="418"/>
                  </a:lnTo>
                  <a:lnTo>
                    <a:pt x="89" y="415"/>
                  </a:lnTo>
                  <a:lnTo>
                    <a:pt x="93" y="412"/>
                  </a:lnTo>
                  <a:lnTo>
                    <a:pt x="94" y="408"/>
                  </a:lnTo>
                  <a:lnTo>
                    <a:pt x="92" y="412"/>
                  </a:lnTo>
                  <a:lnTo>
                    <a:pt x="91" y="414"/>
                  </a:lnTo>
                  <a:lnTo>
                    <a:pt x="88" y="414"/>
                  </a:lnTo>
                  <a:lnTo>
                    <a:pt x="91" y="410"/>
                  </a:lnTo>
                  <a:lnTo>
                    <a:pt x="92" y="405"/>
                  </a:lnTo>
                  <a:lnTo>
                    <a:pt x="92" y="396"/>
                  </a:lnTo>
                  <a:lnTo>
                    <a:pt x="89" y="396"/>
                  </a:lnTo>
                  <a:lnTo>
                    <a:pt x="91" y="401"/>
                  </a:lnTo>
                  <a:lnTo>
                    <a:pt x="88" y="405"/>
                  </a:lnTo>
                  <a:lnTo>
                    <a:pt x="84" y="409"/>
                  </a:lnTo>
                  <a:lnTo>
                    <a:pt x="82" y="413"/>
                  </a:lnTo>
                  <a:lnTo>
                    <a:pt x="80" y="412"/>
                  </a:lnTo>
                  <a:lnTo>
                    <a:pt x="78" y="409"/>
                  </a:lnTo>
                  <a:lnTo>
                    <a:pt x="78" y="405"/>
                  </a:lnTo>
                  <a:lnTo>
                    <a:pt x="78" y="401"/>
                  </a:lnTo>
                  <a:lnTo>
                    <a:pt x="80" y="392"/>
                  </a:lnTo>
                  <a:lnTo>
                    <a:pt x="81" y="388"/>
                  </a:lnTo>
                  <a:lnTo>
                    <a:pt x="81" y="386"/>
                  </a:lnTo>
                  <a:lnTo>
                    <a:pt x="81" y="382"/>
                  </a:lnTo>
                  <a:lnTo>
                    <a:pt x="82" y="378"/>
                  </a:lnTo>
                  <a:lnTo>
                    <a:pt x="82" y="375"/>
                  </a:lnTo>
                  <a:lnTo>
                    <a:pt x="82" y="372"/>
                  </a:lnTo>
                  <a:lnTo>
                    <a:pt x="84" y="369"/>
                  </a:lnTo>
                  <a:lnTo>
                    <a:pt x="83" y="364"/>
                  </a:lnTo>
                  <a:lnTo>
                    <a:pt x="82" y="358"/>
                  </a:lnTo>
                  <a:lnTo>
                    <a:pt x="81" y="354"/>
                  </a:lnTo>
                  <a:lnTo>
                    <a:pt x="80" y="349"/>
                  </a:lnTo>
                  <a:lnTo>
                    <a:pt x="78" y="344"/>
                  </a:lnTo>
                  <a:lnTo>
                    <a:pt x="77" y="339"/>
                  </a:lnTo>
                  <a:lnTo>
                    <a:pt x="75" y="335"/>
                  </a:lnTo>
                  <a:lnTo>
                    <a:pt x="71" y="329"/>
                  </a:lnTo>
                  <a:lnTo>
                    <a:pt x="67" y="324"/>
                  </a:lnTo>
                  <a:lnTo>
                    <a:pt x="67" y="323"/>
                  </a:lnTo>
                  <a:lnTo>
                    <a:pt x="70" y="322"/>
                  </a:lnTo>
                  <a:lnTo>
                    <a:pt x="65" y="319"/>
                  </a:lnTo>
                  <a:lnTo>
                    <a:pt x="62" y="318"/>
                  </a:lnTo>
                  <a:lnTo>
                    <a:pt x="62" y="315"/>
                  </a:lnTo>
                  <a:lnTo>
                    <a:pt x="62" y="308"/>
                  </a:lnTo>
                  <a:lnTo>
                    <a:pt x="60" y="302"/>
                  </a:lnTo>
                  <a:lnTo>
                    <a:pt x="61" y="307"/>
                  </a:lnTo>
                  <a:lnTo>
                    <a:pt x="60" y="308"/>
                  </a:lnTo>
                  <a:lnTo>
                    <a:pt x="57" y="307"/>
                  </a:lnTo>
                  <a:lnTo>
                    <a:pt x="60" y="313"/>
                  </a:lnTo>
                  <a:lnTo>
                    <a:pt x="60" y="316"/>
                  </a:lnTo>
                  <a:lnTo>
                    <a:pt x="60" y="318"/>
                  </a:lnTo>
                  <a:lnTo>
                    <a:pt x="55" y="316"/>
                  </a:lnTo>
                  <a:lnTo>
                    <a:pt x="51" y="312"/>
                  </a:lnTo>
                  <a:lnTo>
                    <a:pt x="45" y="303"/>
                  </a:lnTo>
                  <a:lnTo>
                    <a:pt x="45" y="302"/>
                  </a:lnTo>
                  <a:lnTo>
                    <a:pt x="46" y="301"/>
                  </a:lnTo>
                  <a:lnTo>
                    <a:pt x="48" y="301"/>
                  </a:lnTo>
                  <a:lnTo>
                    <a:pt x="49" y="302"/>
                  </a:lnTo>
                  <a:lnTo>
                    <a:pt x="50" y="305"/>
                  </a:lnTo>
                  <a:lnTo>
                    <a:pt x="54" y="305"/>
                  </a:lnTo>
                  <a:lnTo>
                    <a:pt x="56" y="306"/>
                  </a:lnTo>
                  <a:lnTo>
                    <a:pt x="59" y="305"/>
                  </a:lnTo>
                  <a:lnTo>
                    <a:pt x="59" y="302"/>
                  </a:lnTo>
                  <a:lnTo>
                    <a:pt x="57" y="300"/>
                  </a:lnTo>
                  <a:lnTo>
                    <a:pt x="56" y="299"/>
                  </a:lnTo>
                  <a:lnTo>
                    <a:pt x="52" y="296"/>
                  </a:lnTo>
                  <a:lnTo>
                    <a:pt x="51" y="294"/>
                  </a:lnTo>
                  <a:lnTo>
                    <a:pt x="51" y="292"/>
                  </a:lnTo>
                  <a:lnTo>
                    <a:pt x="52" y="291"/>
                  </a:lnTo>
                  <a:lnTo>
                    <a:pt x="46" y="290"/>
                  </a:lnTo>
                  <a:lnTo>
                    <a:pt x="46" y="284"/>
                  </a:lnTo>
                  <a:lnTo>
                    <a:pt x="45" y="284"/>
                  </a:lnTo>
                  <a:lnTo>
                    <a:pt x="43" y="284"/>
                  </a:lnTo>
                  <a:lnTo>
                    <a:pt x="39" y="280"/>
                  </a:lnTo>
                  <a:lnTo>
                    <a:pt x="38" y="279"/>
                  </a:lnTo>
                  <a:lnTo>
                    <a:pt x="35" y="279"/>
                  </a:lnTo>
                  <a:lnTo>
                    <a:pt x="34" y="279"/>
                  </a:lnTo>
                  <a:lnTo>
                    <a:pt x="32" y="278"/>
                  </a:lnTo>
                  <a:lnTo>
                    <a:pt x="35" y="286"/>
                  </a:lnTo>
                  <a:lnTo>
                    <a:pt x="32" y="281"/>
                  </a:lnTo>
                  <a:lnTo>
                    <a:pt x="32" y="284"/>
                  </a:lnTo>
                  <a:lnTo>
                    <a:pt x="33" y="286"/>
                  </a:lnTo>
                  <a:lnTo>
                    <a:pt x="29" y="280"/>
                  </a:lnTo>
                  <a:lnTo>
                    <a:pt x="29" y="278"/>
                  </a:lnTo>
                  <a:lnTo>
                    <a:pt x="30" y="274"/>
                  </a:lnTo>
                  <a:lnTo>
                    <a:pt x="27" y="274"/>
                  </a:lnTo>
                  <a:lnTo>
                    <a:pt x="29" y="269"/>
                  </a:lnTo>
                  <a:lnTo>
                    <a:pt x="28" y="269"/>
                  </a:lnTo>
                  <a:lnTo>
                    <a:pt x="28" y="263"/>
                  </a:lnTo>
                  <a:lnTo>
                    <a:pt x="27" y="270"/>
                  </a:lnTo>
                  <a:lnTo>
                    <a:pt x="24" y="278"/>
                  </a:lnTo>
                  <a:lnTo>
                    <a:pt x="22" y="276"/>
                  </a:lnTo>
                  <a:lnTo>
                    <a:pt x="22" y="274"/>
                  </a:lnTo>
                  <a:lnTo>
                    <a:pt x="22" y="270"/>
                  </a:lnTo>
                  <a:lnTo>
                    <a:pt x="22" y="268"/>
                  </a:lnTo>
                  <a:lnTo>
                    <a:pt x="21" y="267"/>
                  </a:lnTo>
                  <a:lnTo>
                    <a:pt x="17" y="262"/>
                  </a:lnTo>
                  <a:lnTo>
                    <a:pt x="18" y="267"/>
                  </a:lnTo>
                  <a:lnTo>
                    <a:pt x="18" y="269"/>
                  </a:lnTo>
                  <a:lnTo>
                    <a:pt x="18" y="270"/>
                  </a:lnTo>
                  <a:lnTo>
                    <a:pt x="14" y="264"/>
                  </a:lnTo>
                  <a:lnTo>
                    <a:pt x="8" y="259"/>
                  </a:lnTo>
                  <a:lnTo>
                    <a:pt x="5" y="256"/>
                  </a:lnTo>
                  <a:lnTo>
                    <a:pt x="3" y="252"/>
                  </a:lnTo>
                  <a:lnTo>
                    <a:pt x="0" y="24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0" name="Freeform 708">
              <a:extLst>
                <a:ext uri="{FF2B5EF4-FFF2-40B4-BE49-F238E27FC236}">
                  <a16:creationId xmlns:a16="http://schemas.microsoft.com/office/drawing/2014/main" id="{02729C15-996B-487C-B5C9-87AC29DF0820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8766" y="3107452"/>
              <a:ext cx="284567" cy="139121"/>
            </a:xfrm>
            <a:custGeom>
              <a:avLst/>
              <a:gdLst>
                <a:gd name="T0" fmla="*/ 17 w 271"/>
                <a:gd name="T1" fmla="*/ 100 h 133"/>
                <a:gd name="T2" fmla="*/ 31 w 271"/>
                <a:gd name="T3" fmla="*/ 106 h 133"/>
                <a:gd name="T4" fmla="*/ 36 w 271"/>
                <a:gd name="T5" fmla="*/ 105 h 133"/>
                <a:gd name="T6" fmla="*/ 46 w 271"/>
                <a:gd name="T7" fmla="*/ 96 h 133"/>
                <a:gd name="T8" fmla="*/ 57 w 271"/>
                <a:gd name="T9" fmla="*/ 100 h 133"/>
                <a:gd name="T10" fmla="*/ 60 w 271"/>
                <a:gd name="T11" fmla="*/ 100 h 133"/>
                <a:gd name="T12" fmla="*/ 69 w 271"/>
                <a:gd name="T13" fmla="*/ 99 h 133"/>
                <a:gd name="T14" fmla="*/ 70 w 271"/>
                <a:gd name="T15" fmla="*/ 95 h 133"/>
                <a:gd name="T16" fmla="*/ 77 w 271"/>
                <a:gd name="T17" fmla="*/ 90 h 133"/>
                <a:gd name="T18" fmla="*/ 85 w 271"/>
                <a:gd name="T19" fmla="*/ 88 h 133"/>
                <a:gd name="T20" fmla="*/ 92 w 271"/>
                <a:gd name="T21" fmla="*/ 82 h 133"/>
                <a:gd name="T22" fmla="*/ 86 w 271"/>
                <a:gd name="T23" fmla="*/ 78 h 133"/>
                <a:gd name="T24" fmla="*/ 71 w 271"/>
                <a:gd name="T25" fmla="*/ 73 h 133"/>
                <a:gd name="T26" fmla="*/ 61 w 271"/>
                <a:gd name="T27" fmla="*/ 68 h 133"/>
                <a:gd name="T28" fmla="*/ 48 w 271"/>
                <a:gd name="T29" fmla="*/ 59 h 133"/>
                <a:gd name="T30" fmla="*/ 44 w 271"/>
                <a:gd name="T31" fmla="*/ 71 h 133"/>
                <a:gd name="T32" fmla="*/ 28 w 271"/>
                <a:gd name="T33" fmla="*/ 66 h 133"/>
                <a:gd name="T34" fmla="*/ 18 w 271"/>
                <a:gd name="T35" fmla="*/ 61 h 133"/>
                <a:gd name="T36" fmla="*/ 9 w 271"/>
                <a:gd name="T37" fmla="*/ 57 h 133"/>
                <a:gd name="T38" fmla="*/ 26 w 271"/>
                <a:gd name="T39" fmla="*/ 40 h 133"/>
                <a:gd name="T40" fmla="*/ 22 w 271"/>
                <a:gd name="T41" fmla="*/ 30 h 133"/>
                <a:gd name="T42" fmla="*/ 25 w 271"/>
                <a:gd name="T43" fmla="*/ 20 h 133"/>
                <a:gd name="T44" fmla="*/ 43 w 271"/>
                <a:gd name="T45" fmla="*/ 14 h 133"/>
                <a:gd name="T46" fmla="*/ 69 w 271"/>
                <a:gd name="T47" fmla="*/ 21 h 133"/>
                <a:gd name="T48" fmla="*/ 81 w 271"/>
                <a:gd name="T49" fmla="*/ 25 h 133"/>
                <a:gd name="T50" fmla="*/ 86 w 271"/>
                <a:gd name="T51" fmla="*/ 23 h 133"/>
                <a:gd name="T52" fmla="*/ 90 w 271"/>
                <a:gd name="T53" fmla="*/ 5 h 133"/>
                <a:gd name="T54" fmla="*/ 112 w 271"/>
                <a:gd name="T55" fmla="*/ 5 h 133"/>
                <a:gd name="T56" fmla="*/ 139 w 271"/>
                <a:gd name="T57" fmla="*/ 16 h 133"/>
                <a:gd name="T58" fmla="*/ 145 w 271"/>
                <a:gd name="T59" fmla="*/ 12 h 133"/>
                <a:gd name="T60" fmla="*/ 170 w 271"/>
                <a:gd name="T61" fmla="*/ 10 h 133"/>
                <a:gd name="T62" fmla="*/ 187 w 271"/>
                <a:gd name="T63" fmla="*/ 12 h 133"/>
                <a:gd name="T64" fmla="*/ 214 w 271"/>
                <a:gd name="T65" fmla="*/ 13 h 133"/>
                <a:gd name="T66" fmla="*/ 241 w 271"/>
                <a:gd name="T67" fmla="*/ 21 h 133"/>
                <a:gd name="T68" fmla="*/ 255 w 271"/>
                <a:gd name="T69" fmla="*/ 27 h 133"/>
                <a:gd name="T70" fmla="*/ 271 w 271"/>
                <a:gd name="T71" fmla="*/ 39 h 133"/>
                <a:gd name="T72" fmla="*/ 258 w 271"/>
                <a:gd name="T73" fmla="*/ 45 h 133"/>
                <a:gd name="T74" fmla="*/ 230 w 271"/>
                <a:gd name="T75" fmla="*/ 62 h 133"/>
                <a:gd name="T76" fmla="*/ 221 w 271"/>
                <a:gd name="T77" fmla="*/ 73 h 133"/>
                <a:gd name="T78" fmla="*/ 196 w 271"/>
                <a:gd name="T79" fmla="*/ 73 h 133"/>
                <a:gd name="T80" fmla="*/ 188 w 271"/>
                <a:gd name="T81" fmla="*/ 90 h 133"/>
                <a:gd name="T82" fmla="*/ 173 w 271"/>
                <a:gd name="T83" fmla="*/ 96 h 133"/>
                <a:gd name="T84" fmla="*/ 161 w 271"/>
                <a:gd name="T85" fmla="*/ 86 h 133"/>
                <a:gd name="T86" fmla="*/ 154 w 271"/>
                <a:gd name="T87" fmla="*/ 91 h 133"/>
                <a:gd name="T88" fmla="*/ 143 w 271"/>
                <a:gd name="T89" fmla="*/ 94 h 133"/>
                <a:gd name="T90" fmla="*/ 135 w 271"/>
                <a:gd name="T91" fmla="*/ 102 h 133"/>
                <a:gd name="T92" fmla="*/ 124 w 271"/>
                <a:gd name="T93" fmla="*/ 107 h 133"/>
                <a:gd name="T94" fmla="*/ 125 w 271"/>
                <a:gd name="T95" fmla="*/ 121 h 133"/>
                <a:gd name="T96" fmla="*/ 118 w 271"/>
                <a:gd name="T97" fmla="*/ 125 h 133"/>
                <a:gd name="T98" fmla="*/ 107 w 271"/>
                <a:gd name="T99" fmla="*/ 128 h 133"/>
                <a:gd name="T100" fmla="*/ 86 w 271"/>
                <a:gd name="T101" fmla="*/ 130 h 133"/>
                <a:gd name="T102" fmla="*/ 71 w 271"/>
                <a:gd name="T103" fmla="*/ 130 h 133"/>
                <a:gd name="T104" fmla="*/ 66 w 271"/>
                <a:gd name="T105" fmla="*/ 125 h 133"/>
                <a:gd name="T106" fmla="*/ 59 w 271"/>
                <a:gd name="T107" fmla="*/ 120 h 133"/>
                <a:gd name="T108" fmla="*/ 44 w 271"/>
                <a:gd name="T109" fmla="*/ 127 h 133"/>
                <a:gd name="T110" fmla="*/ 32 w 271"/>
                <a:gd name="T111" fmla="*/ 121 h 133"/>
                <a:gd name="T112" fmla="*/ 17 w 271"/>
                <a:gd name="T113" fmla="*/ 121 h 133"/>
                <a:gd name="T114" fmla="*/ 2 w 271"/>
                <a:gd name="T115" fmla="*/ 122 h 133"/>
                <a:gd name="T116" fmla="*/ 0 w 271"/>
                <a:gd name="T117" fmla="*/ 110 h 133"/>
                <a:gd name="T118" fmla="*/ 4 w 271"/>
                <a:gd name="T119" fmla="*/ 107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1" h="133">
                  <a:moveTo>
                    <a:pt x="4" y="105"/>
                  </a:moveTo>
                  <a:lnTo>
                    <a:pt x="9" y="101"/>
                  </a:lnTo>
                  <a:lnTo>
                    <a:pt x="12" y="100"/>
                  </a:lnTo>
                  <a:lnTo>
                    <a:pt x="17" y="100"/>
                  </a:lnTo>
                  <a:lnTo>
                    <a:pt x="21" y="101"/>
                  </a:lnTo>
                  <a:lnTo>
                    <a:pt x="25" y="102"/>
                  </a:lnTo>
                  <a:lnTo>
                    <a:pt x="28" y="105"/>
                  </a:lnTo>
                  <a:lnTo>
                    <a:pt x="31" y="106"/>
                  </a:lnTo>
                  <a:lnTo>
                    <a:pt x="31" y="107"/>
                  </a:lnTo>
                  <a:lnTo>
                    <a:pt x="30" y="109"/>
                  </a:lnTo>
                  <a:lnTo>
                    <a:pt x="33" y="107"/>
                  </a:lnTo>
                  <a:lnTo>
                    <a:pt x="36" y="105"/>
                  </a:lnTo>
                  <a:lnTo>
                    <a:pt x="38" y="101"/>
                  </a:lnTo>
                  <a:lnTo>
                    <a:pt x="41" y="100"/>
                  </a:lnTo>
                  <a:lnTo>
                    <a:pt x="43" y="98"/>
                  </a:lnTo>
                  <a:lnTo>
                    <a:pt x="46" y="96"/>
                  </a:lnTo>
                  <a:lnTo>
                    <a:pt x="48" y="96"/>
                  </a:lnTo>
                  <a:lnTo>
                    <a:pt x="52" y="98"/>
                  </a:lnTo>
                  <a:lnTo>
                    <a:pt x="54" y="99"/>
                  </a:lnTo>
                  <a:lnTo>
                    <a:pt x="57" y="100"/>
                  </a:lnTo>
                  <a:lnTo>
                    <a:pt x="58" y="100"/>
                  </a:lnTo>
                  <a:lnTo>
                    <a:pt x="59" y="99"/>
                  </a:lnTo>
                  <a:lnTo>
                    <a:pt x="59" y="99"/>
                  </a:lnTo>
                  <a:lnTo>
                    <a:pt x="60" y="100"/>
                  </a:lnTo>
                  <a:lnTo>
                    <a:pt x="63" y="101"/>
                  </a:lnTo>
                  <a:lnTo>
                    <a:pt x="65" y="100"/>
                  </a:lnTo>
                  <a:lnTo>
                    <a:pt x="68" y="100"/>
                  </a:lnTo>
                  <a:lnTo>
                    <a:pt x="69" y="99"/>
                  </a:lnTo>
                  <a:lnTo>
                    <a:pt x="68" y="98"/>
                  </a:lnTo>
                  <a:lnTo>
                    <a:pt x="68" y="96"/>
                  </a:lnTo>
                  <a:lnTo>
                    <a:pt x="68" y="95"/>
                  </a:lnTo>
                  <a:lnTo>
                    <a:pt x="70" y="95"/>
                  </a:lnTo>
                  <a:lnTo>
                    <a:pt x="75" y="94"/>
                  </a:lnTo>
                  <a:lnTo>
                    <a:pt x="77" y="94"/>
                  </a:lnTo>
                  <a:lnTo>
                    <a:pt x="79" y="94"/>
                  </a:lnTo>
                  <a:lnTo>
                    <a:pt x="77" y="90"/>
                  </a:lnTo>
                  <a:lnTo>
                    <a:pt x="76" y="88"/>
                  </a:lnTo>
                  <a:lnTo>
                    <a:pt x="80" y="89"/>
                  </a:lnTo>
                  <a:lnTo>
                    <a:pt x="82" y="89"/>
                  </a:lnTo>
                  <a:lnTo>
                    <a:pt x="85" y="88"/>
                  </a:lnTo>
                  <a:lnTo>
                    <a:pt x="87" y="85"/>
                  </a:lnTo>
                  <a:lnTo>
                    <a:pt x="89" y="84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79"/>
                  </a:lnTo>
                  <a:lnTo>
                    <a:pt x="91" y="79"/>
                  </a:lnTo>
                  <a:lnTo>
                    <a:pt x="89" y="79"/>
                  </a:lnTo>
                  <a:lnTo>
                    <a:pt x="86" y="78"/>
                  </a:lnTo>
                  <a:lnTo>
                    <a:pt x="84" y="78"/>
                  </a:lnTo>
                  <a:lnTo>
                    <a:pt x="80" y="77"/>
                  </a:lnTo>
                  <a:lnTo>
                    <a:pt x="76" y="74"/>
                  </a:lnTo>
                  <a:lnTo>
                    <a:pt x="71" y="73"/>
                  </a:lnTo>
                  <a:lnTo>
                    <a:pt x="68" y="74"/>
                  </a:lnTo>
                  <a:lnTo>
                    <a:pt x="66" y="71"/>
                  </a:lnTo>
                  <a:lnTo>
                    <a:pt x="64" y="69"/>
                  </a:lnTo>
                  <a:lnTo>
                    <a:pt x="61" y="68"/>
                  </a:lnTo>
                  <a:lnTo>
                    <a:pt x="59" y="67"/>
                  </a:lnTo>
                  <a:lnTo>
                    <a:pt x="53" y="62"/>
                  </a:lnTo>
                  <a:lnTo>
                    <a:pt x="48" y="56"/>
                  </a:lnTo>
                  <a:lnTo>
                    <a:pt x="48" y="59"/>
                  </a:lnTo>
                  <a:lnTo>
                    <a:pt x="48" y="63"/>
                  </a:lnTo>
                  <a:lnTo>
                    <a:pt x="44" y="66"/>
                  </a:lnTo>
                  <a:lnTo>
                    <a:pt x="46" y="68"/>
                  </a:lnTo>
                  <a:lnTo>
                    <a:pt x="44" y="71"/>
                  </a:lnTo>
                  <a:lnTo>
                    <a:pt x="41" y="68"/>
                  </a:lnTo>
                  <a:lnTo>
                    <a:pt x="34" y="68"/>
                  </a:lnTo>
                  <a:lnTo>
                    <a:pt x="30" y="67"/>
                  </a:lnTo>
                  <a:lnTo>
                    <a:pt x="28" y="66"/>
                  </a:lnTo>
                  <a:lnTo>
                    <a:pt x="26" y="63"/>
                  </a:lnTo>
                  <a:lnTo>
                    <a:pt x="25" y="62"/>
                  </a:lnTo>
                  <a:lnTo>
                    <a:pt x="23" y="61"/>
                  </a:lnTo>
                  <a:lnTo>
                    <a:pt x="18" y="61"/>
                  </a:lnTo>
                  <a:lnTo>
                    <a:pt x="16" y="61"/>
                  </a:lnTo>
                  <a:lnTo>
                    <a:pt x="14" y="59"/>
                  </a:lnTo>
                  <a:lnTo>
                    <a:pt x="11" y="58"/>
                  </a:lnTo>
                  <a:lnTo>
                    <a:pt x="9" y="57"/>
                  </a:lnTo>
                  <a:lnTo>
                    <a:pt x="10" y="53"/>
                  </a:lnTo>
                  <a:lnTo>
                    <a:pt x="12" y="51"/>
                  </a:lnTo>
                  <a:lnTo>
                    <a:pt x="18" y="45"/>
                  </a:lnTo>
                  <a:lnTo>
                    <a:pt x="26" y="40"/>
                  </a:lnTo>
                  <a:lnTo>
                    <a:pt x="32" y="35"/>
                  </a:lnTo>
                  <a:lnTo>
                    <a:pt x="27" y="34"/>
                  </a:lnTo>
                  <a:lnTo>
                    <a:pt x="23" y="32"/>
                  </a:lnTo>
                  <a:lnTo>
                    <a:pt x="22" y="30"/>
                  </a:lnTo>
                  <a:lnTo>
                    <a:pt x="22" y="29"/>
                  </a:lnTo>
                  <a:lnTo>
                    <a:pt x="23" y="25"/>
                  </a:lnTo>
                  <a:lnTo>
                    <a:pt x="25" y="21"/>
                  </a:lnTo>
                  <a:lnTo>
                    <a:pt x="25" y="20"/>
                  </a:lnTo>
                  <a:lnTo>
                    <a:pt x="26" y="19"/>
                  </a:lnTo>
                  <a:lnTo>
                    <a:pt x="32" y="18"/>
                  </a:lnTo>
                  <a:lnTo>
                    <a:pt x="37" y="15"/>
                  </a:lnTo>
                  <a:lnTo>
                    <a:pt x="43" y="14"/>
                  </a:lnTo>
                  <a:lnTo>
                    <a:pt x="50" y="15"/>
                  </a:lnTo>
                  <a:lnTo>
                    <a:pt x="58" y="18"/>
                  </a:lnTo>
                  <a:lnTo>
                    <a:pt x="63" y="19"/>
                  </a:lnTo>
                  <a:lnTo>
                    <a:pt x="69" y="21"/>
                  </a:lnTo>
                  <a:lnTo>
                    <a:pt x="71" y="23"/>
                  </a:lnTo>
                  <a:lnTo>
                    <a:pt x="73" y="24"/>
                  </a:lnTo>
                  <a:lnTo>
                    <a:pt x="77" y="24"/>
                  </a:lnTo>
                  <a:lnTo>
                    <a:pt x="81" y="25"/>
                  </a:lnTo>
                  <a:lnTo>
                    <a:pt x="84" y="26"/>
                  </a:lnTo>
                  <a:lnTo>
                    <a:pt x="86" y="27"/>
                  </a:lnTo>
                  <a:lnTo>
                    <a:pt x="90" y="27"/>
                  </a:lnTo>
                  <a:lnTo>
                    <a:pt x="86" y="23"/>
                  </a:lnTo>
                  <a:lnTo>
                    <a:pt x="85" y="16"/>
                  </a:lnTo>
                  <a:lnTo>
                    <a:pt x="85" y="10"/>
                  </a:lnTo>
                  <a:lnTo>
                    <a:pt x="87" y="7"/>
                  </a:lnTo>
                  <a:lnTo>
                    <a:pt x="90" y="5"/>
                  </a:lnTo>
                  <a:lnTo>
                    <a:pt x="95" y="4"/>
                  </a:lnTo>
                  <a:lnTo>
                    <a:pt x="98" y="2"/>
                  </a:lnTo>
                  <a:lnTo>
                    <a:pt x="100" y="0"/>
                  </a:lnTo>
                  <a:lnTo>
                    <a:pt x="112" y="5"/>
                  </a:lnTo>
                  <a:lnTo>
                    <a:pt x="123" y="12"/>
                  </a:lnTo>
                  <a:lnTo>
                    <a:pt x="127" y="13"/>
                  </a:lnTo>
                  <a:lnTo>
                    <a:pt x="133" y="14"/>
                  </a:lnTo>
                  <a:lnTo>
                    <a:pt x="139" y="16"/>
                  </a:lnTo>
                  <a:lnTo>
                    <a:pt x="143" y="15"/>
                  </a:lnTo>
                  <a:lnTo>
                    <a:pt x="144" y="14"/>
                  </a:lnTo>
                  <a:lnTo>
                    <a:pt x="145" y="13"/>
                  </a:lnTo>
                  <a:lnTo>
                    <a:pt x="145" y="12"/>
                  </a:lnTo>
                  <a:lnTo>
                    <a:pt x="146" y="10"/>
                  </a:lnTo>
                  <a:lnTo>
                    <a:pt x="155" y="12"/>
                  </a:lnTo>
                  <a:lnTo>
                    <a:pt x="164" y="13"/>
                  </a:lnTo>
                  <a:lnTo>
                    <a:pt x="170" y="10"/>
                  </a:lnTo>
                  <a:lnTo>
                    <a:pt x="175" y="10"/>
                  </a:lnTo>
                  <a:lnTo>
                    <a:pt x="181" y="12"/>
                  </a:lnTo>
                  <a:lnTo>
                    <a:pt x="184" y="12"/>
                  </a:lnTo>
                  <a:lnTo>
                    <a:pt x="187" y="12"/>
                  </a:lnTo>
                  <a:lnTo>
                    <a:pt x="193" y="12"/>
                  </a:lnTo>
                  <a:lnTo>
                    <a:pt x="199" y="13"/>
                  </a:lnTo>
                  <a:lnTo>
                    <a:pt x="207" y="13"/>
                  </a:lnTo>
                  <a:lnTo>
                    <a:pt x="214" y="13"/>
                  </a:lnTo>
                  <a:lnTo>
                    <a:pt x="221" y="14"/>
                  </a:lnTo>
                  <a:lnTo>
                    <a:pt x="229" y="15"/>
                  </a:lnTo>
                  <a:lnTo>
                    <a:pt x="236" y="18"/>
                  </a:lnTo>
                  <a:lnTo>
                    <a:pt x="241" y="21"/>
                  </a:lnTo>
                  <a:lnTo>
                    <a:pt x="245" y="25"/>
                  </a:lnTo>
                  <a:lnTo>
                    <a:pt x="247" y="26"/>
                  </a:lnTo>
                  <a:lnTo>
                    <a:pt x="250" y="26"/>
                  </a:lnTo>
                  <a:lnTo>
                    <a:pt x="255" y="27"/>
                  </a:lnTo>
                  <a:lnTo>
                    <a:pt x="258" y="29"/>
                  </a:lnTo>
                  <a:lnTo>
                    <a:pt x="266" y="32"/>
                  </a:lnTo>
                  <a:lnTo>
                    <a:pt x="268" y="35"/>
                  </a:lnTo>
                  <a:lnTo>
                    <a:pt x="271" y="39"/>
                  </a:lnTo>
                  <a:lnTo>
                    <a:pt x="269" y="40"/>
                  </a:lnTo>
                  <a:lnTo>
                    <a:pt x="266" y="42"/>
                  </a:lnTo>
                  <a:lnTo>
                    <a:pt x="261" y="43"/>
                  </a:lnTo>
                  <a:lnTo>
                    <a:pt x="258" y="45"/>
                  </a:lnTo>
                  <a:lnTo>
                    <a:pt x="253" y="48"/>
                  </a:lnTo>
                  <a:lnTo>
                    <a:pt x="246" y="52"/>
                  </a:lnTo>
                  <a:lnTo>
                    <a:pt x="234" y="58"/>
                  </a:lnTo>
                  <a:lnTo>
                    <a:pt x="230" y="62"/>
                  </a:lnTo>
                  <a:lnTo>
                    <a:pt x="229" y="66"/>
                  </a:lnTo>
                  <a:lnTo>
                    <a:pt x="226" y="71"/>
                  </a:lnTo>
                  <a:lnTo>
                    <a:pt x="224" y="73"/>
                  </a:lnTo>
                  <a:lnTo>
                    <a:pt x="221" y="73"/>
                  </a:lnTo>
                  <a:lnTo>
                    <a:pt x="215" y="73"/>
                  </a:lnTo>
                  <a:lnTo>
                    <a:pt x="209" y="74"/>
                  </a:lnTo>
                  <a:lnTo>
                    <a:pt x="203" y="74"/>
                  </a:lnTo>
                  <a:lnTo>
                    <a:pt x="196" y="73"/>
                  </a:lnTo>
                  <a:lnTo>
                    <a:pt x="193" y="74"/>
                  </a:lnTo>
                  <a:lnTo>
                    <a:pt x="191" y="78"/>
                  </a:lnTo>
                  <a:lnTo>
                    <a:pt x="189" y="85"/>
                  </a:lnTo>
                  <a:lnTo>
                    <a:pt x="188" y="90"/>
                  </a:lnTo>
                  <a:lnTo>
                    <a:pt x="187" y="93"/>
                  </a:lnTo>
                  <a:lnTo>
                    <a:pt x="183" y="95"/>
                  </a:lnTo>
                  <a:lnTo>
                    <a:pt x="178" y="95"/>
                  </a:lnTo>
                  <a:lnTo>
                    <a:pt x="173" y="96"/>
                  </a:lnTo>
                  <a:lnTo>
                    <a:pt x="168" y="96"/>
                  </a:lnTo>
                  <a:lnTo>
                    <a:pt x="165" y="94"/>
                  </a:lnTo>
                  <a:lnTo>
                    <a:pt x="164" y="90"/>
                  </a:lnTo>
                  <a:lnTo>
                    <a:pt x="161" y="86"/>
                  </a:lnTo>
                  <a:lnTo>
                    <a:pt x="160" y="86"/>
                  </a:lnTo>
                  <a:lnTo>
                    <a:pt x="157" y="89"/>
                  </a:lnTo>
                  <a:lnTo>
                    <a:pt x="155" y="90"/>
                  </a:lnTo>
                  <a:lnTo>
                    <a:pt x="154" y="91"/>
                  </a:lnTo>
                  <a:lnTo>
                    <a:pt x="151" y="93"/>
                  </a:lnTo>
                  <a:lnTo>
                    <a:pt x="148" y="93"/>
                  </a:lnTo>
                  <a:lnTo>
                    <a:pt x="143" y="90"/>
                  </a:lnTo>
                  <a:lnTo>
                    <a:pt x="143" y="94"/>
                  </a:lnTo>
                  <a:lnTo>
                    <a:pt x="143" y="96"/>
                  </a:lnTo>
                  <a:lnTo>
                    <a:pt x="140" y="96"/>
                  </a:lnTo>
                  <a:lnTo>
                    <a:pt x="138" y="99"/>
                  </a:lnTo>
                  <a:lnTo>
                    <a:pt x="135" y="102"/>
                  </a:lnTo>
                  <a:lnTo>
                    <a:pt x="133" y="104"/>
                  </a:lnTo>
                  <a:lnTo>
                    <a:pt x="129" y="105"/>
                  </a:lnTo>
                  <a:lnTo>
                    <a:pt x="127" y="106"/>
                  </a:lnTo>
                  <a:lnTo>
                    <a:pt x="124" y="107"/>
                  </a:lnTo>
                  <a:lnTo>
                    <a:pt x="123" y="110"/>
                  </a:lnTo>
                  <a:lnTo>
                    <a:pt x="123" y="112"/>
                  </a:lnTo>
                  <a:lnTo>
                    <a:pt x="124" y="116"/>
                  </a:lnTo>
                  <a:lnTo>
                    <a:pt x="125" y="121"/>
                  </a:lnTo>
                  <a:lnTo>
                    <a:pt x="125" y="122"/>
                  </a:lnTo>
                  <a:lnTo>
                    <a:pt x="123" y="125"/>
                  </a:lnTo>
                  <a:lnTo>
                    <a:pt x="121" y="125"/>
                  </a:lnTo>
                  <a:lnTo>
                    <a:pt x="118" y="125"/>
                  </a:lnTo>
                  <a:lnTo>
                    <a:pt x="116" y="125"/>
                  </a:lnTo>
                  <a:lnTo>
                    <a:pt x="113" y="126"/>
                  </a:lnTo>
                  <a:lnTo>
                    <a:pt x="111" y="127"/>
                  </a:lnTo>
                  <a:lnTo>
                    <a:pt x="107" y="128"/>
                  </a:lnTo>
                  <a:lnTo>
                    <a:pt x="101" y="127"/>
                  </a:lnTo>
                  <a:lnTo>
                    <a:pt x="96" y="127"/>
                  </a:lnTo>
                  <a:lnTo>
                    <a:pt x="91" y="127"/>
                  </a:lnTo>
                  <a:lnTo>
                    <a:pt x="86" y="130"/>
                  </a:lnTo>
                  <a:lnTo>
                    <a:pt x="84" y="133"/>
                  </a:lnTo>
                  <a:lnTo>
                    <a:pt x="79" y="131"/>
                  </a:lnTo>
                  <a:lnTo>
                    <a:pt x="75" y="130"/>
                  </a:lnTo>
                  <a:lnTo>
                    <a:pt x="71" y="130"/>
                  </a:lnTo>
                  <a:lnTo>
                    <a:pt x="69" y="128"/>
                  </a:lnTo>
                  <a:lnTo>
                    <a:pt x="69" y="128"/>
                  </a:lnTo>
                  <a:lnTo>
                    <a:pt x="69" y="127"/>
                  </a:lnTo>
                  <a:lnTo>
                    <a:pt x="66" y="125"/>
                  </a:lnTo>
                  <a:lnTo>
                    <a:pt x="65" y="125"/>
                  </a:lnTo>
                  <a:lnTo>
                    <a:pt x="61" y="123"/>
                  </a:lnTo>
                  <a:lnTo>
                    <a:pt x="60" y="122"/>
                  </a:lnTo>
                  <a:lnTo>
                    <a:pt x="59" y="120"/>
                  </a:lnTo>
                  <a:lnTo>
                    <a:pt x="57" y="121"/>
                  </a:lnTo>
                  <a:lnTo>
                    <a:pt x="53" y="123"/>
                  </a:lnTo>
                  <a:lnTo>
                    <a:pt x="48" y="126"/>
                  </a:lnTo>
                  <a:lnTo>
                    <a:pt x="44" y="127"/>
                  </a:lnTo>
                  <a:lnTo>
                    <a:pt x="41" y="126"/>
                  </a:lnTo>
                  <a:lnTo>
                    <a:pt x="38" y="123"/>
                  </a:lnTo>
                  <a:lnTo>
                    <a:pt x="36" y="121"/>
                  </a:lnTo>
                  <a:lnTo>
                    <a:pt x="32" y="121"/>
                  </a:lnTo>
                  <a:lnTo>
                    <a:pt x="26" y="122"/>
                  </a:lnTo>
                  <a:lnTo>
                    <a:pt x="26" y="120"/>
                  </a:lnTo>
                  <a:lnTo>
                    <a:pt x="22" y="121"/>
                  </a:lnTo>
                  <a:lnTo>
                    <a:pt x="17" y="121"/>
                  </a:lnTo>
                  <a:lnTo>
                    <a:pt x="12" y="121"/>
                  </a:lnTo>
                  <a:lnTo>
                    <a:pt x="9" y="122"/>
                  </a:lnTo>
                  <a:lnTo>
                    <a:pt x="5" y="122"/>
                  </a:lnTo>
                  <a:lnTo>
                    <a:pt x="2" y="122"/>
                  </a:lnTo>
                  <a:lnTo>
                    <a:pt x="1" y="121"/>
                  </a:lnTo>
                  <a:lnTo>
                    <a:pt x="0" y="118"/>
                  </a:lnTo>
                  <a:lnTo>
                    <a:pt x="0" y="112"/>
                  </a:lnTo>
                  <a:lnTo>
                    <a:pt x="0" y="110"/>
                  </a:lnTo>
                  <a:lnTo>
                    <a:pt x="0" y="109"/>
                  </a:lnTo>
                  <a:lnTo>
                    <a:pt x="1" y="109"/>
                  </a:lnTo>
                  <a:lnTo>
                    <a:pt x="2" y="110"/>
                  </a:lnTo>
                  <a:lnTo>
                    <a:pt x="4" y="107"/>
                  </a:lnTo>
                  <a:lnTo>
                    <a:pt x="4" y="10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1" name="Freeform 801">
              <a:extLst>
                <a:ext uri="{FF2B5EF4-FFF2-40B4-BE49-F238E27FC236}">
                  <a16:creationId xmlns:a16="http://schemas.microsoft.com/office/drawing/2014/main" id="{5E0FEB65-FF42-4F90-8C66-AB56A2D103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4334" y="3796734"/>
              <a:ext cx="265595" cy="514327"/>
            </a:xfrm>
            <a:custGeom>
              <a:avLst/>
              <a:gdLst>
                <a:gd name="T0" fmla="*/ 20 w 252"/>
                <a:gd name="T1" fmla="*/ 28 h 490"/>
                <a:gd name="T2" fmla="*/ 39 w 252"/>
                <a:gd name="T3" fmla="*/ 25 h 490"/>
                <a:gd name="T4" fmla="*/ 59 w 252"/>
                <a:gd name="T5" fmla="*/ 19 h 490"/>
                <a:gd name="T6" fmla="*/ 73 w 252"/>
                <a:gd name="T7" fmla="*/ 10 h 490"/>
                <a:gd name="T8" fmla="*/ 111 w 252"/>
                <a:gd name="T9" fmla="*/ 14 h 490"/>
                <a:gd name="T10" fmla="*/ 126 w 252"/>
                <a:gd name="T11" fmla="*/ 26 h 490"/>
                <a:gd name="T12" fmla="*/ 147 w 252"/>
                <a:gd name="T13" fmla="*/ 56 h 490"/>
                <a:gd name="T14" fmla="*/ 177 w 252"/>
                <a:gd name="T15" fmla="*/ 62 h 490"/>
                <a:gd name="T16" fmla="*/ 158 w 252"/>
                <a:gd name="T17" fmla="*/ 71 h 490"/>
                <a:gd name="T18" fmla="*/ 150 w 252"/>
                <a:gd name="T19" fmla="*/ 78 h 490"/>
                <a:gd name="T20" fmla="*/ 138 w 252"/>
                <a:gd name="T21" fmla="*/ 83 h 490"/>
                <a:gd name="T22" fmla="*/ 136 w 252"/>
                <a:gd name="T23" fmla="*/ 100 h 490"/>
                <a:gd name="T24" fmla="*/ 119 w 252"/>
                <a:gd name="T25" fmla="*/ 125 h 490"/>
                <a:gd name="T26" fmla="*/ 123 w 252"/>
                <a:gd name="T27" fmla="*/ 154 h 490"/>
                <a:gd name="T28" fmla="*/ 143 w 252"/>
                <a:gd name="T29" fmla="*/ 186 h 490"/>
                <a:gd name="T30" fmla="*/ 169 w 252"/>
                <a:gd name="T31" fmla="*/ 213 h 490"/>
                <a:gd name="T32" fmla="*/ 194 w 252"/>
                <a:gd name="T33" fmla="*/ 233 h 490"/>
                <a:gd name="T34" fmla="*/ 205 w 252"/>
                <a:gd name="T35" fmla="*/ 243 h 490"/>
                <a:gd name="T36" fmla="*/ 226 w 252"/>
                <a:gd name="T37" fmla="*/ 266 h 490"/>
                <a:gd name="T38" fmla="*/ 239 w 252"/>
                <a:gd name="T39" fmla="*/ 305 h 490"/>
                <a:gd name="T40" fmla="*/ 243 w 252"/>
                <a:gd name="T41" fmla="*/ 325 h 490"/>
                <a:gd name="T42" fmla="*/ 250 w 252"/>
                <a:gd name="T43" fmla="*/ 347 h 490"/>
                <a:gd name="T44" fmla="*/ 243 w 252"/>
                <a:gd name="T45" fmla="*/ 362 h 490"/>
                <a:gd name="T46" fmla="*/ 247 w 252"/>
                <a:gd name="T47" fmla="*/ 386 h 490"/>
                <a:gd name="T48" fmla="*/ 229 w 252"/>
                <a:gd name="T49" fmla="*/ 405 h 490"/>
                <a:gd name="T50" fmla="*/ 205 w 252"/>
                <a:gd name="T51" fmla="*/ 422 h 490"/>
                <a:gd name="T52" fmla="*/ 184 w 252"/>
                <a:gd name="T53" fmla="*/ 422 h 490"/>
                <a:gd name="T54" fmla="*/ 179 w 252"/>
                <a:gd name="T55" fmla="*/ 425 h 490"/>
                <a:gd name="T56" fmla="*/ 173 w 252"/>
                <a:gd name="T57" fmla="*/ 432 h 490"/>
                <a:gd name="T58" fmla="*/ 174 w 252"/>
                <a:gd name="T59" fmla="*/ 441 h 490"/>
                <a:gd name="T60" fmla="*/ 173 w 252"/>
                <a:gd name="T61" fmla="*/ 445 h 490"/>
                <a:gd name="T62" fmla="*/ 174 w 252"/>
                <a:gd name="T63" fmla="*/ 457 h 490"/>
                <a:gd name="T64" fmla="*/ 166 w 252"/>
                <a:gd name="T65" fmla="*/ 460 h 490"/>
                <a:gd name="T66" fmla="*/ 138 w 252"/>
                <a:gd name="T67" fmla="*/ 485 h 490"/>
                <a:gd name="T68" fmla="*/ 126 w 252"/>
                <a:gd name="T69" fmla="*/ 461 h 490"/>
                <a:gd name="T70" fmla="*/ 130 w 252"/>
                <a:gd name="T71" fmla="*/ 441 h 490"/>
                <a:gd name="T72" fmla="*/ 123 w 252"/>
                <a:gd name="T73" fmla="*/ 423 h 490"/>
                <a:gd name="T74" fmla="*/ 143 w 252"/>
                <a:gd name="T75" fmla="*/ 410 h 490"/>
                <a:gd name="T76" fmla="*/ 163 w 252"/>
                <a:gd name="T77" fmla="*/ 410 h 490"/>
                <a:gd name="T78" fmla="*/ 157 w 252"/>
                <a:gd name="T79" fmla="*/ 383 h 490"/>
                <a:gd name="T80" fmla="*/ 174 w 252"/>
                <a:gd name="T81" fmla="*/ 377 h 490"/>
                <a:gd name="T82" fmla="*/ 198 w 252"/>
                <a:gd name="T83" fmla="*/ 352 h 490"/>
                <a:gd name="T84" fmla="*/ 189 w 252"/>
                <a:gd name="T85" fmla="*/ 310 h 490"/>
                <a:gd name="T86" fmla="*/ 190 w 252"/>
                <a:gd name="T87" fmla="*/ 284 h 490"/>
                <a:gd name="T88" fmla="*/ 185 w 252"/>
                <a:gd name="T89" fmla="*/ 261 h 490"/>
                <a:gd name="T90" fmla="*/ 177 w 252"/>
                <a:gd name="T91" fmla="*/ 240 h 490"/>
                <a:gd name="T92" fmla="*/ 158 w 252"/>
                <a:gd name="T93" fmla="*/ 229 h 490"/>
                <a:gd name="T94" fmla="*/ 124 w 252"/>
                <a:gd name="T95" fmla="*/ 185 h 490"/>
                <a:gd name="T96" fmla="*/ 105 w 252"/>
                <a:gd name="T97" fmla="*/ 158 h 490"/>
                <a:gd name="T98" fmla="*/ 71 w 252"/>
                <a:gd name="T99" fmla="*/ 138 h 490"/>
                <a:gd name="T100" fmla="*/ 67 w 252"/>
                <a:gd name="T101" fmla="*/ 123 h 490"/>
                <a:gd name="T102" fmla="*/ 88 w 252"/>
                <a:gd name="T103" fmla="*/ 116 h 490"/>
                <a:gd name="T104" fmla="*/ 81 w 252"/>
                <a:gd name="T105" fmla="*/ 100 h 490"/>
                <a:gd name="T106" fmla="*/ 72 w 252"/>
                <a:gd name="T107" fmla="*/ 85 h 490"/>
                <a:gd name="T108" fmla="*/ 46 w 252"/>
                <a:gd name="T109" fmla="*/ 85 h 490"/>
                <a:gd name="T110" fmla="*/ 27 w 252"/>
                <a:gd name="T111" fmla="*/ 62 h 490"/>
                <a:gd name="T112" fmla="*/ 16 w 252"/>
                <a:gd name="T113" fmla="*/ 5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52" h="490">
                  <a:moveTo>
                    <a:pt x="0" y="32"/>
                  </a:moveTo>
                  <a:lnTo>
                    <a:pt x="3" y="31"/>
                  </a:lnTo>
                  <a:lnTo>
                    <a:pt x="4" y="29"/>
                  </a:lnTo>
                  <a:lnTo>
                    <a:pt x="6" y="25"/>
                  </a:lnTo>
                  <a:lnTo>
                    <a:pt x="8" y="23"/>
                  </a:lnTo>
                  <a:lnTo>
                    <a:pt x="12" y="21"/>
                  </a:lnTo>
                  <a:lnTo>
                    <a:pt x="16" y="23"/>
                  </a:lnTo>
                  <a:lnTo>
                    <a:pt x="18" y="25"/>
                  </a:lnTo>
                  <a:lnTo>
                    <a:pt x="20" y="28"/>
                  </a:lnTo>
                  <a:lnTo>
                    <a:pt x="23" y="30"/>
                  </a:lnTo>
                  <a:lnTo>
                    <a:pt x="25" y="30"/>
                  </a:lnTo>
                  <a:lnTo>
                    <a:pt x="28" y="28"/>
                  </a:lnTo>
                  <a:lnTo>
                    <a:pt x="30" y="24"/>
                  </a:lnTo>
                  <a:lnTo>
                    <a:pt x="33" y="21"/>
                  </a:lnTo>
                  <a:lnTo>
                    <a:pt x="34" y="23"/>
                  </a:lnTo>
                  <a:lnTo>
                    <a:pt x="36" y="24"/>
                  </a:lnTo>
                  <a:lnTo>
                    <a:pt x="39" y="28"/>
                  </a:lnTo>
                  <a:lnTo>
                    <a:pt x="39" y="25"/>
                  </a:lnTo>
                  <a:lnTo>
                    <a:pt x="40" y="23"/>
                  </a:lnTo>
                  <a:lnTo>
                    <a:pt x="41" y="21"/>
                  </a:lnTo>
                  <a:lnTo>
                    <a:pt x="44" y="23"/>
                  </a:lnTo>
                  <a:lnTo>
                    <a:pt x="47" y="26"/>
                  </a:lnTo>
                  <a:lnTo>
                    <a:pt x="51" y="30"/>
                  </a:lnTo>
                  <a:lnTo>
                    <a:pt x="52" y="29"/>
                  </a:lnTo>
                  <a:lnTo>
                    <a:pt x="54" y="25"/>
                  </a:lnTo>
                  <a:lnTo>
                    <a:pt x="56" y="20"/>
                  </a:lnTo>
                  <a:lnTo>
                    <a:pt x="59" y="19"/>
                  </a:lnTo>
                  <a:lnTo>
                    <a:pt x="59" y="21"/>
                  </a:lnTo>
                  <a:lnTo>
                    <a:pt x="60" y="23"/>
                  </a:lnTo>
                  <a:lnTo>
                    <a:pt x="65" y="21"/>
                  </a:lnTo>
                  <a:lnTo>
                    <a:pt x="71" y="19"/>
                  </a:lnTo>
                  <a:lnTo>
                    <a:pt x="73" y="16"/>
                  </a:lnTo>
                  <a:lnTo>
                    <a:pt x="75" y="15"/>
                  </a:lnTo>
                  <a:lnTo>
                    <a:pt x="75" y="13"/>
                  </a:lnTo>
                  <a:lnTo>
                    <a:pt x="73" y="12"/>
                  </a:lnTo>
                  <a:lnTo>
                    <a:pt x="73" y="10"/>
                  </a:lnTo>
                  <a:lnTo>
                    <a:pt x="76" y="8"/>
                  </a:lnTo>
                  <a:lnTo>
                    <a:pt x="79" y="5"/>
                  </a:lnTo>
                  <a:lnTo>
                    <a:pt x="83" y="4"/>
                  </a:lnTo>
                  <a:lnTo>
                    <a:pt x="86" y="0"/>
                  </a:lnTo>
                  <a:lnTo>
                    <a:pt x="93" y="8"/>
                  </a:lnTo>
                  <a:lnTo>
                    <a:pt x="102" y="14"/>
                  </a:lnTo>
                  <a:lnTo>
                    <a:pt x="105" y="14"/>
                  </a:lnTo>
                  <a:lnTo>
                    <a:pt x="108" y="14"/>
                  </a:lnTo>
                  <a:lnTo>
                    <a:pt x="111" y="14"/>
                  </a:lnTo>
                  <a:lnTo>
                    <a:pt x="114" y="16"/>
                  </a:lnTo>
                  <a:lnTo>
                    <a:pt x="118" y="18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7" y="18"/>
                  </a:lnTo>
                  <a:lnTo>
                    <a:pt x="129" y="20"/>
                  </a:lnTo>
                  <a:lnTo>
                    <a:pt x="130" y="24"/>
                  </a:lnTo>
                  <a:lnTo>
                    <a:pt x="129" y="26"/>
                  </a:lnTo>
                  <a:lnTo>
                    <a:pt x="126" y="26"/>
                  </a:lnTo>
                  <a:lnTo>
                    <a:pt x="126" y="32"/>
                  </a:lnTo>
                  <a:lnTo>
                    <a:pt x="129" y="37"/>
                  </a:lnTo>
                  <a:lnTo>
                    <a:pt x="132" y="47"/>
                  </a:lnTo>
                  <a:lnTo>
                    <a:pt x="135" y="46"/>
                  </a:lnTo>
                  <a:lnTo>
                    <a:pt x="138" y="47"/>
                  </a:lnTo>
                  <a:lnTo>
                    <a:pt x="141" y="48"/>
                  </a:lnTo>
                  <a:lnTo>
                    <a:pt x="142" y="51"/>
                  </a:lnTo>
                  <a:lnTo>
                    <a:pt x="145" y="53"/>
                  </a:lnTo>
                  <a:lnTo>
                    <a:pt x="147" y="56"/>
                  </a:lnTo>
                  <a:lnTo>
                    <a:pt x="151" y="57"/>
                  </a:lnTo>
                  <a:lnTo>
                    <a:pt x="153" y="59"/>
                  </a:lnTo>
                  <a:lnTo>
                    <a:pt x="156" y="57"/>
                  </a:lnTo>
                  <a:lnTo>
                    <a:pt x="157" y="59"/>
                  </a:lnTo>
                  <a:lnTo>
                    <a:pt x="158" y="59"/>
                  </a:lnTo>
                  <a:lnTo>
                    <a:pt x="163" y="58"/>
                  </a:lnTo>
                  <a:lnTo>
                    <a:pt x="168" y="58"/>
                  </a:lnTo>
                  <a:lnTo>
                    <a:pt x="173" y="59"/>
                  </a:lnTo>
                  <a:lnTo>
                    <a:pt x="177" y="62"/>
                  </a:lnTo>
                  <a:lnTo>
                    <a:pt x="178" y="63"/>
                  </a:lnTo>
                  <a:lnTo>
                    <a:pt x="177" y="63"/>
                  </a:lnTo>
                  <a:lnTo>
                    <a:pt x="174" y="64"/>
                  </a:lnTo>
                  <a:lnTo>
                    <a:pt x="172" y="63"/>
                  </a:lnTo>
                  <a:lnTo>
                    <a:pt x="169" y="62"/>
                  </a:lnTo>
                  <a:lnTo>
                    <a:pt x="166" y="63"/>
                  </a:lnTo>
                  <a:lnTo>
                    <a:pt x="162" y="67"/>
                  </a:lnTo>
                  <a:lnTo>
                    <a:pt x="161" y="69"/>
                  </a:lnTo>
                  <a:lnTo>
                    <a:pt x="158" y="71"/>
                  </a:lnTo>
                  <a:lnTo>
                    <a:pt x="156" y="71"/>
                  </a:lnTo>
                  <a:lnTo>
                    <a:pt x="156" y="73"/>
                  </a:lnTo>
                  <a:lnTo>
                    <a:pt x="156" y="75"/>
                  </a:lnTo>
                  <a:lnTo>
                    <a:pt x="156" y="78"/>
                  </a:lnTo>
                  <a:lnTo>
                    <a:pt x="153" y="79"/>
                  </a:lnTo>
                  <a:lnTo>
                    <a:pt x="150" y="80"/>
                  </a:lnTo>
                  <a:lnTo>
                    <a:pt x="148" y="80"/>
                  </a:lnTo>
                  <a:lnTo>
                    <a:pt x="148" y="79"/>
                  </a:lnTo>
                  <a:lnTo>
                    <a:pt x="150" y="78"/>
                  </a:lnTo>
                  <a:lnTo>
                    <a:pt x="147" y="78"/>
                  </a:lnTo>
                  <a:lnTo>
                    <a:pt x="145" y="80"/>
                  </a:lnTo>
                  <a:lnTo>
                    <a:pt x="143" y="82"/>
                  </a:lnTo>
                  <a:lnTo>
                    <a:pt x="142" y="83"/>
                  </a:lnTo>
                  <a:lnTo>
                    <a:pt x="140" y="80"/>
                  </a:lnTo>
                  <a:lnTo>
                    <a:pt x="137" y="79"/>
                  </a:lnTo>
                  <a:lnTo>
                    <a:pt x="136" y="79"/>
                  </a:lnTo>
                  <a:lnTo>
                    <a:pt x="140" y="82"/>
                  </a:lnTo>
                  <a:lnTo>
                    <a:pt x="138" y="83"/>
                  </a:lnTo>
                  <a:lnTo>
                    <a:pt x="138" y="85"/>
                  </a:lnTo>
                  <a:lnTo>
                    <a:pt x="141" y="89"/>
                  </a:lnTo>
                  <a:lnTo>
                    <a:pt x="141" y="90"/>
                  </a:lnTo>
                  <a:lnTo>
                    <a:pt x="138" y="90"/>
                  </a:lnTo>
                  <a:lnTo>
                    <a:pt x="137" y="90"/>
                  </a:lnTo>
                  <a:lnTo>
                    <a:pt x="136" y="90"/>
                  </a:lnTo>
                  <a:lnTo>
                    <a:pt x="136" y="93"/>
                  </a:lnTo>
                  <a:lnTo>
                    <a:pt x="137" y="96"/>
                  </a:lnTo>
                  <a:lnTo>
                    <a:pt x="136" y="100"/>
                  </a:lnTo>
                  <a:lnTo>
                    <a:pt x="135" y="102"/>
                  </a:lnTo>
                  <a:lnTo>
                    <a:pt x="136" y="102"/>
                  </a:lnTo>
                  <a:lnTo>
                    <a:pt x="135" y="105"/>
                  </a:lnTo>
                  <a:lnTo>
                    <a:pt x="131" y="109"/>
                  </a:lnTo>
                  <a:lnTo>
                    <a:pt x="127" y="111"/>
                  </a:lnTo>
                  <a:lnTo>
                    <a:pt x="125" y="111"/>
                  </a:lnTo>
                  <a:lnTo>
                    <a:pt x="123" y="114"/>
                  </a:lnTo>
                  <a:lnTo>
                    <a:pt x="120" y="117"/>
                  </a:lnTo>
                  <a:lnTo>
                    <a:pt x="119" y="125"/>
                  </a:lnTo>
                  <a:lnTo>
                    <a:pt x="119" y="130"/>
                  </a:lnTo>
                  <a:lnTo>
                    <a:pt x="119" y="133"/>
                  </a:lnTo>
                  <a:lnTo>
                    <a:pt x="119" y="138"/>
                  </a:lnTo>
                  <a:lnTo>
                    <a:pt x="118" y="142"/>
                  </a:lnTo>
                  <a:lnTo>
                    <a:pt x="116" y="146"/>
                  </a:lnTo>
                  <a:lnTo>
                    <a:pt x="118" y="149"/>
                  </a:lnTo>
                  <a:lnTo>
                    <a:pt x="120" y="152"/>
                  </a:lnTo>
                  <a:lnTo>
                    <a:pt x="121" y="157"/>
                  </a:lnTo>
                  <a:lnTo>
                    <a:pt x="123" y="154"/>
                  </a:lnTo>
                  <a:lnTo>
                    <a:pt x="124" y="155"/>
                  </a:lnTo>
                  <a:lnTo>
                    <a:pt x="125" y="158"/>
                  </a:lnTo>
                  <a:lnTo>
                    <a:pt x="125" y="160"/>
                  </a:lnTo>
                  <a:lnTo>
                    <a:pt x="134" y="169"/>
                  </a:lnTo>
                  <a:lnTo>
                    <a:pt x="143" y="175"/>
                  </a:lnTo>
                  <a:lnTo>
                    <a:pt x="145" y="179"/>
                  </a:lnTo>
                  <a:lnTo>
                    <a:pt x="146" y="181"/>
                  </a:lnTo>
                  <a:lnTo>
                    <a:pt x="146" y="187"/>
                  </a:lnTo>
                  <a:lnTo>
                    <a:pt x="143" y="186"/>
                  </a:lnTo>
                  <a:lnTo>
                    <a:pt x="141" y="186"/>
                  </a:lnTo>
                  <a:lnTo>
                    <a:pt x="146" y="187"/>
                  </a:lnTo>
                  <a:lnTo>
                    <a:pt x="150" y="191"/>
                  </a:lnTo>
                  <a:lnTo>
                    <a:pt x="152" y="196"/>
                  </a:lnTo>
                  <a:lnTo>
                    <a:pt x="156" y="200"/>
                  </a:lnTo>
                  <a:lnTo>
                    <a:pt x="161" y="202"/>
                  </a:lnTo>
                  <a:lnTo>
                    <a:pt x="166" y="207"/>
                  </a:lnTo>
                  <a:lnTo>
                    <a:pt x="169" y="211"/>
                  </a:lnTo>
                  <a:lnTo>
                    <a:pt x="169" y="213"/>
                  </a:lnTo>
                  <a:lnTo>
                    <a:pt x="169" y="216"/>
                  </a:lnTo>
                  <a:lnTo>
                    <a:pt x="173" y="216"/>
                  </a:lnTo>
                  <a:lnTo>
                    <a:pt x="177" y="218"/>
                  </a:lnTo>
                  <a:lnTo>
                    <a:pt x="180" y="222"/>
                  </a:lnTo>
                  <a:lnTo>
                    <a:pt x="183" y="224"/>
                  </a:lnTo>
                  <a:lnTo>
                    <a:pt x="179" y="223"/>
                  </a:lnTo>
                  <a:lnTo>
                    <a:pt x="186" y="228"/>
                  </a:lnTo>
                  <a:lnTo>
                    <a:pt x="193" y="234"/>
                  </a:lnTo>
                  <a:lnTo>
                    <a:pt x="194" y="233"/>
                  </a:lnTo>
                  <a:lnTo>
                    <a:pt x="196" y="233"/>
                  </a:lnTo>
                  <a:lnTo>
                    <a:pt x="200" y="236"/>
                  </a:lnTo>
                  <a:lnTo>
                    <a:pt x="204" y="240"/>
                  </a:lnTo>
                  <a:lnTo>
                    <a:pt x="204" y="244"/>
                  </a:lnTo>
                  <a:lnTo>
                    <a:pt x="204" y="243"/>
                  </a:lnTo>
                  <a:lnTo>
                    <a:pt x="204" y="240"/>
                  </a:lnTo>
                  <a:lnTo>
                    <a:pt x="205" y="239"/>
                  </a:lnTo>
                  <a:lnTo>
                    <a:pt x="207" y="240"/>
                  </a:lnTo>
                  <a:lnTo>
                    <a:pt x="205" y="243"/>
                  </a:lnTo>
                  <a:lnTo>
                    <a:pt x="206" y="245"/>
                  </a:lnTo>
                  <a:lnTo>
                    <a:pt x="209" y="249"/>
                  </a:lnTo>
                  <a:lnTo>
                    <a:pt x="212" y="254"/>
                  </a:lnTo>
                  <a:lnTo>
                    <a:pt x="218" y="261"/>
                  </a:lnTo>
                  <a:lnTo>
                    <a:pt x="221" y="264"/>
                  </a:lnTo>
                  <a:lnTo>
                    <a:pt x="222" y="266"/>
                  </a:lnTo>
                  <a:lnTo>
                    <a:pt x="223" y="265"/>
                  </a:lnTo>
                  <a:lnTo>
                    <a:pt x="225" y="265"/>
                  </a:lnTo>
                  <a:lnTo>
                    <a:pt x="226" y="266"/>
                  </a:lnTo>
                  <a:lnTo>
                    <a:pt x="227" y="267"/>
                  </a:lnTo>
                  <a:lnTo>
                    <a:pt x="227" y="270"/>
                  </a:lnTo>
                  <a:lnTo>
                    <a:pt x="227" y="271"/>
                  </a:lnTo>
                  <a:lnTo>
                    <a:pt x="226" y="271"/>
                  </a:lnTo>
                  <a:lnTo>
                    <a:pt x="226" y="272"/>
                  </a:lnTo>
                  <a:lnTo>
                    <a:pt x="229" y="280"/>
                  </a:lnTo>
                  <a:lnTo>
                    <a:pt x="233" y="286"/>
                  </a:lnTo>
                  <a:lnTo>
                    <a:pt x="237" y="296"/>
                  </a:lnTo>
                  <a:lnTo>
                    <a:pt x="239" y="305"/>
                  </a:lnTo>
                  <a:lnTo>
                    <a:pt x="243" y="313"/>
                  </a:lnTo>
                  <a:lnTo>
                    <a:pt x="243" y="315"/>
                  </a:lnTo>
                  <a:lnTo>
                    <a:pt x="243" y="316"/>
                  </a:lnTo>
                  <a:lnTo>
                    <a:pt x="243" y="318"/>
                  </a:lnTo>
                  <a:lnTo>
                    <a:pt x="242" y="316"/>
                  </a:lnTo>
                  <a:lnTo>
                    <a:pt x="242" y="314"/>
                  </a:lnTo>
                  <a:lnTo>
                    <a:pt x="242" y="318"/>
                  </a:lnTo>
                  <a:lnTo>
                    <a:pt x="243" y="323"/>
                  </a:lnTo>
                  <a:lnTo>
                    <a:pt x="243" y="325"/>
                  </a:lnTo>
                  <a:lnTo>
                    <a:pt x="243" y="324"/>
                  </a:lnTo>
                  <a:lnTo>
                    <a:pt x="242" y="323"/>
                  </a:lnTo>
                  <a:lnTo>
                    <a:pt x="245" y="327"/>
                  </a:lnTo>
                  <a:lnTo>
                    <a:pt x="243" y="329"/>
                  </a:lnTo>
                  <a:lnTo>
                    <a:pt x="243" y="330"/>
                  </a:lnTo>
                  <a:lnTo>
                    <a:pt x="245" y="334"/>
                  </a:lnTo>
                  <a:lnTo>
                    <a:pt x="248" y="340"/>
                  </a:lnTo>
                  <a:lnTo>
                    <a:pt x="250" y="345"/>
                  </a:lnTo>
                  <a:lnTo>
                    <a:pt x="250" y="347"/>
                  </a:lnTo>
                  <a:lnTo>
                    <a:pt x="250" y="351"/>
                  </a:lnTo>
                  <a:lnTo>
                    <a:pt x="252" y="353"/>
                  </a:lnTo>
                  <a:lnTo>
                    <a:pt x="250" y="356"/>
                  </a:lnTo>
                  <a:lnTo>
                    <a:pt x="248" y="351"/>
                  </a:lnTo>
                  <a:lnTo>
                    <a:pt x="245" y="353"/>
                  </a:lnTo>
                  <a:lnTo>
                    <a:pt x="245" y="357"/>
                  </a:lnTo>
                  <a:lnTo>
                    <a:pt x="247" y="361"/>
                  </a:lnTo>
                  <a:lnTo>
                    <a:pt x="249" y="363"/>
                  </a:lnTo>
                  <a:lnTo>
                    <a:pt x="243" y="362"/>
                  </a:lnTo>
                  <a:lnTo>
                    <a:pt x="245" y="364"/>
                  </a:lnTo>
                  <a:lnTo>
                    <a:pt x="247" y="370"/>
                  </a:lnTo>
                  <a:lnTo>
                    <a:pt x="247" y="375"/>
                  </a:lnTo>
                  <a:lnTo>
                    <a:pt x="247" y="379"/>
                  </a:lnTo>
                  <a:lnTo>
                    <a:pt x="245" y="373"/>
                  </a:lnTo>
                  <a:lnTo>
                    <a:pt x="245" y="378"/>
                  </a:lnTo>
                  <a:lnTo>
                    <a:pt x="244" y="382"/>
                  </a:lnTo>
                  <a:lnTo>
                    <a:pt x="248" y="383"/>
                  </a:lnTo>
                  <a:lnTo>
                    <a:pt x="247" y="386"/>
                  </a:lnTo>
                  <a:lnTo>
                    <a:pt x="244" y="389"/>
                  </a:lnTo>
                  <a:lnTo>
                    <a:pt x="243" y="390"/>
                  </a:lnTo>
                  <a:lnTo>
                    <a:pt x="242" y="390"/>
                  </a:lnTo>
                  <a:lnTo>
                    <a:pt x="242" y="394"/>
                  </a:lnTo>
                  <a:lnTo>
                    <a:pt x="242" y="395"/>
                  </a:lnTo>
                  <a:lnTo>
                    <a:pt x="241" y="398"/>
                  </a:lnTo>
                  <a:lnTo>
                    <a:pt x="237" y="399"/>
                  </a:lnTo>
                  <a:lnTo>
                    <a:pt x="232" y="402"/>
                  </a:lnTo>
                  <a:lnTo>
                    <a:pt x="229" y="405"/>
                  </a:lnTo>
                  <a:lnTo>
                    <a:pt x="227" y="407"/>
                  </a:lnTo>
                  <a:lnTo>
                    <a:pt x="218" y="411"/>
                  </a:lnTo>
                  <a:lnTo>
                    <a:pt x="217" y="414"/>
                  </a:lnTo>
                  <a:lnTo>
                    <a:pt x="216" y="416"/>
                  </a:lnTo>
                  <a:lnTo>
                    <a:pt x="215" y="417"/>
                  </a:lnTo>
                  <a:lnTo>
                    <a:pt x="214" y="418"/>
                  </a:lnTo>
                  <a:lnTo>
                    <a:pt x="211" y="418"/>
                  </a:lnTo>
                  <a:lnTo>
                    <a:pt x="209" y="420"/>
                  </a:lnTo>
                  <a:lnTo>
                    <a:pt x="205" y="422"/>
                  </a:lnTo>
                  <a:lnTo>
                    <a:pt x="199" y="426"/>
                  </a:lnTo>
                  <a:lnTo>
                    <a:pt x="196" y="427"/>
                  </a:lnTo>
                  <a:lnTo>
                    <a:pt x="194" y="430"/>
                  </a:lnTo>
                  <a:lnTo>
                    <a:pt x="193" y="427"/>
                  </a:lnTo>
                  <a:lnTo>
                    <a:pt x="190" y="426"/>
                  </a:lnTo>
                  <a:lnTo>
                    <a:pt x="188" y="423"/>
                  </a:lnTo>
                  <a:lnTo>
                    <a:pt x="186" y="421"/>
                  </a:lnTo>
                  <a:lnTo>
                    <a:pt x="185" y="426"/>
                  </a:lnTo>
                  <a:lnTo>
                    <a:pt x="184" y="422"/>
                  </a:lnTo>
                  <a:lnTo>
                    <a:pt x="184" y="423"/>
                  </a:lnTo>
                  <a:lnTo>
                    <a:pt x="184" y="425"/>
                  </a:lnTo>
                  <a:lnTo>
                    <a:pt x="184" y="423"/>
                  </a:lnTo>
                  <a:lnTo>
                    <a:pt x="182" y="421"/>
                  </a:lnTo>
                  <a:lnTo>
                    <a:pt x="183" y="421"/>
                  </a:lnTo>
                  <a:lnTo>
                    <a:pt x="182" y="421"/>
                  </a:lnTo>
                  <a:lnTo>
                    <a:pt x="180" y="420"/>
                  </a:lnTo>
                  <a:lnTo>
                    <a:pt x="179" y="420"/>
                  </a:lnTo>
                  <a:lnTo>
                    <a:pt x="179" y="425"/>
                  </a:lnTo>
                  <a:lnTo>
                    <a:pt x="177" y="426"/>
                  </a:lnTo>
                  <a:lnTo>
                    <a:pt x="174" y="426"/>
                  </a:lnTo>
                  <a:lnTo>
                    <a:pt x="175" y="427"/>
                  </a:lnTo>
                  <a:lnTo>
                    <a:pt x="178" y="427"/>
                  </a:lnTo>
                  <a:lnTo>
                    <a:pt x="179" y="427"/>
                  </a:lnTo>
                  <a:lnTo>
                    <a:pt x="180" y="428"/>
                  </a:lnTo>
                  <a:lnTo>
                    <a:pt x="180" y="432"/>
                  </a:lnTo>
                  <a:lnTo>
                    <a:pt x="177" y="432"/>
                  </a:lnTo>
                  <a:lnTo>
                    <a:pt x="173" y="432"/>
                  </a:lnTo>
                  <a:lnTo>
                    <a:pt x="170" y="432"/>
                  </a:lnTo>
                  <a:lnTo>
                    <a:pt x="173" y="433"/>
                  </a:lnTo>
                  <a:lnTo>
                    <a:pt x="177" y="434"/>
                  </a:lnTo>
                  <a:lnTo>
                    <a:pt x="179" y="436"/>
                  </a:lnTo>
                  <a:lnTo>
                    <a:pt x="182" y="438"/>
                  </a:lnTo>
                  <a:lnTo>
                    <a:pt x="179" y="439"/>
                  </a:lnTo>
                  <a:lnTo>
                    <a:pt x="178" y="441"/>
                  </a:lnTo>
                  <a:lnTo>
                    <a:pt x="177" y="442"/>
                  </a:lnTo>
                  <a:lnTo>
                    <a:pt x="174" y="441"/>
                  </a:lnTo>
                  <a:lnTo>
                    <a:pt x="173" y="439"/>
                  </a:lnTo>
                  <a:lnTo>
                    <a:pt x="170" y="437"/>
                  </a:lnTo>
                  <a:lnTo>
                    <a:pt x="169" y="434"/>
                  </a:lnTo>
                  <a:lnTo>
                    <a:pt x="167" y="433"/>
                  </a:lnTo>
                  <a:lnTo>
                    <a:pt x="169" y="437"/>
                  </a:lnTo>
                  <a:lnTo>
                    <a:pt x="174" y="441"/>
                  </a:lnTo>
                  <a:lnTo>
                    <a:pt x="177" y="444"/>
                  </a:lnTo>
                  <a:lnTo>
                    <a:pt x="178" y="448"/>
                  </a:lnTo>
                  <a:lnTo>
                    <a:pt x="173" y="445"/>
                  </a:lnTo>
                  <a:lnTo>
                    <a:pt x="169" y="442"/>
                  </a:lnTo>
                  <a:lnTo>
                    <a:pt x="162" y="434"/>
                  </a:lnTo>
                  <a:lnTo>
                    <a:pt x="163" y="436"/>
                  </a:lnTo>
                  <a:lnTo>
                    <a:pt x="166" y="438"/>
                  </a:lnTo>
                  <a:lnTo>
                    <a:pt x="172" y="445"/>
                  </a:lnTo>
                  <a:lnTo>
                    <a:pt x="174" y="448"/>
                  </a:lnTo>
                  <a:lnTo>
                    <a:pt x="177" y="452"/>
                  </a:lnTo>
                  <a:lnTo>
                    <a:pt x="177" y="454"/>
                  </a:lnTo>
                  <a:lnTo>
                    <a:pt x="174" y="457"/>
                  </a:lnTo>
                  <a:lnTo>
                    <a:pt x="172" y="458"/>
                  </a:lnTo>
                  <a:lnTo>
                    <a:pt x="169" y="457"/>
                  </a:lnTo>
                  <a:lnTo>
                    <a:pt x="163" y="452"/>
                  </a:lnTo>
                  <a:lnTo>
                    <a:pt x="158" y="445"/>
                  </a:lnTo>
                  <a:lnTo>
                    <a:pt x="153" y="442"/>
                  </a:lnTo>
                  <a:lnTo>
                    <a:pt x="157" y="445"/>
                  </a:lnTo>
                  <a:lnTo>
                    <a:pt x="162" y="450"/>
                  </a:lnTo>
                  <a:lnTo>
                    <a:pt x="166" y="455"/>
                  </a:lnTo>
                  <a:lnTo>
                    <a:pt x="166" y="460"/>
                  </a:lnTo>
                  <a:lnTo>
                    <a:pt x="163" y="464"/>
                  </a:lnTo>
                  <a:lnTo>
                    <a:pt x="159" y="465"/>
                  </a:lnTo>
                  <a:lnTo>
                    <a:pt x="156" y="468"/>
                  </a:lnTo>
                  <a:lnTo>
                    <a:pt x="152" y="469"/>
                  </a:lnTo>
                  <a:lnTo>
                    <a:pt x="148" y="471"/>
                  </a:lnTo>
                  <a:lnTo>
                    <a:pt x="146" y="475"/>
                  </a:lnTo>
                  <a:lnTo>
                    <a:pt x="143" y="479"/>
                  </a:lnTo>
                  <a:lnTo>
                    <a:pt x="141" y="482"/>
                  </a:lnTo>
                  <a:lnTo>
                    <a:pt x="138" y="485"/>
                  </a:lnTo>
                  <a:lnTo>
                    <a:pt x="134" y="489"/>
                  </a:lnTo>
                  <a:lnTo>
                    <a:pt x="130" y="490"/>
                  </a:lnTo>
                  <a:lnTo>
                    <a:pt x="126" y="487"/>
                  </a:lnTo>
                  <a:lnTo>
                    <a:pt x="129" y="486"/>
                  </a:lnTo>
                  <a:lnTo>
                    <a:pt x="131" y="485"/>
                  </a:lnTo>
                  <a:lnTo>
                    <a:pt x="131" y="481"/>
                  </a:lnTo>
                  <a:lnTo>
                    <a:pt x="127" y="482"/>
                  </a:lnTo>
                  <a:lnTo>
                    <a:pt x="126" y="473"/>
                  </a:lnTo>
                  <a:lnTo>
                    <a:pt x="126" y="461"/>
                  </a:lnTo>
                  <a:lnTo>
                    <a:pt x="126" y="457"/>
                  </a:lnTo>
                  <a:lnTo>
                    <a:pt x="127" y="452"/>
                  </a:lnTo>
                  <a:lnTo>
                    <a:pt x="129" y="449"/>
                  </a:lnTo>
                  <a:lnTo>
                    <a:pt x="130" y="445"/>
                  </a:lnTo>
                  <a:lnTo>
                    <a:pt x="132" y="444"/>
                  </a:lnTo>
                  <a:lnTo>
                    <a:pt x="132" y="444"/>
                  </a:lnTo>
                  <a:lnTo>
                    <a:pt x="134" y="447"/>
                  </a:lnTo>
                  <a:lnTo>
                    <a:pt x="132" y="443"/>
                  </a:lnTo>
                  <a:lnTo>
                    <a:pt x="130" y="441"/>
                  </a:lnTo>
                  <a:lnTo>
                    <a:pt x="124" y="437"/>
                  </a:lnTo>
                  <a:lnTo>
                    <a:pt x="118" y="433"/>
                  </a:lnTo>
                  <a:lnTo>
                    <a:pt x="115" y="431"/>
                  </a:lnTo>
                  <a:lnTo>
                    <a:pt x="115" y="428"/>
                  </a:lnTo>
                  <a:lnTo>
                    <a:pt x="114" y="430"/>
                  </a:lnTo>
                  <a:lnTo>
                    <a:pt x="111" y="427"/>
                  </a:lnTo>
                  <a:lnTo>
                    <a:pt x="115" y="426"/>
                  </a:lnTo>
                  <a:lnTo>
                    <a:pt x="118" y="425"/>
                  </a:lnTo>
                  <a:lnTo>
                    <a:pt x="123" y="423"/>
                  </a:lnTo>
                  <a:lnTo>
                    <a:pt x="126" y="422"/>
                  </a:lnTo>
                  <a:lnTo>
                    <a:pt x="127" y="421"/>
                  </a:lnTo>
                  <a:lnTo>
                    <a:pt x="129" y="418"/>
                  </a:lnTo>
                  <a:lnTo>
                    <a:pt x="129" y="415"/>
                  </a:lnTo>
                  <a:lnTo>
                    <a:pt x="129" y="412"/>
                  </a:lnTo>
                  <a:lnTo>
                    <a:pt x="130" y="410"/>
                  </a:lnTo>
                  <a:lnTo>
                    <a:pt x="135" y="412"/>
                  </a:lnTo>
                  <a:lnTo>
                    <a:pt x="140" y="412"/>
                  </a:lnTo>
                  <a:lnTo>
                    <a:pt x="143" y="410"/>
                  </a:lnTo>
                  <a:lnTo>
                    <a:pt x="148" y="409"/>
                  </a:lnTo>
                  <a:lnTo>
                    <a:pt x="151" y="410"/>
                  </a:lnTo>
                  <a:lnTo>
                    <a:pt x="152" y="411"/>
                  </a:lnTo>
                  <a:lnTo>
                    <a:pt x="154" y="414"/>
                  </a:lnTo>
                  <a:lnTo>
                    <a:pt x="157" y="415"/>
                  </a:lnTo>
                  <a:lnTo>
                    <a:pt x="162" y="416"/>
                  </a:lnTo>
                  <a:lnTo>
                    <a:pt x="161" y="412"/>
                  </a:lnTo>
                  <a:lnTo>
                    <a:pt x="161" y="411"/>
                  </a:lnTo>
                  <a:lnTo>
                    <a:pt x="163" y="410"/>
                  </a:lnTo>
                  <a:lnTo>
                    <a:pt x="162" y="407"/>
                  </a:lnTo>
                  <a:lnTo>
                    <a:pt x="158" y="405"/>
                  </a:lnTo>
                  <a:lnTo>
                    <a:pt x="156" y="404"/>
                  </a:lnTo>
                  <a:lnTo>
                    <a:pt x="153" y="401"/>
                  </a:lnTo>
                  <a:lnTo>
                    <a:pt x="150" y="391"/>
                  </a:lnTo>
                  <a:lnTo>
                    <a:pt x="150" y="389"/>
                  </a:lnTo>
                  <a:lnTo>
                    <a:pt x="151" y="388"/>
                  </a:lnTo>
                  <a:lnTo>
                    <a:pt x="154" y="385"/>
                  </a:lnTo>
                  <a:lnTo>
                    <a:pt x="157" y="383"/>
                  </a:lnTo>
                  <a:lnTo>
                    <a:pt x="161" y="384"/>
                  </a:lnTo>
                  <a:lnTo>
                    <a:pt x="164" y="385"/>
                  </a:lnTo>
                  <a:lnTo>
                    <a:pt x="168" y="386"/>
                  </a:lnTo>
                  <a:lnTo>
                    <a:pt x="167" y="384"/>
                  </a:lnTo>
                  <a:lnTo>
                    <a:pt x="167" y="382"/>
                  </a:lnTo>
                  <a:lnTo>
                    <a:pt x="167" y="379"/>
                  </a:lnTo>
                  <a:lnTo>
                    <a:pt x="166" y="377"/>
                  </a:lnTo>
                  <a:lnTo>
                    <a:pt x="170" y="377"/>
                  </a:lnTo>
                  <a:lnTo>
                    <a:pt x="174" y="377"/>
                  </a:lnTo>
                  <a:lnTo>
                    <a:pt x="179" y="374"/>
                  </a:lnTo>
                  <a:lnTo>
                    <a:pt x="183" y="372"/>
                  </a:lnTo>
                  <a:lnTo>
                    <a:pt x="185" y="368"/>
                  </a:lnTo>
                  <a:lnTo>
                    <a:pt x="189" y="367"/>
                  </a:lnTo>
                  <a:lnTo>
                    <a:pt x="193" y="366"/>
                  </a:lnTo>
                  <a:lnTo>
                    <a:pt x="196" y="364"/>
                  </a:lnTo>
                  <a:lnTo>
                    <a:pt x="199" y="362"/>
                  </a:lnTo>
                  <a:lnTo>
                    <a:pt x="199" y="359"/>
                  </a:lnTo>
                  <a:lnTo>
                    <a:pt x="198" y="352"/>
                  </a:lnTo>
                  <a:lnTo>
                    <a:pt x="195" y="345"/>
                  </a:lnTo>
                  <a:lnTo>
                    <a:pt x="195" y="339"/>
                  </a:lnTo>
                  <a:lnTo>
                    <a:pt x="196" y="332"/>
                  </a:lnTo>
                  <a:lnTo>
                    <a:pt x="195" y="329"/>
                  </a:lnTo>
                  <a:lnTo>
                    <a:pt x="194" y="325"/>
                  </a:lnTo>
                  <a:lnTo>
                    <a:pt x="191" y="320"/>
                  </a:lnTo>
                  <a:lnTo>
                    <a:pt x="191" y="316"/>
                  </a:lnTo>
                  <a:lnTo>
                    <a:pt x="190" y="313"/>
                  </a:lnTo>
                  <a:lnTo>
                    <a:pt x="189" y="310"/>
                  </a:lnTo>
                  <a:lnTo>
                    <a:pt x="188" y="309"/>
                  </a:lnTo>
                  <a:lnTo>
                    <a:pt x="186" y="307"/>
                  </a:lnTo>
                  <a:lnTo>
                    <a:pt x="186" y="304"/>
                  </a:lnTo>
                  <a:lnTo>
                    <a:pt x="186" y="299"/>
                  </a:lnTo>
                  <a:lnTo>
                    <a:pt x="188" y="296"/>
                  </a:lnTo>
                  <a:lnTo>
                    <a:pt x="189" y="293"/>
                  </a:lnTo>
                  <a:lnTo>
                    <a:pt x="190" y="289"/>
                  </a:lnTo>
                  <a:lnTo>
                    <a:pt x="190" y="287"/>
                  </a:lnTo>
                  <a:lnTo>
                    <a:pt x="190" y="284"/>
                  </a:lnTo>
                  <a:lnTo>
                    <a:pt x="189" y="282"/>
                  </a:lnTo>
                  <a:lnTo>
                    <a:pt x="189" y="281"/>
                  </a:lnTo>
                  <a:lnTo>
                    <a:pt x="186" y="278"/>
                  </a:lnTo>
                  <a:lnTo>
                    <a:pt x="188" y="277"/>
                  </a:lnTo>
                  <a:lnTo>
                    <a:pt x="189" y="276"/>
                  </a:lnTo>
                  <a:lnTo>
                    <a:pt x="190" y="273"/>
                  </a:lnTo>
                  <a:lnTo>
                    <a:pt x="191" y="268"/>
                  </a:lnTo>
                  <a:lnTo>
                    <a:pt x="189" y="265"/>
                  </a:lnTo>
                  <a:lnTo>
                    <a:pt x="185" y="261"/>
                  </a:lnTo>
                  <a:lnTo>
                    <a:pt x="182" y="259"/>
                  </a:lnTo>
                  <a:lnTo>
                    <a:pt x="178" y="255"/>
                  </a:lnTo>
                  <a:lnTo>
                    <a:pt x="175" y="254"/>
                  </a:lnTo>
                  <a:lnTo>
                    <a:pt x="174" y="251"/>
                  </a:lnTo>
                  <a:lnTo>
                    <a:pt x="175" y="249"/>
                  </a:lnTo>
                  <a:lnTo>
                    <a:pt x="178" y="248"/>
                  </a:lnTo>
                  <a:lnTo>
                    <a:pt x="180" y="245"/>
                  </a:lnTo>
                  <a:lnTo>
                    <a:pt x="183" y="243"/>
                  </a:lnTo>
                  <a:lnTo>
                    <a:pt x="177" y="240"/>
                  </a:lnTo>
                  <a:lnTo>
                    <a:pt x="172" y="235"/>
                  </a:lnTo>
                  <a:lnTo>
                    <a:pt x="170" y="234"/>
                  </a:lnTo>
                  <a:lnTo>
                    <a:pt x="168" y="234"/>
                  </a:lnTo>
                  <a:lnTo>
                    <a:pt x="167" y="233"/>
                  </a:lnTo>
                  <a:lnTo>
                    <a:pt x="166" y="232"/>
                  </a:lnTo>
                  <a:lnTo>
                    <a:pt x="164" y="229"/>
                  </a:lnTo>
                  <a:lnTo>
                    <a:pt x="162" y="229"/>
                  </a:lnTo>
                  <a:lnTo>
                    <a:pt x="161" y="229"/>
                  </a:lnTo>
                  <a:lnTo>
                    <a:pt x="158" y="229"/>
                  </a:lnTo>
                  <a:lnTo>
                    <a:pt x="157" y="228"/>
                  </a:lnTo>
                  <a:lnTo>
                    <a:pt x="154" y="225"/>
                  </a:lnTo>
                  <a:lnTo>
                    <a:pt x="153" y="221"/>
                  </a:lnTo>
                  <a:lnTo>
                    <a:pt x="151" y="211"/>
                  </a:lnTo>
                  <a:lnTo>
                    <a:pt x="143" y="203"/>
                  </a:lnTo>
                  <a:lnTo>
                    <a:pt x="140" y="201"/>
                  </a:lnTo>
                  <a:lnTo>
                    <a:pt x="136" y="198"/>
                  </a:lnTo>
                  <a:lnTo>
                    <a:pt x="130" y="191"/>
                  </a:lnTo>
                  <a:lnTo>
                    <a:pt x="124" y="185"/>
                  </a:lnTo>
                  <a:lnTo>
                    <a:pt x="120" y="179"/>
                  </a:lnTo>
                  <a:lnTo>
                    <a:pt x="118" y="174"/>
                  </a:lnTo>
                  <a:lnTo>
                    <a:pt x="116" y="173"/>
                  </a:lnTo>
                  <a:lnTo>
                    <a:pt x="114" y="173"/>
                  </a:lnTo>
                  <a:lnTo>
                    <a:pt x="110" y="170"/>
                  </a:lnTo>
                  <a:lnTo>
                    <a:pt x="107" y="166"/>
                  </a:lnTo>
                  <a:lnTo>
                    <a:pt x="105" y="163"/>
                  </a:lnTo>
                  <a:lnTo>
                    <a:pt x="104" y="160"/>
                  </a:lnTo>
                  <a:lnTo>
                    <a:pt x="105" y="158"/>
                  </a:lnTo>
                  <a:lnTo>
                    <a:pt x="105" y="157"/>
                  </a:lnTo>
                  <a:lnTo>
                    <a:pt x="104" y="155"/>
                  </a:lnTo>
                  <a:lnTo>
                    <a:pt x="100" y="154"/>
                  </a:lnTo>
                  <a:lnTo>
                    <a:pt x="97" y="153"/>
                  </a:lnTo>
                  <a:lnTo>
                    <a:pt x="94" y="152"/>
                  </a:lnTo>
                  <a:lnTo>
                    <a:pt x="88" y="149"/>
                  </a:lnTo>
                  <a:lnTo>
                    <a:pt x="82" y="146"/>
                  </a:lnTo>
                  <a:lnTo>
                    <a:pt x="77" y="141"/>
                  </a:lnTo>
                  <a:lnTo>
                    <a:pt x="71" y="138"/>
                  </a:lnTo>
                  <a:lnTo>
                    <a:pt x="68" y="137"/>
                  </a:lnTo>
                  <a:lnTo>
                    <a:pt x="66" y="136"/>
                  </a:lnTo>
                  <a:lnTo>
                    <a:pt x="66" y="134"/>
                  </a:lnTo>
                  <a:lnTo>
                    <a:pt x="67" y="132"/>
                  </a:lnTo>
                  <a:lnTo>
                    <a:pt x="70" y="131"/>
                  </a:lnTo>
                  <a:lnTo>
                    <a:pt x="70" y="130"/>
                  </a:lnTo>
                  <a:lnTo>
                    <a:pt x="70" y="128"/>
                  </a:lnTo>
                  <a:lnTo>
                    <a:pt x="67" y="126"/>
                  </a:lnTo>
                  <a:lnTo>
                    <a:pt x="67" y="123"/>
                  </a:lnTo>
                  <a:lnTo>
                    <a:pt x="68" y="122"/>
                  </a:lnTo>
                  <a:lnTo>
                    <a:pt x="72" y="122"/>
                  </a:lnTo>
                  <a:lnTo>
                    <a:pt x="76" y="123"/>
                  </a:lnTo>
                  <a:lnTo>
                    <a:pt x="78" y="123"/>
                  </a:lnTo>
                  <a:lnTo>
                    <a:pt x="82" y="123"/>
                  </a:lnTo>
                  <a:lnTo>
                    <a:pt x="87" y="121"/>
                  </a:lnTo>
                  <a:lnTo>
                    <a:pt x="89" y="118"/>
                  </a:lnTo>
                  <a:lnTo>
                    <a:pt x="89" y="117"/>
                  </a:lnTo>
                  <a:lnTo>
                    <a:pt x="88" y="116"/>
                  </a:lnTo>
                  <a:lnTo>
                    <a:pt x="91" y="114"/>
                  </a:lnTo>
                  <a:lnTo>
                    <a:pt x="92" y="112"/>
                  </a:lnTo>
                  <a:lnTo>
                    <a:pt x="93" y="111"/>
                  </a:lnTo>
                  <a:lnTo>
                    <a:pt x="92" y="109"/>
                  </a:lnTo>
                  <a:lnTo>
                    <a:pt x="91" y="106"/>
                  </a:lnTo>
                  <a:lnTo>
                    <a:pt x="86" y="105"/>
                  </a:lnTo>
                  <a:lnTo>
                    <a:pt x="83" y="104"/>
                  </a:lnTo>
                  <a:lnTo>
                    <a:pt x="83" y="101"/>
                  </a:lnTo>
                  <a:lnTo>
                    <a:pt x="81" y="100"/>
                  </a:lnTo>
                  <a:lnTo>
                    <a:pt x="79" y="99"/>
                  </a:lnTo>
                  <a:lnTo>
                    <a:pt x="73" y="98"/>
                  </a:lnTo>
                  <a:lnTo>
                    <a:pt x="75" y="96"/>
                  </a:lnTo>
                  <a:lnTo>
                    <a:pt x="77" y="95"/>
                  </a:lnTo>
                  <a:lnTo>
                    <a:pt x="78" y="94"/>
                  </a:lnTo>
                  <a:lnTo>
                    <a:pt x="79" y="93"/>
                  </a:lnTo>
                  <a:lnTo>
                    <a:pt x="78" y="90"/>
                  </a:lnTo>
                  <a:lnTo>
                    <a:pt x="77" y="88"/>
                  </a:lnTo>
                  <a:lnTo>
                    <a:pt x="72" y="85"/>
                  </a:lnTo>
                  <a:lnTo>
                    <a:pt x="67" y="82"/>
                  </a:lnTo>
                  <a:lnTo>
                    <a:pt x="65" y="82"/>
                  </a:lnTo>
                  <a:lnTo>
                    <a:pt x="62" y="82"/>
                  </a:lnTo>
                  <a:lnTo>
                    <a:pt x="59" y="83"/>
                  </a:lnTo>
                  <a:lnTo>
                    <a:pt x="56" y="84"/>
                  </a:lnTo>
                  <a:lnTo>
                    <a:pt x="55" y="88"/>
                  </a:lnTo>
                  <a:lnTo>
                    <a:pt x="54" y="90"/>
                  </a:lnTo>
                  <a:lnTo>
                    <a:pt x="49" y="87"/>
                  </a:lnTo>
                  <a:lnTo>
                    <a:pt x="46" y="85"/>
                  </a:lnTo>
                  <a:lnTo>
                    <a:pt x="43" y="85"/>
                  </a:lnTo>
                  <a:lnTo>
                    <a:pt x="40" y="85"/>
                  </a:lnTo>
                  <a:lnTo>
                    <a:pt x="36" y="83"/>
                  </a:lnTo>
                  <a:lnTo>
                    <a:pt x="33" y="79"/>
                  </a:lnTo>
                  <a:lnTo>
                    <a:pt x="30" y="77"/>
                  </a:lnTo>
                  <a:lnTo>
                    <a:pt x="29" y="73"/>
                  </a:lnTo>
                  <a:lnTo>
                    <a:pt x="28" y="69"/>
                  </a:lnTo>
                  <a:lnTo>
                    <a:pt x="27" y="66"/>
                  </a:lnTo>
                  <a:lnTo>
                    <a:pt x="27" y="62"/>
                  </a:lnTo>
                  <a:lnTo>
                    <a:pt x="28" y="58"/>
                  </a:lnTo>
                  <a:lnTo>
                    <a:pt x="25" y="56"/>
                  </a:lnTo>
                  <a:lnTo>
                    <a:pt x="24" y="55"/>
                  </a:lnTo>
                  <a:lnTo>
                    <a:pt x="22" y="51"/>
                  </a:lnTo>
                  <a:lnTo>
                    <a:pt x="23" y="55"/>
                  </a:lnTo>
                  <a:lnTo>
                    <a:pt x="20" y="57"/>
                  </a:lnTo>
                  <a:lnTo>
                    <a:pt x="19" y="56"/>
                  </a:lnTo>
                  <a:lnTo>
                    <a:pt x="17" y="53"/>
                  </a:lnTo>
                  <a:lnTo>
                    <a:pt x="16" y="50"/>
                  </a:lnTo>
                  <a:lnTo>
                    <a:pt x="13" y="47"/>
                  </a:lnTo>
                  <a:lnTo>
                    <a:pt x="6" y="41"/>
                  </a:lnTo>
                  <a:lnTo>
                    <a:pt x="2" y="37"/>
                  </a:lnTo>
                  <a:lnTo>
                    <a:pt x="0" y="3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2" name="Freeform 802">
              <a:extLst>
                <a:ext uri="{FF2B5EF4-FFF2-40B4-BE49-F238E27FC236}">
                  <a16:creationId xmlns:a16="http://schemas.microsoft.com/office/drawing/2014/main" id="{A4B94652-24C3-43F5-AC8F-2721FCD7985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1887" y="3881050"/>
              <a:ext cx="0" cy="4216"/>
            </a:xfrm>
            <a:custGeom>
              <a:avLst/>
              <a:gdLst>
                <a:gd name="T0" fmla="*/ 1 w 1"/>
                <a:gd name="T1" fmla="*/ 2 h 2"/>
                <a:gd name="T2" fmla="*/ 1 w 1"/>
                <a:gd name="T3" fmla="*/ 1 h 2"/>
                <a:gd name="T4" fmla="*/ 0 w 1"/>
                <a:gd name="T5" fmla="*/ 0 h 2"/>
                <a:gd name="T6" fmla="*/ 1 w 1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lnTo>
                    <a:pt x="1" y="1"/>
                  </a:lnTo>
                  <a:lnTo>
                    <a:pt x="0" y="0"/>
                  </a:lnTo>
                  <a:lnTo>
                    <a:pt x="1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3" name="Freeform 803">
              <a:extLst>
                <a:ext uri="{FF2B5EF4-FFF2-40B4-BE49-F238E27FC236}">
                  <a16:creationId xmlns:a16="http://schemas.microsoft.com/office/drawing/2014/main" id="{37C996B5-0A5A-4536-B531-AD77B92AF02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6102" y="3885266"/>
              <a:ext cx="6324" cy="4216"/>
            </a:xfrm>
            <a:custGeom>
              <a:avLst/>
              <a:gdLst>
                <a:gd name="T0" fmla="*/ 0 w 7"/>
                <a:gd name="T1" fmla="*/ 0 h 5"/>
                <a:gd name="T2" fmla="*/ 5 w 7"/>
                <a:gd name="T3" fmla="*/ 5 h 5"/>
                <a:gd name="T4" fmla="*/ 7 w 7"/>
                <a:gd name="T5" fmla="*/ 3 h 5"/>
                <a:gd name="T6" fmla="*/ 5 w 7"/>
                <a:gd name="T7" fmla="*/ 1 h 5"/>
                <a:gd name="T8" fmla="*/ 0 w 7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0" y="0"/>
                  </a:moveTo>
                  <a:lnTo>
                    <a:pt x="5" y="5"/>
                  </a:lnTo>
                  <a:lnTo>
                    <a:pt x="7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4" name="Freeform 804">
              <a:extLst>
                <a:ext uri="{FF2B5EF4-FFF2-40B4-BE49-F238E27FC236}">
                  <a16:creationId xmlns:a16="http://schemas.microsoft.com/office/drawing/2014/main" id="{C103B08B-D097-4DCA-985A-E89AF2C45A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750" y="3870511"/>
              <a:ext cx="4216" cy="6324"/>
            </a:xfrm>
            <a:custGeom>
              <a:avLst/>
              <a:gdLst>
                <a:gd name="T0" fmla="*/ 1 w 2"/>
                <a:gd name="T1" fmla="*/ 0 h 7"/>
                <a:gd name="T2" fmla="*/ 0 w 2"/>
                <a:gd name="T3" fmla="*/ 7 h 7"/>
                <a:gd name="T4" fmla="*/ 1 w 2"/>
                <a:gd name="T5" fmla="*/ 4 h 7"/>
                <a:gd name="T6" fmla="*/ 2 w 2"/>
                <a:gd name="T7" fmla="*/ 3 h 7"/>
                <a:gd name="T8" fmla="*/ 2 w 2"/>
                <a:gd name="T9" fmla="*/ 1 h 7"/>
                <a:gd name="T10" fmla="*/ 1 w 2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7">
                  <a:moveTo>
                    <a:pt x="1" y="0"/>
                  </a:moveTo>
                  <a:lnTo>
                    <a:pt x="0" y="7"/>
                  </a:lnTo>
                  <a:lnTo>
                    <a:pt x="1" y="4"/>
                  </a:lnTo>
                  <a:lnTo>
                    <a:pt x="2" y="3"/>
                  </a:lnTo>
                  <a:lnTo>
                    <a:pt x="2" y="1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5" name="Freeform 805">
              <a:extLst>
                <a:ext uri="{FF2B5EF4-FFF2-40B4-BE49-F238E27FC236}">
                  <a16:creationId xmlns:a16="http://schemas.microsoft.com/office/drawing/2014/main" id="{D002D866-0DD4-47BA-A2C6-ADB1F49F2701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0857" y="3876834"/>
              <a:ext cx="4216" cy="6324"/>
            </a:xfrm>
            <a:custGeom>
              <a:avLst/>
              <a:gdLst>
                <a:gd name="T0" fmla="*/ 4 w 4"/>
                <a:gd name="T1" fmla="*/ 0 h 5"/>
                <a:gd name="T2" fmla="*/ 0 w 4"/>
                <a:gd name="T3" fmla="*/ 5 h 5"/>
                <a:gd name="T4" fmla="*/ 3 w 4"/>
                <a:gd name="T5" fmla="*/ 2 h 5"/>
                <a:gd name="T6" fmla="*/ 4 w 4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5">
                  <a:moveTo>
                    <a:pt x="4" y="0"/>
                  </a:moveTo>
                  <a:lnTo>
                    <a:pt x="0" y="5"/>
                  </a:lnTo>
                  <a:lnTo>
                    <a:pt x="3" y="2"/>
                  </a:lnTo>
                  <a:lnTo>
                    <a:pt x="4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6" name="Freeform 806">
              <a:extLst>
                <a:ext uri="{FF2B5EF4-FFF2-40B4-BE49-F238E27FC236}">
                  <a16:creationId xmlns:a16="http://schemas.microsoft.com/office/drawing/2014/main" id="{FCCA0615-E76A-46E5-97FA-015F2BBD7E7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504" y="3864187"/>
              <a:ext cx="2109" cy="2109"/>
            </a:xfrm>
            <a:custGeom>
              <a:avLst/>
              <a:gdLst>
                <a:gd name="T0" fmla="*/ 0 w 3"/>
                <a:gd name="T1" fmla="*/ 1 h 1"/>
                <a:gd name="T2" fmla="*/ 1 w 3"/>
                <a:gd name="T3" fmla="*/ 1 h 1"/>
                <a:gd name="T4" fmla="*/ 3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lnTo>
                    <a:pt x="1" y="1"/>
                  </a:lnTo>
                  <a:lnTo>
                    <a:pt x="3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7" name="Freeform 812">
              <a:extLst>
                <a:ext uri="{FF2B5EF4-FFF2-40B4-BE49-F238E27FC236}">
                  <a16:creationId xmlns:a16="http://schemas.microsoft.com/office/drawing/2014/main" id="{2B9B7E5A-BCD8-4DCC-9A95-7C2B913A5A0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7042" y="2709059"/>
              <a:ext cx="10540" cy="4216"/>
            </a:xfrm>
            <a:custGeom>
              <a:avLst/>
              <a:gdLst>
                <a:gd name="T0" fmla="*/ 1 w 10"/>
                <a:gd name="T1" fmla="*/ 2 h 5"/>
                <a:gd name="T2" fmla="*/ 0 w 10"/>
                <a:gd name="T3" fmla="*/ 5 h 5"/>
                <a:gd name="T4" fmla="*/ 5 w 10"/>
                <a:gd name="T5" fmla="*/ 5 h 5"/>
                <a:gd name="T6" fmla="*/ 10 w 10"/>
                <a:gd name="T7" fmla="*/ 5 h 5"/>
                <a:gd name="T8" fmla="*/ 9 w 10"/>
                <a:gd name="T9" fmla="*/ 2 h 5"/>
                <a:gd name="T10" fmla="*/ 9 w 10"/>
                <a:gd name="T11" fmla="*/ 0 h 5"/>
                <a:gd name="T12" fmla="*/ 5 w 10"/>
                <a:gd name="T13" fmla="*/ 0 h 5"/>
                <a:gd name="T14" fmla="*/ 1 w 10"/>
                <a:gd name="T1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5">
                  <a:moveTo>
                    <a:pt x="1" y="2"/>
                  </a:moveTo>
                  <a:lnTo>
                    <a:pt x="0" y="5"/>
                  </a:lnTo>
                  <a:lnTo>
                    <a:pt x="5" y="5"/>
                  </a:lnTo>
                  <a:lnTo>
                    <a:pt x="10" y="5"/>
                  </a:lnTo>
                  <a:lnTo>
                    <a:pt x="9" y="2"/>
                  </a:lnTo>
                  <a:lnTo>
                    <a:pt x="9" y="0"/>
                  </a:lnTo>
                  <a:lnTo>
                    <a:pt x="5" y="0"/>
                  </a:lnTo>
                  <a:lnTo>
                    <a:pt x="1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8" name="Freeform 813">
              <a:extLst>
                <a:ext uri="{FF2B5EF4-FFF2-40B4-BE49-F238E27FC236}">
                  <a16:creationId xmlns:a16="http://schemas.microsoft.com/office/drawing/2014/main" id="{31C27CF9-F564-4A23-B824-0E38CF37C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3905" y="2704843"/>
              <a:ext cx="18972" cy="18972"/>
            </a:xfrm>
            <a:custGeom>
              <a:avLst/>
              <a:gdLst>
                <a:gd name="T0" fmla="*/ 0 w 19"/>
                <a:gd name="T1" fmla="*/ 6 h 18"/>
                <a:gd name="T2" fmla="*/ 1 w 19"/>
                <a:gd name="T3" fmla="*/ 13 h 18"/>
                <a:gd name="T4" fmla="*/ 4 w 19"/>
                <a:gd name="T5" fmla="*/ 11 h 18"/>
                <a:gd name="T6" fmla="*/ 5 w 19"/>
                <a:gd name="T7" fmla="*/ 11 h 18"/>
                <a:gd name="T8" fmla="*/ 9 w 19"/>
                <a:gd name="T9" fmla="*/ 14 h 18"/>
                <a:gd name="T10" fmla="*/ 13 w 19"/>
                <a:gd name="T11" fmla="*/ 16 h 18"/>
                <a:gd name="T12" fmla="*/ 15 w 19"/>
                <a:gd name="T13" fmla="*/ 18 h 18"/>
                <a:gd name="T14" fmla="*/ 17 w 19"/>
                <a:gd name="T15" fmla="*/ 16 h 18"/>
                <a:gd name="T16" fmla="*/ 19 w 19"/>
                <a:gd name="T17" fmla="*/ 14 h 18"/>
                <a:gd name="T18" fmla="*/ 19 w 19"/>
                <a:gd name="T19" fmla="*/ 9 h 18"/>
                <a:gd name="T20" fmla="*/ 15 w 19"/>
                <a:gd name="T21" fmla="*/ 5 h 18"/>
                <a:gd name="T22" fmla="*/ 14 w 19"/>
                <a:gd name="T23" fmla="*/ 5 h 18"/>
                <a:gd name="T24" fmla="*/ 13 w 19"/>
                <a:gd name="T25" fmla="*/ 6 h 18"/>
                <a:gd name="T26" fmla="*/ 11 w 19"/>
                <a:gd name="T27" fmla="*/ 3 h 18"/>
                <a:gd name="T28" fmla="*/ 8 w 19"/>
                <a:gd name="T29" fmla="*/ 2 h 18"/>
                <a:gd name="T30" fmla="*/ 4 w 19"/>
                <a:gd name="T31" fmla="*/ 2 h 18"/>
                <a:gd name="T32" fmla="*/ 0 w 19"/>
                <a:gd name="T33" fmla="*/ 0 h 18"/>
                <a:gd name="T34" fmla="*/ 0 w 19"/>
                <a:gd name="T35" fmla="*/ 4 h 18"/>
                <a:gd name="T36" fmla="*/ 0 w 19"/>
                <a:gd name="T37" fmla="*/ 5 h 18"/>
                <a:gd name="T38" fmla="*/ 0 w 19"/>
                <a:gd name="T3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" h="18">
                  <a:moveTo>
                    <a:pt x="0" y="6"/>
                  </a:moveTo>
                  <a:lnTo>
                    <a:pt x="1" y="13"/>
                  </a:lnTo>
                  <a:lnTo>
                    <a:pt x="4" y="11"/>
                  </a:lnTo>
                  <a:lnTo>
                    <a:pt x="5" y="11"/>
                  </a:lnTo>
                  <a:lnTo>
                    <a:pt x="9" y="14"/>
                  </a:lnTo>
                  <a:lnTo>
                    <a:pt x="13" y="16"/>
                  </a:lnTo>
                  <a:lnTo>
                    <a:pt x="15" y="18"/>
                  </a:lnTo>
                  <a:lnTo>
                    <a:pt x="17" y="16"/>
                  </a:lnTo>
                  <a:lnTo>
                    <a:pt x="19" y="14"/>
                  </a:lnTo>
                  <a:lnTo>
                    <a:pt x="19" y="9"/>
                  </a:lnTo>
                  <a:lnTo>
                    <a:pt x="15" y="5"/>
                  </a:lnTo>
                  <a:lnTo>
                    <a:pt x="14" y="5"/>
                  </a:lnTo>
                  <a:lnTo>
                    <a:pt x="13" y="6"/>
                  </a:lnTo>
                  <a:lnTo>
                    <a:pt x="11" y="3"/>
                  </a:lnTo>
                  <a:lnTo>
                    <a:pt x="8" y="2"/>
                  </a:lnTo>
                  <a:lnTo>
                    <a:pt x="4" y="2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9" name="Freeform 814">
              <a:extLst>
                <a:ext uri="{FF2B5EF4-FFF2-40B4-BE49-F238E27FC236}">
                  <a16:creationId xmlns:a16="http://schemas.microsoft.com/office/drawing/2014/main" id="{B4D2B534-9318-4CA3-A0C3-F1E38783648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52876" y="2725922"/>
              <a:ext cx="4216" cy="4216"/>
            </a:xfrm>
            <a:custGeom>
              <a:avLst/>
              <a:gdLst>
                <a:gd name="T0" fmla="*/ 5 w 5"/>
                <a:gd name="T1" fmla="*/ 5 h 5"/>
                <a:gd name="T2" fmla="*/ 0 w 5"/>
                <a:gd name="T3" fmla="*/ 0 h 5"/>
                <a:gd name="T4" fmla="*/ 2 w 5"/>
                <a:gd name="T5" fmla="*/ 4 h 5"/>
                <a:gd name="T6" fmla="*/ 5 w 5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5" y="5"/>
                  </a:moveTo>
                  <a:lnTo>
                    <a:pt x="0" y="0"/>
                  </a:lnTo>
                  <a:lnTo>
                    <a:pt x="2" y="4"/>
                  </a:lnTo>
                  <a:lnTo>
                    <a:pt x="5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0" name="Freeform 815">
              <a:extLst>
                <a:ext uri="{FF2B5EF4-FFF2-40B4-BE49-F238E27FC236}">
                  <a16:creationId xmlns:a16="http://schemas.microsoft.com/office/drawing/2014/main" id="{E0443C10-6833-446C-B126-B43DCAD11A0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59199" y="2728031"/>
              <a:ext cx="4216" cy="4216"/>
            </a:xfrm>
            <a:custGeom>
              <a:avLst/>
              <a:gdLst>
                <a:gd name="T0" fmla="*/ 0 w 3"/>
                <a:gd name="T1" fmla="*/ 4 h 4"/>
                <a:gd name="T2" fmla="*/ 3 w 3"/>
                <a:gd name="T3" fmla="*/ 2 h 4"/>
                <a:gd name="T4" fmla="*/ 0 w 3"/>
                <a:gd name="T5" fmla="*/ 0 h 4"/>
                <a:gd name="T6" fmla="*/ 0 w 3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0" y="4"/>
                  </a:moveTo>
                  <a:lnTo>
                    <a:pt x="3" y="2"/>
                  </a:lnTo>
                  <a:lnTo>
                    <a:pt x="0" y="0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1" name="Freeform 816">
              <a:extLst>
                <a:ext uri="{FF2B5EF4-FFF2-40B4-BE49-F238E27FC236}">
                  <a16:creationId xmlns:a16="http://schemas.microsoft.com/office/drawing/2014/main" id="{5281F765-DFAF-447C-9199-C83D1CBDEDF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458" y="2730138"/>
              <a:ext cx="233977" cy="286674"/>
            </a:xfrm>
            <a:custGeom>
              <a:avLst/>
              <a:gdLst>
                <a:gd name="T0" fmla="*/ 20 w 222"/>
                <a:gd name="T1" fmla="*/ 18 h 272"/>
                <a:gd name="T2" fmla="*/ 25 w 222"/>
                <a:gd name="T3" fmla="*/ 21 h 272"/>
                <a:gd name="T4" fmla="*/ 21 w 222"/>
                <a:gd name="T5" fmla="*/ 25 h 272"/>
                <a:gd name="T6" fmla="*/ 26 w 222"/>
                <a:gd name="T7" fmla="*/ 31 h 272"/>
                <a:gd name="T8" fmla="*/ 21 w 222"/>
                <a:gd name="T9" fmla="*/ 32 h 272"/>
                <a:gd name="T10" fmla="*/ 15 w 222"/>
                <a:gd name="T11" fmla="*/ 28 h 272"/>
                <a:gd name="T12" fmla="*/ 15 w 222"/>
                <a:gd name="T13" fmla="*/ 36 h 272"/>
                <a:gd name="T14" fmla="*/ 32 w 222"/>
                <a:gd name="T15" fmla="*/ 58 h 272"/>
                <a:gd name="T16" fmla="*/ 50 w 222"/>
                <a:gd name="T17" fmla="*/ 82 h 272"/>
                <a:gd name="T18" fmla="*/ 75 w 222"/>
                <a:gd name="T19" fmla="*/ 101 h 272"/>
                <a:gd name="T20" fmla="*/ 88 w 222"/>
                <a:gd name="T21" fmla="*/ 123 h 272"/>
                <a:gd name="T22" fmla="*/ 112 w 222"/>
                <a:gd name="T23" fmla="*/ 152 h 272"/>
                <a:gd name="T24" fmla="*/ 126 w 222"/>
                <a:gd name="T25" fmla="*/ 181 h 272"/>
                <a:gd name="T26" fmla="*/ 148 w 222"/>
                <a:gd name="T27" fmla="*/ 202 h 272"/>
                <a:gd name="T28" fmla="*/ 150 w 222"/>
                <a:gd name="T29" fmla="*/ 214 h 272"/>
                <a:gd name="T30" fmla="*/ 163 w 222"/>
                <a:gd name="T31" fmla="*/ 230 h 272"/>
                <a:gd name="T32" fmla="*/ 170 w 222"/>
                <a:gd name="T33" fmla="*/ 248 h 272"/>
                <a:gd name="T34" fmla="*/ 191 w 222"/>
                <a:gd name="T35" fmla="*/ 272 h 272"/>
                <a:gd name="T36" fmla="*/ 186 w 222"/>
                <a:gd name="T37" fmla="*/ 252 h 272"/>
                <a:gd name="T38" fmla="*/ 190 w 222"/>
                <a:gd name="T39" fmla="*/ 245 h 272"/>
                <a:gd name="T40" fmla="*/ 202 w 222"/>
                <a:gd name="T41" fmla="*/ 249 h 272"/>
                <a:gd name="T42" fmla="*/ 214 w 222"/>
                <a:gd name="T43" fmla="*/ 254 h 272"/>
                <a:gd name="T44" fmla="*/ 219 w 222"/>
                <a:gd name="T45" fmla="*/ 257 h 272"/>
                <a:gd name="T46" fmla="*/ 207 w 222"/>
                <a:gd name="T47" fmla="*/ 242 h 272"/>
                <a:gd name="T48" fmla="*/ 200 w 222"/>
                <a:gd name="T49" fmla="*/ 241 h 272"/>
                <a:gd name="T50" fmla="*/ 201 w 222"/>
                <a:gd name="T51" fmla="*/ 245 h 272"/>
                <a:gd name="T52" fmla="*/ 189 w 222"/>
                <a:gd name="T53" fmla="*/ 231 h 272"/>
                <a:gd name="T54" fmla="*/ 169 w 222"/>
                <a:gd name="T55" fmla="*/ 216 h 272"/>
                <a:gd name="T56" fmla="*/ 154 w 222"/>
                <a:gd name="T57" fmla="*/ 193 h 272"/>
                <a:gd name="T58" fmla="*/ 144 w 222"/>
                <a:gd name="T59" fmla="*/ 168 h 272"/>
                <a:gd name="T60" fmla="*/ 152 w 222"/>
                <a:gd name="T61" fmla="*/ 162 h 272"/>
                <a:gd name="T62" fmla="*/ 146 w 222"/>
                <a:gd name="T63" fmla="*/ 160 h 272"/>
                <a:gd name="T64" fmla="*/ 160 w 222"/>
                <a:gd name="T65" fmla="*/ 161 h 272"/>
                <a:gd name="T66" fmla="*/ 174 w 222"/>
                <a:gd name="T67" fmla="*/ 166 h 272"/>
                <a:gd name="T68" fmla="*/ 193 w 222"/>
                <a:gd name="T69" fmla="*/ 179 h 272"/>
                <a:gd name="T70" fmla="*/ 191 w 222"/>
                <a:gd name="T71" fmla="*/ 176 h 272"/>
                <a:gd name="T72" fmla="*/ 168 w 222"/>
                <a:gd name="T73" fmla="*/ 157 h 272"/>
                <a:gd name="T74" fmla="*/ 105 w 222"/>
                <a:gd name="T75" fmla="*/ 98 h 272"/>
                <a:gd name="T76" fmla="*/ 106 w 222"/>
                <a:gd name="T77" fmla="*/ 101 h 272"/>
                <a:gd name="T78" fmla="*/ 99 w 222"/>
                <a:gd name="T79" fmla="*/ 92 h 272"/>
                <a:gd name="T80" fmla="*/ 94 w 222"/>
                <a:gd name="T81" fmla="*/ 91 h 272"/>
                <a:gd name="T82" fmla="*/ 86 w 222"/>
                <a:gd name="T83" fmla="*/ 82 h 272"/>
                <a:gd name="T84" fmla="*/ 74 w 222"/>
                <a:gd name="T85" fmla="*/ 71 h 272"/>
                <a:gd name="T86" fmla="*/ 72 w 222"/>
                <a:gd name="T87" fmla="*/ 65 h 272"/>
                <a:gd name="T88" fmla="*/ 63 w 222"/>
                <a:gd name="T89" fmla="*/ 52 h 272"/>
                <a:gd name="T90" fmla="*/ 45 w 222"/>
                <a:gd name="T91" fmla="*/ 38 h 272"/>
                <a:gd name="T92" fmla="*/ 53 w 222"/>
                <a:gd name="T93" fmla="*/ 39 h 272"/>
                <a:gd name="T94" fmla="*/ 55 w 222"/>
                <a:gd name="T95" fmla="*/ 40 h 272"/>
                <a:gd name="T96" fmla="*/ 25 w 222"/>
                <a:gd name="T97" fmla="*/ 18 h 272"/>
                <a:gd name="T98" fmla="*/ 25 w 222"/>
                <a:gd name="T99" fmla="*/ 17 h 272"/>
                <a:gd name="T100" fmla="*/ 21 w 222"/>
                <a:gd name="T101" fmla="*/ 10 h 272"/>
                <a:gd name="T102" fmla="*/ 7 w 222"/>
                <a:gd name="T103" fmla="*/ 0 h 272"/>
                <a:gd name="T104" fmla="*/ 0 w 222"/>
                <a:gd name="T105" fmla="*/ 4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22" h="272">
                  <a:moveTo>
                    <a:pt x="14" y="12"/>
                  </a:moveTo>
                  <a:lnTo>
                    <a:pt x="18" y="15"/>
                  </a:lnTo>
                  <a:lnTo>
                    <a:pt x="20" y="18"/>
                  </a:lnTo>
                  <a:lnTo>
                    <a:pt x="21" y="20"/>
                  </a:lnTo>
                  <a:lnTo>
                    <a:pt x="24" y="20"/>
                  </a:lnTo>
                  <a:lnTo>
                    <a:pt x="25" y="21"/>
                  </a:lnTo>
                  <a:lnTo>
                    <a:pt x="26" y="22"/>
                  </a:lnTo>
                  <a:lnTo>
                    <a:pt x="20" y="23"/>
                  </a:lnTo>
                  <a:lnTo>
                    <a:pt x="21" y="25"/>
                  </a:lnTo>
                  <a:lnTo>
                    <a:pt x="24" y="26"/>
                  </a:lnTo>
                  <a:lnTo>
                    <a:pt x="29" y="28"/>
                  </a:lnTo>
                  <a:lnTo>
                    <a:pt x="26" y="31"/>
                  </a:lnTo>
                  <a:lnTo>
                    <a:pt x="24" y="33"/>
                  </a:lnTo>
                  <a:lnTo>
                    <a:pt x="23" y="33"/>
                  </a:lnTo>
                  <a:lnTo>
                    <a:pt x="21" y="32"/>
                  </a:lnTo>
                  <a:lnTo>
                    <a:pt x="20" y="31"/>
                  </a:lnTo>
                  <a:lnTo>
                    <a:pt x="19" y="29"/>
                  </a:lnTo>
                  <a:lnTo>
                    <a:pt x="15" y="28"/>
                  </a:lnTo>
                  <a:lnTo>
                    <a:pt x="14" y="28"/>
                  </a:lnTo>
                  <a:lnTo>
                    <a:pt x="13" y="32"/>
                  </a:lnTo>
                  <a:lnTo>
                    <a:pt x="15" y="36"/>
                  </a:lnTo>
                  <a:lnTo>
                    <a:pt x="18" y="39"/>
                  </a:lnTo>
                  <a:lnTo>
                    <a:pt x="26" y="48"/>
                  </a:lnTo>
                  <a:lnTo>
                    <a:pt x="32" y="58"/>
                  </a:lnTo>
                  <a:lnTo>
                    <a:pt x="36" y="68"/>
                  </a:lnTo>
                  <a:lnTo>
                    <a:pt x="42" y="76"/>
                  </a:lnTo>
                  <a:lnTo>
                    <a:pt x="50" y="82"/>
                  </a:lnTo>
                  <a:lnTo>
                    <a:pt x="58" y="88"/>
                  </a:lnTo>
                  <a:lnTo>
                    <a:pt x="67" y="95"/>
                  </a:lnTo>
                  <a:lnTo>
                    <a:pt x="75" y="101"/>
                  </a:lnTo>
                  <a:lnTo>
                    <a:pt x="80" y="109"/>
                  </a:lnTo>
                  <a:lnTo>
                    <a:pt x="84" y="118"/>
                  </a:lnTo>
                  <a:lnTo>
                    <a:pt x="88" y="123"/>
                  </a:lnTo>
                  <a:lnTo>
                    <a:pt x="91" y="127"/>
                  </a:lnTo>
                  <a:lnTo>
                    <a:pt x="100" y="136"/>
                  </a:lnTo>
                  <a:lnTo>
                    <a:pt x="112" y="152"/>
                  </a:lnTo>
                  <a:lnTo>
                    <a:pt x="116" y="162"/>
                  </a:lnTo>
                  <a:lnTo>
                    <a:pt x="121" y="171"/>
                  </a:lnTo>
                  <a:lnTo>
                    <a:pt x="126" y="181"/>
                  </a:lnTo>
                  <a:lnTo>
                    <a:pt x="133" y="187"/>
                  </a:lnTo>
                  <a:lnTo>
                    <a:pt x="141" y="194"/>
                  </a:lnTo>
                  <a:lnTo>
                    <a:pt x="148" y="202"/>
                  </a:lnTo>
                  <a:lnTo>
                    <a:pt x="149" y="205"/>
                  </a:lnTo>
                  <a:lnTo>
                    <a:pt x="150" y="210"/>
                  </a:lnTo>
                  <a:lnTo>
                    <a:pt x="150" y="214"/>
                  </a:lnTo>
                  <a:lnTo>
                    <a:pt x="153" y="219"/>
                  </a:lnTo>
                  <a:lnTo>
                    <a:pt x="159" y="226"/>
                  </a:lnTo>
                  <a:lnTo>
                    <a:pt x="163" y="230"/>
                  </a:lnTo>
                  <a:lnTo>
                    <a:pt x="165" y="233"/>
                  </a:lnTo>
                  <a:lnTo>
                    <a:pt x="169" y="243"/>
                  </a:lnTo>
                  <a:lnTo>
                    <a:pt x="170" y="248"/>
                  </a:lnTo>
                  <a:lnTo>
                    <a:pt x="173" y="252"/>
                  </a:lnTo>
                  <a:lnTo>
                    <a:pt x="181" y="263"/>
                  </a:lnTo>
                  <a:lnTo>
                    <a:pt x="191" y="272"/>
                  </a:lnTo>
                  <a:lnTo>
                    <a:pt x="190" y="267"/>
                  </a:lnTo>
                  <a:lnTo>
                    <a:pt x="189" y="261"/>
                  </a:lnTo>
                  <a:lnTo>
                    <a:pt x="186" y="252"/>
                  </a:lnTo>
                  <a:lnTo>
                    <a:pt x="186" y="248"/>
                  </a:lnTo>
                  <a:lnTo>
                    <a:pt x="187" y="246"/>
                  </a:lnTo>
                  <a:lnTo>
                    <a:pt x="190" y="245"/>
                  </a:lnTo>
                  <a:lnTo>
                    <a:pt x="193" y="247"/>
                  </a:lnTo>
                  <a:lnTo>
                    <a:pt x="196" y="249"/>
                  </a:lnTo>
                  <a:lnTo>
                    <a:pt x="202" y="249"/>
                  </a:lnTo>
                  <a:lnTo>
                    <a:pt x="207" y="249"/>
                  </a:lnTo>
                  <a:lnTo>
                    <a:pt x="211" y="251"/>
                  </a:lnTo>
                  <a:lnTo>
                    <a:pt x="214" y="254"/>
                  </a:lnTo>
                  <a:lnTo>
                    <a:pt x="217" y="257"/>
                  </a:lnTo>
                  <a:lnTo>
                    <a:pt x="222" y="264"/>
                  </a:lnTo>
                  <a:lnTo>
                    <a:pt x="219" y="257"/>
                  </a:lnTo>
                  <a:lnTo>
                    <a:pt x="216" y="251"/>
                  </a:lnTo>
                  <a:lnTo>
                    <a:pt x="209" y="243"/>
                  </a:lnTo>
                  <a:lnTo>
                    <a:pt x="207" y="242"/>
                  </a:lnTo>
                  <a:lnTo>
                    <a:pt x="206" y="242"/>
                  </a:lnTo>
                  <a:lnTo>
                    <a:pt x="202" y="242"/>
                  </a:lnTo>
                  <a:lnTo>
                    <a:pt x="200" y="241"/>
                  </a:lnTo>
                  <a:lnTo>
                    <a:pt x="206" y="243"/>
                  </a:lnTo>
                  <a:lnTo>
                    <a:pt x="203" y="245"/>
                  </a:lnTo>
                  <a:lnTo>
                    <a:pt x="201" y="245"/>
                  </a:lnTo>
                  <a:lnTo>
                    <a:pt x="196" y="240"/>
                  </a:lnTo>
                  <a:lnTo>
                    <a:pt x="192" y="235"/>
                  </a:lnTo>
                  <a:lnTo>
                    <a:pt x="189" y="231"/>
                  </a:lnTo>
                  <a:lnTo>
                    <a:pt x="182" y="225"/>
                  </a:lnTo>
                  <a:lnTo>
                    <a:pt x="176" y="220"/>
                  </a:lnTo>
                  <a:lnTo>
                    <a:pt x="169" y="216"/>
                  </a:lnTo>
                  <a:lnTo>
                    <a:pt x="163" y="211"/>
                  </a:lnTo>
                  <a:lnTo>
                    <a:pt x="158" y="203"/>
                  </a:lnTo>
                  <a:lnTo>
                    <a:pt x="154" y="193"/>
                  </a:lnTo>
                  <a:lnTo>
                    <a:pt x="152" y="183"/>
                  </a:lnTo>
                  <a:lnTo>
                    <a:pt x="148" y="174"/>
                  </a:lnTo>
                  <a:lnTo>
                    <a:pt x="144" y="168"/>
                  </a:lnTo>
                  <a:lnTo>
                    <a:pt x="144" y="166"/>
                  </a:lnTo>
                  <a:lnTo>
                    <a:pt x="147" y="163"/>
                  </a:lnTo>
                  <a:lnTo>
                    <a:pt x="152" y="162"/>
                  </a:lnTo>
                  <a:lnTo>
                    <a:pt x="157" y="161"/>
                  </a:lnTo>
                  <a:lnTo>
                    <a:pt x="150" y="161"/>
                  </a:lnTo>
                  <a:lnTo>
                    <a:pt x="146" y="160"/>
                  </a:lnTo>
                  <a:lnTo>
                    <a:pt x="148" y="159"/>
                  </a:lnTo>
                  <a:lnTo>
                    <a:pt x="152" y="159"/>
                  </a:lnTo>
                  <a:lnTo>
                    <a:pt x="160" y="161"/>
                  </a:lnTo>
                  <a:lnTo>
                    <a:pt x="168" y="163"/>
                  </a:lnTo>
                  <a:lnTo>
                    <a:pt x="171" y="165"/>
                  </a:lnTo>
                  <a:lnTo>
                    <a:pt x="174" y="166"/>
                  </a:lnTo>
                  <a:lnTo>
                    <a:pt x="181" y="170"/>
                  </a:lnTo>
                  <a:lnTo>
                    <a:pt x="189" y="174"/>
                  </a:lnTo>
                  <a:lnTo>
                    <a:pt x="193" y="179"/>
                  </a:lnTo>
                  <a:lnTo>
                    <a:pt x="200" y="183"/>
                  </a:lnTo>
                  <a:lnTo>
                    <a:pt x="195" y="179"/>
                  </a:lnTo>
                  <a:lnTo>
                    <a:pt x="191" y="176"/>
                  </a:lnTo>
                  <a:lnTo>
                    <a:pt x="186" y="171"/>
                  </a:lnTo>
                  <a:lnTo>
                    <a:pt x="180" y="168"/>
                  </a:lnTo>
                  <a:lnTo>
                    <a:pt x="168" y="157"/>
                  </a:lnTo>
                  <a:lnTo>
                    <a:pt x="155" y="145"/>
                  </a:lnTo>
                  <a:lnTo>
                    <a:pt x="131" y="122"/>
                  </a:lnTo>
                  <a:lnTo>
                    <a:pt x="105" y="98"/>
                  </a:lnTo>
                  <a:lnTo>
                    <a:pt x="107" y="99"/>
                  </a:lnTo>
                  <a:lnTo>
                    <a:pt x="107" y="101"/>
                  </a:lnTo>
                  <a:lnTo>
                    <a:pt x="106" y="101"/>
                  </a:lnTo>
                  <a:lnTo>
                    <a:pt x="104" y="98"/>
                  </a:lnTo>
                  <a:lnTo>
                    <a:pt x="102" y="97"/>
                  </a:lnTo>
                  <a:lnTo>
                    <a:pt x="99" y="92"/>
                  </a:lnTo>
                  <a:lnTo>
                    <a:pt x="93" y="87"/>
                  </a:lnTo>
                  <a:lnTo>
                    <a:pt x="95" y="90"/>
                  </a:lnTo>
                  <a:lnTo>
                    <a:pt x="94" y="91"/>
                  </a:lnTo>
                  <a:lnTo>
                    <a:pt x="91" y="90"/>
                  </a:lnTo>
                  <a:lnTo>
                    <a:pt x="90" y="86"/>
                  </a:lnTo>
                  <a:lnTo>
                    <a:pt x="86" y="82"/>
                  </a:lnTo>
                  <a:lnTo>
                    <a:pt x="83" y="80"/>
                  </a:lnTo>
                  <a:lnTo>
                    <a:pt x="78" y="76"/>
                  </a:lnTo>
                  <a:lnTo>
                    <a:pt x="74" y="71"/>
                  </a:lnTo>
                  <a:lnTo>
                    <a:pt x="70" y="65"/>
                  </a:lnTo>
                  <a:lnTo>
                    <a:pt x="68" y="59"/>
                  </a:lnTo>
                  <a:lnTo>
                    <a:pt x="72" y="65"/>
                  </a:lnTo>
                  <a:lnTo>
                    <a:pt x="70" y="59"/>
                  </a:lnTo>
                  <a:lnTo>
                    <a:pt x="68" y="55"/>
                  </a:lnTo>
                  <a:lnTo>
                    <a:pt x="63" y="52"/>
                  </a:lnTo>
                  <a:lnTo>
                    <a:pt x="58" y="48"/>
                  </a:lnTo>
                  <a:lnTo>
                    <a:pt x="48" y="42"/>
                  </a:lnTo>
                  <a:lnTo>
                    <a:pt x="45" y="38"/>
                  </a:lnTo>
                  <a:lnTo>
                    <a:pt x="43" y="33"/>
                  </a:lnTo>
                  <a:lnTo>
                    <a:pt x="48" y="36"/>
                  </a:lnTo>
                  <a:lnTo>
                    <a:pt x="53" y="39"/>
                  </a:lnTo>
                  <a:lnTo>
                    <a:pt x="58" y="44"/>
                  </a:lnTo>
                  <a:lnTo>
                    <a:pt x="62" y="49"/>
                  </a:lnTo>
                  <a:lnTo>
                    <a:pt x="55" y="40"/>
                  </a:lnTo>
                  <a:lnTo>
                    <a:pt x="46" y="33"/>
                  </a:lnTo>
                  <a:lnTo>
                    <a:pt x="36" y="26"/>
                  </a:lnTo>
                  <a:lnTo>
                    <a:pt x="25" y="18"/>
                  </a:lnTo>
                  <a:lnTo>
                    <a:pt x="31" y="22"/>
                  </a:lnTo>
                  <a:lnTo>
                    <a:pt x="29" y="20"/>
                  </a:lnTo>
                  <a:lnTo>
                    <a:pt x="25" y="17"/>
                  </a:lnTo>
                  <a:lnTo>
                    <a:pt x="24" y="16"/>
                  </a:lnTo>
                  <a:lnTo>
                    <a:pt x="23" y="15"/>
                  </a:lnTo>
                  <a:lnTo>
                    <a:pt x="21" y="10"/>
                  </a:lnTo>
                  <a:lnTo>
                    <a:pt x="19" y="7"/>
                  </a:lnTo>
                  <a:lnTo>
                    <a:pt x="15" y="5"/>
                  </a:lnTo>
                  <a:lnTo>
                    <a:pt x="7" y="0"/>
                  </a:lnTo>
                  <a:lnTo>
                    <a:pt x="5" y="2"/>
                  </a:lnTo>
                  <a:lnTo>
                    <a:pt x="4" y="4"/>
                  </a:lnTo>
                  <a:lnTo>
                    <a:pt x="0" y="4"/>
                  </a:lnTo>
                  <a:lnTo>
                    <a:pt x="8" y="9"/>
                  </a:lnTo>
                  <a:lnTo>
                    <a:pt x="14" y="1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2" name="Freeform 908">
              <a:extLst>
                <a:ext uri="{FF2B5EF4-FFF2-40B4-BE49-F238E27FC236}">
                  <a16:creationId xmlns:a16="http://schemas.microsoft.com/office/drawing/2014/main" id="{0F02BD52-38A9-492E-873A-4DF3B7CFC7C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5012" y="2687980"/>
              <a:ext cx="105395" cy="141230"/>
            </a:xfrm>
            <a:custGeom>
              <a:avLst/>
              <a:gdLst>
                <a:gd name="T0" fmla="*/ 69 w 100"/>
                <a:gd name="T1" fmla="*/ 0 h 134"/>
                <a:gd name="T2" fmla="*/ 73 w 100"/>
                <a:gd name="T3" fmla="*/ 0 h 134"/>
                <a:gd name="T4" fmla="*/ 78 w 100"/>
                <a:gd name="T5" fmla="*/ 5 h 134"/>
                <a:gd name="T6" fmla="*/ 89 w 100"/>
                <a:gd name="T7" fmla="*/ 31 h 134"/>
                <a:gd name="T8" fmla="*/ 93 w 100"/>
                <a:gd name="T9" fmla="*/ 42 h 134"/>
                <a:gd name="T10" fmla="*/ 98 w 100"/>
                <a:gd name="T11" fmla="*/ 49 h 134"/>
                <a:gd name="T12" fmla="*/ 98 w 100"/>
                <a:gd name="T13" fmla="*/ 58 h 134"/>
                <a:gd name="T14" fmla="*/ 100 w 100"/>
                <a:gd name="T15" fmla="*/ 65 h 134"/>
                <a:gd name="T16" fmla="*/ 96 w 100"/>
                <a:gd name="T17" fmla="*/ 65 h 134"/>
                <a:gd name="T18" fmla="*/ 93 w 100"/>
                <a:gd name="T19" fmla="*/ 60 h 134"/>
                <a:gd name="T20" fmla="*/ 88 w 100"/>
                <a:gd name="T21" fmla="*/ 60 h 134"/>
                <a:gd name="T22" fmla="*/ 87 w 100"/>
                <a:gd name="T23" fmla="*/ 67 h 134"/>
                <a:gd name="T24" fmla="*/ 90 w 100"/>
                <a:gd name="T25" fmla="*/ 69 h 134"/>
                <a:gd name="T26" fmla="*/ 98 w 100"/>
                <a:gd name="T27" fmla="*/ 70 h 134"/>
                <a:gd name="T28" fmla="*/ 99 w 100"/>
                <a:gd name="T29" fmla="*/ 76 h 134"/>
                <a:gd name="T30" fmla="*/ 91 w 100"/>
                <a:gd name="T31" fmla="*/ 79 h 134"/>
                <a:gd name="T32" fmla="*/ 89 w 100"/>
                <a:gd name="T33" fmla="*/ 87 h 134"/>
                <a:gd name="T34" fmla="*/ 82 w 100"/>
                <a:gd name="T35" fmla="*/ 95 h 134"/>
                <a:gd name="T36" fmla="*/ 71 w 100"/>
                <a:gd name="T37" fmla="*/ 100 h 134"/>
                <a:gd name="T38" fmla="*/ 67 w 100"/>
                <a:gd name="T39" fmla="*/ 106 h 134"/>
                <a:gd name="T40" fmla="*/ 63 w 100"/>
                <a:gd name="T41" fmla="*/ 107 h 134"/>
                <a:gd name="T42" fmla="*/ 56 w 100"/>
                <a:gd name="T43" fmla="*/ 106 h 134"/>
                <a:gd name="T44" fmla="*/ 55 w 100"/>
                <a:gd name="T45" fmla="*/ 111 h 134"/>
                <a:gd name="T46" fmla="*/ 57 w 100"/>
                <a:gd name="T47" fmla="*/ 117 h 134"/>
                <a:gd name="T48" fmla="*/ 55 w 100"/>
                <a:gd name="T49" fmla="*/ 124 h 134"/>
                <a:gd name="T50" fmla="*/ 42 w 100"/>
                <a:gd name="T51" fmla="*/ 130 h 134"/>
                <a:gd name="T52" fmla="*/ 28 w 100"/>
                <a:gd name="T53" fmla="*/ 134 h 134"/>
                <a:gd name="T54" fmla="*/ 9 w 100"/>
                <a:gd name="T55" fmla="*/ 132 h 134"/>
                <a:gd name="T56" fmla="*/ 8 w 100"/>
                <a:gd name="T57" fmla="*/ 126 h 134"/>
                <a:gd name="T58" fmla="*/ 21 w 100"/>
                <a:gd name="T59" fmla="*/ 123 h 134"/>
                <a:gd name="T60" fmla="*/ 31 w 100"/>
                <a:gd name="T61" fmla="*/ 121 h 134"/>
                <a:gd name="T62" fmla="*/ 39 w 100"/>
                <a:gd name="T63" fmla="*/ 113 h 134"/>
                <a:gd name="T64" fmla="*/ 44 w 100"/>
                <a:gd name="T65" fmla="*/ 103 h 134"/>
                <a:gd name="T66" fmla="*/ 51 w 100"/>
                <a:gd name="T67" fmla="*/ 97 h 134"/>
                <a:gd name="T68" fmla="*/ 53 w 100"/>
                <a:gd name="T69" fmla="*/ 91 h 134"/>
                <a:gd name="T70" fmla="*/ 55 w 100"/>
                <a:gd name="T71" fmla="*/ 87 h 134"/>
                <a:gd name="T72" fmla="*/ 52 w 100"/>
                <a:gd name="T73" fmla="*/ 85 h 134"/>
                <a:gd name="T74" fmla="*/ 56 w 100"/>
                <a:gd name="T75" fmla="*/ 79 h 134"/>
                <a:gd name="T76" fmla="*/ 59 w 100"/>
                <a:gd name="T77" fmla="*/ 74 h 134"/>
                <a:gd name="T78" fmla="*/ 64 w 100"/>
                <a:gd name="T79" fmla="*/ 65 h 134"/>
                <a:gd name="T80" fmla="*/ 69 w 100"/>
                <a:gd name="T81" fmla="*/ 57 h 134"/>
                <a:gd name="T82" fmla="*/ 68 w 100"/>
                <a:gd name="T83" fmla="*/ 46 h 134"/>
                <a:gd name="T84" fmla="*/ 69 w 100"/>
                <a:gd name="T85" fmla="*/ 33 h 134"/>
                <a:gd name="T86" fmla="*/ 69 w 100"/>
                <a:gd name="T87" fmla="*/ 20 h 134"/>
                <a:gd name="T88" fmla="*/ 63 w 100"/>
                <a:gd name="T89" fmla="*/ 10 h 134"/>
                <a:gd name="T90" fmla="*/ 63 w 100"/>
                <a:gd name="T91" fmla="*/ 4 h 134"/>
                <a:gd name="T92" fmla="*/ 68 w 100"/>
                <a:gd name="T93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0" h="134">
                  <a:moveTo>
                    <a:pt x="68" y="0"/>
                  </a:moveTo>
                  <a:lnTo>
                    <a:pt x="69" y="0"/>
                  </a:lnTo>
                  <a:lnTo>
                    <a:pt x="72" y="0"/>
                  </a:lnTo>
                  <a:lnTo>
                    <a:pt x="73" y="0"/>
                  </a:lnTo>
                  <a:lnTo>
                    <a:pt x="75" y="1"/>
                  </a:lnTo>
                  <a:lnTo>
                    <a:pt x="78" y="5"/>
                  </a:lnTo>
                  <a:lnTo>
                    <a:pt x="79" y="10"/>
                  </a:lnTo>
                  <a:lnTo>
                    <a:pt x="89" y="31"/>
                  </a:lnTo>
                  <a:lnTo>
                    <a:pt x="90" y="37"/>
                  </a:lnTo>
                  <a:lnTo>
                    <a:pt x="93" y="42"/>
                  </a:lnTo>
                  <a:lnTo>
                    <a:pt x="95" y="46"/>
                  </a:lnTo>
                  <a:lnTo>
                    <a:pt x="98" y="49"/>
                  </a:lnTo>
                  <a:lnTo>
                    <a:pt x="99" y="53"/>
                  </a:lnTo>
                  <a:lnTo>
                    <a:pt x="98" y="58"/>
                  </a:lnTo>
                  <a:lnTo>
                    <a:pt x="98" y="62"/>
                  </a:lnTo>
                  <a:lnTo>
                    <a:pt x="100" y="65"/>
                  </a:lnTo>
                  <a:lnTo>
                    <a:pt x="98" y="67"/>
                  </a:lnTo>
                  <a:lnTo>
                    <a:pt x="96" y="65"/>
                  </a:lnTo>
                  <a:lnTo>
                    <a:pt x="95" y="64"/>
                  </a:lnTo>
                  <a:lnTo>
                    <a:pt x="93" y="60"/>
                  </a:lnTo>
                  <a:lnTo>
                    <a:pt x="90" y="59"/>
                  </a:lnTo>
                  <a:lnTo>
                    <a:pt x="88" y="60"/>
                  </a:lnTo>
                  <a:lnTo>
                    <a:pt x="88" y="63"/>
                  </a:lnTo>
                  <a:lnTo>
                    <a:pt x="87" y="67"/>
                  </a:lnTo>
                  <a:lnTo>
                    <a:pt x="87" y="69"/>
                  </a:lnTo>
                  <a:lnTo>
                    <a:pt x="90" y="69"/>
                  </a:lnTo>
                  <a:lnTo>
                    <a:pt x="95" y="69"/>
                  </a:lnTo>
                  <a:lnTo>
                    <a:pt x="98" y="70"/>
                  </a:lnTo>
                  <a:lnTo>
                    <a:pt x="100" y="73"/>
                  </a:lnTo>
                  <a:lnTo>
                    <a:pt x="99" y="76"/>
                  </a:lnTo>
                  <a:lnTo>
                    <a:pt x="95" y="78"/>
                  </a:lnTo>
                  <a:lnTo>
                    <a:pt x="91" y="79"/>
                  </a:lnTo>
                  <a:lnTo>
                    <a:pt x="90" y="82"/>
                  </a:lnTo>
                  <a:lnTo>
                    <a:pt x="89" y="87"/>
                  </a:lnTo>
                  <a:lnTo>
                    <a:pt x="88" y="91"/>
                  </a:lnTo>
                  <a:lnTo>
                    <a:pt x="82" y="95"/>
                  </a:lnTo>
                  <a:lnTo>
                    <a:pt x="73" y="97"/>
                  </a:lnTo>
                  <a:lnTo>
                    <a:pt x="71" y="100"/>
                  </a:lnTo>
                  <a:lnTo>
                    <a:pt x="67" y="102"/>
                  </a:lnTo>
                  <a:lnTo>
                    <a:pt x="67" y="106"/>
                  </a:lnTo>
                  <a:lnTo>
                    <a:pt x="66" y="107"/>
                  </a:lnTo>
                  <a:lnTo>
                    <a:pt x="63" y="107"/>
                  </a:lnTo>
                  <a:lnTo>
                    <a:pt x="59" y="106"/>
                  </a:lnTo>
                  <a:lnTo>
                    <a:pt x="56" y="106"/>
                  </a:lnTo>
                  <a:lnTo>
                    <a:pt x="55" y="108"/>
                  </a:lnTo>
                  <a:lnTo>
                    <a:pt x="55" y="111"/>
                  </a:lnTo>
                  <a:lnTo>
                    <a:pt x="56" y="114"/>
                  </a:lnTo>
                  <a:lnTo>
                    <a:pt x="57" y="117"/>
                  </a:lnTo>
                  <a:lnTo>
                    <a:pt x="57" y="121"/>
                  </a:lnTo>
                  <a:lnTo>
                    <a:pt x="55" y="124"/>
                  </a:lnTo>
                  <a:lnTo>
                    <a:pt x="50" y="128"/>
                  </a:lnTo>
                  <a:lnTo>
                    <a:pt x="42" y="130"/>
                  </a:lnTo>
                  <a:lnTo>
                    <a:pt x="35" y="132"/>
                  </a:lnTo>
                  <a:lnTo>
                    <a:pt x="28" y="134"/>
                  </a:lnTo>
                  <a:lnTo>
                    <a:pt x="18" y="134"/>
                  </a:lnTo>
                  <a:lnTo>
                    <a:pt x="9" y="132"/>
                  </a:lnTo>
                  <a:lnTo>
                    <a:pt x="0" y="128"/>
                  </a:lnTo>
                  <a:lnTo>
                    <a:pt x="8" y="126"/>
                  </a:lnTo>
                  <a:lnTo>
                    <a:pt x="15" y="124"/>
                  </a:lnTo>
                  <a:lnTo>
                    <a:pt x="21" y="123"/>
                  </a:lnTo>
                  <a:lnTo>
                    <a:pt x="26" y="122"/>
                  </a:lnTo>
                  <a:lnTo>
                    <a:pt x="31" y="121"/>
                  </a:lnTo>
                  <a:lnTo>
                    <a:pt x="36" y="118"/>
                  </a:lnTo>
                  <a:lnTo>
                    <a:pt x="39" y="113"/>
                  </a:lnTo>
                  <a:lnTo>
                    <a:pt x="41" y="108"/>
                  </a:lnTo>
                  <a:lnTo>
                    <a:pt x="44" y="103"/>
                  </a:lnTo>
                  <a:lnTo>
                    <a:pt x="47" y="100"/>
                  </a:lnTo>
                  <a:lnTo>
                    <a:pt x="51" y="97"/>
                  </a:lnTo>
                  <a:lnTo>
                    <a:pt x="53" y="94"/>
                  </a:lnTo>
                  <a:lnTo>
                    <a:pt x="53" y="91"/>
                  </a:lnTo>
                  <a:lnTo>
                    <a:pt x="55" y="90"/>
                  </a:lnTo>
                  <a:lnTo>
                    <a:pt x="55" y="87"/>
                  </a:lnTo>
                  <a:lnTo>
                    <a:pt x="53" y="86"/>
                  </a:lnTo>
                  <a:lnTo>
                    <a:pt x="52" y="85"/>
                  </a:lnTo>
                  <a:lnTo>
                    <a:pt x="53" y="81"/>
                  </a:lnTo>
                  <a:lnTo>
                    <a:pt x="56" y="79"/>
                  </a:lnTo>
                  <a:lnTo>
                    <a:pt x="57" y="78"/>
                  </a:lnTo>
                  <a:lnTo>
                    <a:pt x="59" y="74"/>
                  </a:lnTo>
                  <a:lnTo>
                    <a:pt x="62" y="70"/>
                  </a:lnTo>
                  <a:lnTo>
                    <a:pt x="64" y="65"/>
                  </a:lnTo>
                  <a:lnTo>
                    <a:pt x="67" y="62"/>
                  </a:lnTo>
                  <a:lnTo>
                    <a:pt x="69" y="57"/>
                  </a:lnTo>
                  <a:lnTo>
                    <a:pt x="69" y="51"/>
                  </a:lnTo>
                  <a:lnTo>
                    <a:pt x="68" y="46"/>
                  </a:lnTo>
                  <a:lnTo>
                    <a:pt x="68" y="39"/>
                  </a:lnTo>
                  <a:lnTo>
                    <a:pt x="69" y="33"/>
                  </a:lnTo>
                  <a:lnTo>
                    <a:pt x="69" y="27"/>
                  </a:lnTo>
                  <a:lnTo>
                    <a:pt x="69" y="20"/>
                  </a:lnTo>
                  <a:lnTo>
                    <a:pt x="67" y="14"/>
                  </a:lnTo>
                  <a:lnTo>
                    <a:pt x="63" y="10"/>
                  </a:lnTo>
                  <a:lnTo>
                    <a:pt x="63" y="7"/>
                  </a:lnTo>
                  <a:lnTo>
                    <a:pt x="63" y="4"/>
                  </a:lnTo>
                  <a:lnTo>
                    <a:pt x="66" y="1"/>
                  </a:lnTo>
                  <a:lnTo>
                    <a:pt x="68" y="0"/>
                  </a:lnTo>
                  <a:lnTo>
                    <a:pt x="68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3" name="Freeform 990">
              <a:extLst>
                <a:ext uri="{FF2B5EF4-FFF2-40B4-BE49-F238E27FC236}">
                  <a16:creationId xmlns:a16="http://schemas.microsoft.com/office/drawing/2014/main" id="{B1D7EAE5-7342-44CD-AF0A-821304259810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8271" y="3113775"/>
              <a:ext cx="4216" cy="4216"/>
            </a:xfrm>
            <a:custGeom>
              <a:avLst/>
              <a:gdLst>
                <a:gd name="T0" fmla="*/ 4 w 4"/>
                <a:gd name="T1" fmla="*/ 1 h 2"/>
                <a:gd name="T2" fmla="*/ 0 w 4"/>
                <a:gd name="T3" fmla="*/ 0 h 2"/>
                <a:gd name="T4" fmla="*/ 1 w 4"/>
                <a:gd name="T5" fmla="*/ 2 h 2"/>
                <a:gd name="T6" fmla="*/ 4 w 4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1"/>
                  </a:moveTo>
                  <a:lnTo>
                    <a:pt x="0" y="0"/>
                  </a:lnTo>
                  <a:lnTo>
                    <a:pt x="1" y="2"/>
                  </a:lnTo>
                  <a:lnTo>
                    <a:pt x="4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4" name="Freeform 1007">
              <a:extLst>
                <a:ext uri="{FF2B5EF4-FFF2-40B4-BE49-F238E27FC236}">
                  <a16:creationId xmlns:a16="http://schemas.microsoft.com/office/drawing/2014/main" id="{C4D44976-0B47-4E07-A6DB-4D14EBB159B7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9896" y="3377263"/>
              <a:ext cx="847375" cy="950663"/>
            </a:xfrm>
            <a:custGeom>
              <a:avLst/>
              <a:gdLst>
                <a:gd name="T0" fmla="*/ 52 w 804"/>
                <a:gd name="T1" fmla="*/ 370 h 902"/>
                <a:gd name="T2" fmla="*/ 68 w 804"/>
                <a:gd name="T3" fmla="*/ 337 h 902"/>
                <a:gd name="T4" fmla="*/ 25 w 804"/>
                <a:gd name="T5" fmla="*/ 278 h 902"/>
                <a:gd name="T6" fmla="*/ 87 w 804"/>
                <a:gd name="T7" fmla="*/ 245 h 902"/>
                <a:gd name="T8" fmla="*/ 132 w 804"/>
                <a:gd name="T9" fmla="*/ 170 h 902"/>
                <a:gd name="T10" fmla="*/ 143 w 804"/>
                <a:gd name="T11" fmla="*/ 117 h 902"/>
                <a:gd name="T12" fmla="*/ 125 w 804"/>
                <a:gd name="T13" fmla="*/ 81 h 902"/>
                <a:gd name="T14" fmla="*/ 108 w 804"/>
                <a:gd name="T15" fmla="*/ 46 h 902"/>
                <a:gd name="T16" fmla="*/ 180 w 804"/>
                <a:gd name="T17" fmla="*/ 24 h 902"/>
                <a:gd name="T18" fmla="*/ 220 w 804"/>
                <a:gd name="T19" fmla="*/ 22 h 902"/>
                <a:gd name="T20" fmla="*/ 267 w 804"/>
                <a:gd name="T21" fmla="*/ 76 h 902"/>
                <a:gd name="T22" fmla="*/ 250 w 804"/>
                <a:gd name="T23" fmla="*/ 108 h 902"/>
                <a:gd name="T24" fmla="*/ 287 w 804"/>
                <a:gd name="T25" fmla="*/ 149 h 902"/>
                <a:gd name="T26" fmla="*/ 322 w 804"/>
                <a:gd name="T27" fmla="*/ 188 h 902"/>
                <a:gd name="T28" fmla="*/ 336 w 804"/>
                <a:gd name="T29" fmla="*/ 228 h 902"/>
                <a:gd name="T30" fmla="*/ 398 w 804"/>
                <a:gd name="T31" fmla="*/ 262 h 902"/>
                <a:gd name="T32" fmla="*/ 455 w 804"/>
                <a:gd name="T33" fmla="*/ 277 h 902"/>
                <a:gd name="T34" fmla="*/ 517 w 804"/>
                <a:gd name="T35" fmla="*/ 296 h 902"/>
                <a:gd name="T36" fmla="*/ 546 w 804"/>
                <a:gd name="T37" fmla="*/ 276 h 902"/>
                <a:gd name="T38" fmla="*/ 568 w 804"/>
                <a:gd name="T39" fmla="*/ 272 h 902"/>
                <a:gd name="T40" fmla="*/ 639 w 804"/>
                <a:gd name="T41" fmla="*/ 287 h 902"/>
                <a:gd name="T42" fmla="*/ 647 w 804"/>
                <a:gd name="T43" fmla="*/ 262 h 902"/>
                <a:gd name="T44" fmla="*/ 701 w 804"/>
                <a:gd name="T45" fmla="*/ 220 h 902"/>
                <a:gd name="T46" fmla="*/ 760 w 804"/>
                <a:gd name="T47" fmla="*/ 199 h 902"/>
                <a:gd name="T48" fmla="*/ 774 w 804"/>
                <a:gd name="T49" fmla="*/ 229 h 902"/>
                <a:gd name="T50" fmla="*/ 798 w 804"/>
                <a:gd name="T51" fmla="*/ 253 h 902"/>
                <a:gd name="T52" fmla="*/ 764 w 804"/>
                <a:gd name="T53" fmla="*/ 284 h 902"/>
                <a:gd name="T54" fmla="*/ 744 w 804"/>
                <a:gd name="T55" fmla="*/ 332 h 902"/>
                <a:gd name="T56" fmla="*/ 718 w 804"/>
                <a:gd name="T57" fmla="*/ 403 h 902"/>
                <a:gd name="T58" fmla="*/ 703 w 804"/>
                <a:gd name="T59" fmla="*/ 443 h 902"/>
                <a:gd name="T60" fmla="*/ 662 w 804"/>
                <a:gd name="T61" fmla="*/ 403 h 902"/>
                <a:gd name="T62" fmla="*/ 680 w 804"/>
                <a:gd name="T63" fmla="*/ 355 h 902"/>
                <a:gd name="T64" fmla="*/ 608 w 804"/>
                <a:gd name="T65" fmla="*/ 323 h 902"/>
                <a:gd name="T66" fmla="*/ 564 w 804"/>
                <a:gd name="T67" fmla="*/ 295 h 902"/>
                <a:gd name="T68" fmla="*/ 584 w 804"/>
                <a:gd name="T69" fmla="*/ 337 h 902"/>
                <a:gd name="T70" fmla="*/ 576 w 804"/>
                <a:gd name="T71" fmla="*/ 365 h 902"/>
                <a:gd name="T72" fmla="*/ 593 w 804"/>
                <a:gd name="T73" fmla="*/ 405 h 902"/>
                <a:gd name="T74" fmla="*/ 596 w 804"/>
                <a:gd name="T75" fmla="*/ 451 h 902"/>
                <a:gd name="T76" fmla="*/ 588 w 804"/>
                <a:gd name="T77" fmla="*/ 460 h 902"/>
                <a:gd name="T78" fmla="*/ 577 w 804"/>
                <a:gd name="T79" fmla="*/ 453 h 902"/>
                <a:gd name="T80" fmla="*/ 541 w 804"/>
                <a:gd name="T81" fmla="*/ 473 h 902"/>
                <a:gd name="T82" fmla="*/ 507 w 804"/>
                <a:gd name="T83" fmla="*/ 520 h 902"/>
                <a:gd name="T84" fmla="*/ 482 w 804"/>
                <a:gd name="T85" fmla="*/ 553 h 902"/>
                <a:gd name="T86" fmla="*/ 427 w 804"/>
                <a:gd name="T87" fmla="*/ 615 h 902"/>
                <a:gd name="T88" fmla="*/ 381 w 804"/>
                <a:gd name="T89" fmla="*/ 647 h 902"/>
                <a:gd name="T90" fmla="*/ 371 w 804"/>
                <a:gd name="T91" fmla="*/ 722 h 902"/>
                <a:gd name="T92" fmla="*/ 371 w 804"/>
                <a:gd name="T93" fmla="*/ 819 h 902"/>
                <a:gd name="T94" fmla="*/ 347 w 804"/>
                <a:gd name="T95" fmla="*/ 859 h 902"/>
                <a:gd name="T96" fmla="*/ 311 w 804"/>
                <a:gd name="T97" fmla="*/ 901 h 902"/>
                <a:gd name="T98" fmla="*/ 268 w 804"/>
                <a:gd name="T99" fmla="*/ 841 h 902"/>
                <a:gd name="T100" fmla="*/ 262 w 804"/>
                <a:gd name="T101" fmla="*/ 828 h 902"/>
                <a:gd name="T102" fmla="*/ 209 w 804"/>
                <a:gd name="T103" fmla="*/ 700 h 902"/>
                <a:gd name="T104" fmla="*/ 186 w 804"/>
                <a:gd name="T105" fmla="*/ 659 h 902"/>
                <a:gd name="T106" fmla="*/ 153 w 804"/>
                <a:gd name="T107" fmla="*/ 563 h 902"/>
                <a:gd name="T108" fmla="*/ 151 w 804"/>
                <a:gd name="T109" fmla="*/ 534 h 902"/>
                <a:gd name="T110" fmla="*/ 139 w 804"/>
                <a:gd name="T111" fmla="*/ 473 h 902"/>
                <a:gd name="T112" fmla="*/ 132 w 804"/>
                <a:gd name="T113" fmla="*/ 448 h 902"/>
                <a:gd name="T114" fmla="*/ 122 w 804"/>
                <a:gd name="T115" fmla="*/ 437 h 902"/>
                <a:gd name="T116" fmla="*/ 87 w 804"/>
                <a:gd name="T117" fmla="*/ 487 h 902"/>
                <a:gd name="T118" fmla="*/ 41 w 804"/>
                <a:gd name="T119" fmla="*/ 433 h 902"/>
                <a:gd name="T120" fmla="*/ 47 w 804"/>
                <a:gd name="T121" fmla="*/ 419 h 902"/>
                <a:gd name="T122" fmla="*/ 2 w 804"/>
                <a:gd name="T123" fmla="*/ 392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04" h="902">
                  <a:moveTo>
                    <a:pt x="0" y="386"/>
                  </a:moveTo>
                  <a:lnTo>
                    <a:pt x="1" y="382"/>
                  </a:lnTo>
                  <a:lnTo>
                    <a:pt x="4" y="380"/>
                  </a:lnTo>
                  <a:lnTo>
                    <a:pt x="12" y="379"/>
                  </a:lnTo>
                  <a:lnTo>
                    <a:pt x="15" y="378"/>
                  </a:lnTo>
                  <a:lnTo>
                    <a:pt x="15" y="375"/>
                  </a:lnTo>
                  <a:lnTo>
                    <a:pt x="15" y="370"/>
                  </a:lnTo>
                  <a:lnTo>
                    <a:pt x="15" y="368"/>
                  </a:lnTo>
                  <a:lnTo>
                    <a:pt x="17" y="369"/>
                  </a:lnTo>
                  <a:lnTo>
                    <a:pt x="22" y="369"/>
                  </a:lnTo>
                  <a:lnTo>
                    <a:pt x="27" y="369"/>
                  </a:lnTo>
                  <a:lnTo>
                    <a:pt x="30" y="369"/>
                  </a:lnTo>
                  <a:lnTo>
                    <a:pt x="36" y="370"/>
                  </a:lnTo>
                  <a:lnTo>
                    <a:pt x="41" y="371"/>
                  </a:lnTo>
                  <a:lnTo>
                    <a:pt x="46" y="373"/>
                  </a:lnTo>
                  <a:lnTo>
                    <a:pt x="52" y="371"/>
                  </a:lnTo>
                  <a:lnTo>
                    <a:pt x="52" y="371"/>
                  </a:lnTo>
                  <a:lnTo>
                    <a:pt x="52" y="370"/>
                  </a:lnTo>
                  <a:lnTo>
                    <a:pt x="53" y="368"/>
                  </a:lnTo>
                  <a:lnTo>
                    <a:pt x="54" y="368"/>
                  </a:lnTo>
                  <a:lnTo>
                    <a:pt x="57" y="366"/>
                  </a:lnTo>
                  <a:lnTo>
                    <a:pt x="59" y="365"/>
                  </a:lnTo>
                  <a:lnTo>
                    <a:pt x="62" y="364"/>
                  </a:lnTo>
                  <a:lnTo>
                    <a:pt x="65" y="365"/>
                  </a:lnTo>
                  <a:lnTo>
                    <a:pt x="69" y="369"/>
                  </a:lnTo>
                  <a:lnTo>
                    <a:pt x="73" y="370"/>
                  </a:lnTo>
                  <a:lnTo>
                    <a:pt x="76" y="368"/>
                  </a:lnTo>
                  <a:lnTo>
                    <a:pt x="81" y="364"/>
                  </a:lnTo>
                  <a:lnTo>
                    <a:pt x="78" y="363"/>
                  </a:lnTo>
                  <a:lnTo>
                    <a:pt x="76" y="360"/>
                  </a:lnTo>
                  <a:lnTo>
                    <a:pt x="76" y="358"/>
                  </a:lnTo>
                  <a:lnTo>
                    <a:pt x="78" y="357"/>
                  </a:lnTo>
                  <a:lnTo>
                    <a:pt x="79" y="355"/>
                  </a:lnTo>
                  <a:lnTo>
                    <a:pt x="75" y="348"/>
                  </a:lnTo>
                  <a:lnTo>
                    <a:pt x="71" y="342"/>
                  </a:lnTo>
                  <a:lnTo>
                    <a:pt x="68" y="337"/>
                  </a:lnTo>
                  <a:lnTo>
                    <a:pt x="65" y="332"/>
                  </a:lnTo>
                  <a:lnTo>
                    <a:pt x="65" y="328"/>
                  </a:lnTo>
                  <a:lnTo>
                    <a:pt x="64" y="325"/>
                  </a:lnTo>
                  <a:lnTo>
                    <a:pt x="63" y="322"/>
                  </a:lnTo>
                  <a:lnTo>
                    <a:pt x="59" y="322"/>
                  </a:lnTo>
                  <a:lnTo>
                    <a:pt x="53" y="322"/>
                  </a:lnTo>
                  <a:lnTo>
                    <a:pt x="49" y="320"/>
                  </a:lnTo>
                  <a:lnTo>
                    <a:pt x="47" y="316"/>
                  </a:lnTo>
                  <a:lnTo>
                    <a:pt x="47" y="311"/>
                  </a:lnTo>
                  <a:lnTo>
                    <a:pt x="47" y="307"/>
                  </a:lnTo>
                  <a:lnTo>
                    <a:pt x="48" y="303"/>
                  </a:lnTo>
                  <a:lnTo>
                    <a:pt x="47" y="298"/>
                  </a:lnTo>
                  <a:lnTo>
                    <a:pt x="46" y="295"/>
                  </a:lnTo>
                  <a:lnTo>
                    <a:pt x="39" y="293"/>
                  </a:lnTo>
                  <a:lnTo>
                    <a:pt x="34" y="292"/>
                  </a:lnTo>
                  <a:lnTo>
                    <a:pt x="28" y="289"/>
                  </a:lnTo>
                  <a:lnTo>
                    <a:pt x="26" y="284"/>
                  </a:lnTo>
                  <a:lnTo>
                    <a:pt x="25" y="278"/>
                  </a:lnTo>
                  <a:lnTo>
                    <a:pt x="27" y="273"/>
                  </a:lnTo>
                  <a:lnTo>
                    <a:pt x="30" y="268"/>
                  </a:lnTo>
                  <a:lnTo>
                    <a:pt x="33" y="263"/>
                  </a:lnTo>
                  <a:lnTo>
                    <a:pt x="36" y="258"/>
                  </a:lnTo>
                  <a:lnTo>
                    <a:pt x="39" y="253"/>
                  </a:lnTo>
                  <a:lnTo>
                    <a:pt x="43" y="247"/>
                  </a:lnTo>
                  <a:lnTo>
                    <a:pt x="46" y="246"/>
                  </a:lnTo>
                  <a:lnTo>
                    <a:pt x="49" y="245"/>
                  </a:lnTo>
                  <a:lnTo>
                    <a:pt x="52" y="247"/>
                  </a:lnTo>
                  <a:lnTo>
                    <a:pt x="54" y="251"/>
                  </a:lnTo>
                  <a:lnTo>
                    <a:pt x="57" y="253"/>
                  </a:lnTo>
                  <a:lnTo>
                    <a:pt x="59" y="256"/>
                  </a:lnTo>
                  <a:lnTo>
                    <a:pt x="64" y="255"/>
                  </a:lnTo>
                  <a:lnTo>
                    <a:pt x="69" y="252"/>
                  </a:lnTo>
                  <a:lnTo>
                    <a:pt x="74" y="251"/>
                  </a:lnTo>
                  <a:lnTo>
                    <a:pt x="80" y="250"/>
                  </a:lnTo>
                  <a:lnTo>
                    <a:pt x="85" y="248"/>
                  </a:lnTo>
                  <a:lnTo>
                    <a:pt x="87" y="245"/>
                  </a:lnTo>
                  <a:lnTo>
                    <a:pt x="90" y="241"/>
                  </a:lnTo>
                  <a:lnTo>
                    <a:pt x="92" y="236"/>
                  </a:lnTo>
                  <a:lnTo>
                    <a:pt x="96" y="231"/>
                  </a:lnTo>
                  <a:lnTo>
                    <a:pt x="97" y="226"/>
                  </a:lnTo>
                  <a:lnTo>
                    <a:pt x="100" y="221"/>
                  </a:lnTo>
                  <a:lnTo>
                    <a:pt x="103" y="217"/>
                  </a:lnTo>
                  <a:lnTo>
                    <a:pt x="109" y="213"/>
                  </a:lnTo>
                  <a:lnTo>
                    <a:pt x="113" y="209"/>
                  </a:lnTo>
                  <a:lnTo>
                    <a:pt x="118" y="198"/>
                  </a:lnTo>
                  <a:lnTo>
                    <a:pt x="118" y="192"/>
                  </a:lnTo>
                  <a:lnTo>
                    <a:pt x="119" y="187"/>
                  </a:lnTo>
                  <a:lnTo>
                    <a:pt x="122" y="182"/>
                  </a:lnTo>
                  <a:lnTo>
                    <a:pt x="125" y="180"/>
                  </a:lnTo>
                  <a:lnTo>
                    <a:pt x="130" y="178"/>
                  </a:lnTo>
                  <a:lnTo>
                    <a:pt x="134" y="175"/>
                  </a:lnTo>
                  <a:lnTo>
                    <a:pt x="134" y="172"/>
                  </a:lnTo>
                  <a:lnTo>
                    <a:pt x="133" y="171"/>
                  </a:lnTo>
                  <a:lnTo>
                    <a:pt x="132" y="170"/>
                  </a:lnTo>
                  <a:lnTo>
                    <a:pt x="130" y="169"/>
                  </a:lnTo>
                  <a:lnTo>
                    <a:pt x="132" y="165"/>
                  </a:lnTo>
                  <a:lnTo>
                    <a:pt x="134" y="161"/>
                  </a:lnTo>
                  <a:lnTo>
                    <a:pt x="137" y="158"/>
                  </a:lnTo>
                  <a:lnTo>
                    <a:pt x="138" y="155"/>
                  </a:lnTo>
                  <a:lnTo>
                    <a:pt x="141" y="153"/>
                  </a:lnTo>
                  <a:lnTo>
                    <a:pt x="144" y="150"/>
                  </a:lnTo>
                  <a:lnTo>
                    <a:pt x="148" y="148"/>
                  </a:lnTo>
                  <a:lnTo>
                    <a:pt x="149" y="144"/>
                  </a:lnTo>
                  <a:lnTo>
                    <a:pt x="146" y="143"/>
                  </a:lnTo>
                  <a:lnTo>
                    <a:pt x="145" y="142"/>
                  </a:lnTo>
                  <a:lnTo>
                    <a:pt x="145" y="134"/>
                  </a:lnTo>
                  <a:lnTo>
                    <a:pt x="144" y="132"/>
                  </a:lnTo>
                  <a:lnTo>
                    <a:pt x="143" y="128"/>
                  </a:lnTo>
                  <a:lnTo>
                    <a:pt x="141" y="126"/>
                  </a:lnTo>
                  <a:lnTo>
                    <a:pt x="140" y="122"/>
                  </a:lnTo>
                  <a:lnTo>
                    <a:pt x="141" y="119"/>
                  </a:lnTo>
                  <a:lnTo>
                    <a:pt x="143" y="117"/>
                  </a:lnTo>
                  <a:lnTo>
                    <a:pt x="149" y="114"/>
                  </a:lnTo>
                  <a:lnTo>
                    <a:pt x="154" y="112"/>
                  </a:lnTo>
                  <a:lnTo>
                    <a:pt x="159" y="108"/>
                  </a:lnTo>
                  <a:lnTo>
                    <a:pt x="160" y="106"/>
                  </a:lnTo>
                  <a:lnTo>
                    <a:pt x="160" y="103"/>
                  </a:lnTo>
                  <a:lnTo>
                    <a:pt x="157" y="102"/>
                  </a:lnTo>
                  <a:lnTo>
                    <a:pt x="155" y="101"/>
                  </a:lnTo>
                  <a:lnTo>
                    <a:pt x="148" y="100"/>
                  </a:lnTo>
                  <a:lnTo>
                    <a:pt x="145" y="100"/>
                  </a:lnTo>
                  <a:lnTo>
                    <a:pt x="143" y="98"/>
                  </a:lnTo>
                  <a:lnTo>
                    <a:pt x="141" y="97"/>
                  </a:lnTo>
                  <a:lnTo>
                    <a:pt x="140" y="95"/>
                  </a:lnTo>
                  <a:lnTo>
                    <a:pt x="139" y="92"/>
                  </a:lnTo>
                  <a:lnTo>
                    <a:pt x="137" y="90"/>
                  </a:lnTo>
                  <a:lnTo>
                    <a:pt x="133" y="89"/>
                  </a:lnTo>
                  <a:lnTo>
                    <a:pt x="128" y="87"/>
                  </a:lnTo>
                  <a:lnTo>
                    <a:pt x="129" y="84"/>
                  </a:lnTo>
                  <a:lnTo>
                    <a:pt x="125" y="81"/>
                  </a:lnTo>
                  <a:lnTo>
                    <a:pt x="123" y="80"/>
                  </a:lnTo>
                  <a:lnTo>
                    <a:pt x="121" y="78"/>
                  </a:lnTo>
                  <a:lnTo>
                    <a:pt x="118" y="75"/>
                  </a:lnTo>
                  <a:lnTo>
                    <a:pt x="118" y="73"/>
                  </a:lnTo>
                  <a:lnTo>
                    <a:pt x="119" y="68"/>
                  </a:lnTo>
                  <a:lnTo>
                    <a:pt x="119" y="65"/>
                  </a:lnTo>
                  <a:lnTo>
                    <a:pt x="117" y="63"/>
                  </a:lnTo>
                  <a:lnTo>
                    <a:pt x="113" y="59"/>
                  </a:lnTo>
                  <a:lnTo>
                    <a:pt x="113" y="57"/>
                  </a:lnTo>
                  <a:lnTo>
                    <a:pt x="114" y="54"/>
                  </a:lnTo>
                  <a:lnTo>
                    <a:pt x="117" y="53"/>
                  </a:lnTo>
                  <a:lnTo>
                    <a:pt x="118" y="51"/>
                  </a:lnTo>
                  <a:lnTo>
                    <a:pt x="119" y="49"/>
                  </a:lnTo>
                  <a:lnTo>
                    <a:pt x="119" y="48"/>
                  </a:lnTo>
                  <a:lnTo>
                    <a:pt x="117" y="48"/>
                  </a:lnTo>
                  <a:lnTo>
                    <a:pt x="114" y="48"/>
                  </a:lnTo>
                  <a:lnTo>
                    <a:pt x="111" y="47"/>
                  </a:lnTo>
                  <a:lnTo>
                    <a:pt x="108" y="46"/>
                  </a:lnTo>
                  <a:lnTo>
                    <a:pt x="108" y="44"/>
                  </a:lnTo>
                  <a:lnTo>
                    <a:pt x="108" y="43"/>
                  </a:lnTo>
                  <a:lnTo>
                    <a:pt x="109" y="41"/>
                  </a:lnTo>
                  <a:lnTo>
                    <a:pt x="109" y="39"/>
                  </a:lnTo>
                  <a:lnTo>
                    <a:pt x="105" y="37"/>
                  </a:lnTo>
                  <a:lnTo>
                    <a:pt x="103" y="35"/>
                  </a:lnTo>
                  <a:lnTo>
                    <a:pt x="105" y="31"/>
                  </a:lnTo>
                  <a:lnTo>
                    <a:pt x="107" y="27"/>
                  </a:lnTo>
                  <a:lnTo>
                    <a:pt x="109" y="25"/>
                  </a:lnTo>
                  <a:lnTo>
                    <a:pt x="113" y="24"/>
                  </a:lnTo>
                  <a:lnTo>
                    <a:pt x="118" y="24"/>
                  </a:lnTo>
                  <a:lnTo>
                    <a:pt x="128" y="26"/>
                  </a:lnTo>
                  <a:lnTo>
                    <a:pt x="150" y="31"/>
                  </a:lnTo>
                  <a:lnTo>
                    <a:pt x="154" y="31"/>
                  </a:lnTo>
                  <a:lnTo>
                    <a:pt x="157" y="30"/>
                  </a:lnTo>
                  <a:lnTo>
                    <a:pt x="165" y="27"/>
                  </a:lnTo>
                  <a:lnTo>
                    <a:pt x="172" y="25"/>
                  </a:lnTo>
                  <a:lnTo>
                    <a:pt x="180" y="24"/>
                  </a:lnTo>
                  <a:lnTo>
                    <a:pt x="181" y="22"/>
                  </a:lnTo>
                  <a:lnTo>
                    <a:pt x="184" y="19"/>
                  </a:lnTo>
                  <a:lnTo>
                    <a:pt x="187" y="16"/>
                  </a:lnTo>
                  <a:lnTo>
                    <a:pt x="188" y="14"/>
                  </a:lnTo>
                  <a:lnTo>
                    <a:pt x="188" y="11"/>
                  </a:lnTo>
                  <a:lnTo>
                    <a:pt x="192" y="9"/>
                  </a:lnTo>
                  <a:lnTo>
                    <a:pt x="196" y="6"/>
                  </a:lnTo>
                  <a:lnTo>
                    <a:pt x="198" y="4"/>
                  </a:lnTo>
                  <a:lnTo>
                    <a:pt x="200" y="1"/>
                  </a:lnTo>
                  <a:lnTo>
                    <a:pt x="204" y="0"/>
                  </a:lnTo>
                  <a:lnTo>
                    <a:pt x="207" y="0"/>
                  </a:lnTo>
                  <a:lnTo>
                    <a:pt x="208" y="1"/>
                  </a:lnTo>
                  <a:lnTo>
                    <a:pt x="210" y="4"/>
                  </a:lnTo>
                  <a:lnTo>
                    <a:pt x="213" y="6"/>
                  </a:lnTo>
                  <a:lnTo>
                    <a:pt x="215" y="9"/>
                  </a:lnTo>
                  <a:lnTo>
                    <a:pt x="216" y="12"/>
                  </a:lnTo>
                  <a:lnTo>
                    <a:pt x="219" y="17"/>
                  </a:lnTo>
                  <a:lnTo>
                    <a:pt x="220" y="22"/>
                  </a:lnTo>
                  <a:lnTo>
                    <a:pt x="224" y="26"/>
                  </a:lnTo>
                  <a:lnTo>
                    <a:pt x="230" y="30"/>
                  </a:lnTo>
                  <a:lnTo>
                    <a:pt x="236" y="33"/>
                  </a:lnTo>
                  <a:lnTo>
                    <a:pt x="242" y="37"/>
                  </a:lnTo>
                  <a:lnTo>
                    <a:pt x="248" y="39"/>
                  </a:lnTo>
                  <a:lnTo>
                    <a:pt x="248" y="41"/>
                  </a:lnTo>
                  <a:lnTo>
                    <a:pt x="247" y="42"/>
                  </a:lnTo>
                  <a:lnTo>
                    <a:pt x="246" y="43"/>
                  </a:lnTo>
                  <a:lnTo>
                    <a:pt x="244" y="44"/>
                  </a:lnTo>
                  <a:lnTo>
                    <a:pt x="244" y="48"/>
                  </a:lnTo>
                  <a:lnTo>
                    <a:pt x="244" y="49"/>
                  </a:lnTo>
                  <a:lnTo>
                    <a:pt x="245" y="54"/>
                  </a:lnTo>
                  <a:lnTo>
                    <a:pt x="248" y="62"/>
                  </a:lnTo>
                  <a:lnTo>
                    <a:pt x="253" y="69"/>
                  </a:lnTo>
                  <a:lnTo>
                    <a:pt x="257" y="71"/>
                  </a:lnTo>
                  <a:lnTo>
                    <a:pt x="261" y="73"/>
                  </a:lnTo>
                  <a:lnTo>
                    <a:pt x="264" y="74"/>
                  </a:lnTo>
                  <a:lnTo>
                    <a:pt x="267" y="76"/>
                  </a:lnTo>
                  <a:lnTo>
                    <a:pt x="268" y="79"/>
                  </a:lnTo>
                  <a:lnTo>
                    <a:pt x="268" y="81"/>
                  </a:lnTo>
                  <a:lnTo>
                    <a:pt x="272" y="87"/>
                  </a:lnTo>
                  <a:lnTo>
                    <a:pt x="273" y="91"/>
                  </a:lnTo>
                  <a:lnTo>
                    <a:pt x="272" y="94"/>
                  </a:lnTo>
                  <a:lnTo>
                    <a:pt x="269" y="96"/>
                  </a:lnTo>
                  <a:lnTo>
                    <a:pt x="267" y="98"/>
                  </a:lnTo>
                  <a:lnTo>
                    <a:pt x="264" y="101"/>
                  </a:lnTo>
                  <a:lnTo>
                    <a:pt x="261" y="102"/>
                  </a:lnTo>
                  <a:lnTo>
                    <a:pt x="258" y="102"/>
                  </a:lnTo>
                  <a:lnTo>
                    <a:pt x="256" y="98"/>
                  </a:lnTo>
                  <a:lnTo>
                    <a:pt x="253" y="96"/>
                  </a:lnTo>
                  <a:lnTo>
                    <a:pt x="250" y="94"/>
                  </a:lnTo>
                  <a:lnTo>
                    <a:pt x="247" y="95"/>
                  </a:lnTo>
                  <a:lnTo>
                    <a:pt x="244" y="96"/>
                  </a:lnTo>
                  <a:lnTo>
                    <a:pt x="246" y="100"/>
                  </a:lnTo>
                  <a:lnTo>
                    <a:pt x="247" y="105"/>
                  </a:lnTo>
                  <a:lnTo>
                    <a:pt x="250" y="108"/>
                  </a:lnTo>
                  <a:lnTo>
                    <a:pt x="253" y="111"/>
                  </a:lnTo>
                  <a:lnTo>
                    <a:pt x="256" y="116"/>
                  </a:lnTo>
                  <a:lnTo>
                    <a:pt x="257" y="119"/>
                  </a:lnTo>
                  <a:lnTo>
                    <a:pt x="258" y="123"/>
                  </a:lnTo>
                  <a:lnTo>
                    <a:pt x="260" y="126"/>
                  </a:lnTo>
                  <a:lnTo>
                    <a:pt x="261" y="129"/>
                  </a:lnTo>
                  <a:lnTo>
                    <a:pt x="261" y="133"/>
                  </a:lnTo>
                  <a:lnTo>
                    <a:pt x="262" y="137"/>
                  </a:lnTo>
                  <a:lnTo>
                    <a:pt x="264" y="137"/>
                  </a:lnTo>
                  <a:lnTo>
                    <a:pt x="267" y="135"/>
                  </a:lnTo>
                  <a:lnTo>
                    <a:pt x="271" y="134"/>
                  </a:lnTo>
                  <a:lnTo>
                    <a:pt x="272" y="134"/>
                  </a:lnTo>
                  <a:lnTo>
                    <a:pt x="274" y="135"/>
                  </a:lnTo>
                  <a:lnTo>
                    <a:pt x="275" y="139"/>
                  </a:lnTo>
                  <a:lnTo>
                    <a:pt x="278" y="142"/>
                  </a:lnTo>
                  <a:lnTo>
                    <a:pt x="280" y="144"/>
                  </a:lnTo>
                  <a:lnTo>
                    <a:pt x="284" y="148"/>
                  </a:lnTo>
                  <a:lnTo>
                    <a:pt x="287" y="149"/>
                  </a:lnTo>
                  <a:lnTo>
                    <a:pt x="290" y="149"/>
                  </a:lnTo>
                  <a:lnTo>
                    <a:pt x="293" y="149"/>
                  </a:lnTo>
                  <a:lnTo>
                    <a:pt x="295" y="149"/>
                  </a:lnTo>
                  <a:lnTo>
                    <a:pt x="298" y="150"/>
                  </a:lnTo>
                  <a:lnTo>
                    <a:pt x="301" y="153"/>
                  </a:lnTo>
                  <a:lnTo>
                    <a:pt x="305" y="154"/>
                  </a:lnTo>
                  <a:lnTo>
                    <a:pt x="306" y="156"/>
                  </a:lnTo>
                  <a:lnTo>
                    <a:pt x="306" y="159"/>
                  </a:lnTo>
                  <a:lnTo>
                    <a:pt x="307" y="161"/>
                  </a:lnTo>
                  <a:lnTo>
                    <a:pt x="309" y="162"/>
                  </a:lnTo>
                  <a:lnTo>
                    <a:pt x="314" y="164"/>
                  </a:lnTo>
                  <a:lnTo>
                    <a:pt x="323" y="167"/>
                  </a:lnTo>
                  <a:lnTo>
                    <a:pt x="328" y="170"/>
                  </a:lnTo>
                  <a:lnTo>
                    <a:pt x="332" y="173"/>
                  </a:lnTo>
                  <a:lnTo>
                    <a:pt x="330" y="175"/>
                  </a:lnTo>
                  <a:lnTo>
                    <a:pt x="327" y="176"/>
                  </a:lnTo>
                  <a:lnTo>
                    <a:pt x="325" y="182"/>
                  </a:lnTo>
                  <a:lnTo>
                    <a:pt x="322" y="188"/>
                  </a:lnTo>
                  <a:lnTo>
                    <a:pt x="319" y="192"/>
                  </a:lnTo>
                  <a:lnTo>
                    <a:pt x="317" y="193"/>
                  </a:lnTo>
                  <a:lnTo>
                    <a:pt x="317" y="194"/>
                  </a:lnTo>
                  <a:lnTo>
                    <a:pt x="316" y="198"/>
                  </a:lnTo>
                  <a:lnTo>
                    <a:pt x="316" y="201"/>
                  </a:lnTo>
                  <a:lnTo>
                    <a:pt x="316" y="202"/>
                  </a:lnTo>
                  <a:lnTo>
                    <a:pt x="317" y="203"/>
                  </a:lnTo>
                  <a:lnTo>
                    <a:pt x="317" y="205"/>
                  </a:lnTo>
                  <a:lnTo>
                    <a:pt x="316" y="209"/>
                  </a:lnTo>
                  <a:lnTo>
                    <a:pt x="315" y="213"/>
                  </a:lnTo>
                  <a:lnTo>
                    <a:pt x="314" y="215"/>
                  </a:lnTo>
                  <a:lnTo>
                    <a:pt x="315" y="219"/>
                  </a:lnTo>
                  <a:lnTo>
                    <a:pt x="317" y="221"/>
                  </a:lnTo>
                  <a:lnTo>
                    <a:pt x="322" y="224"/>
                  </a:lnTo>
                  <a:lnTo>
                    <a:pt x="326" y="225"/>
                  </a:lnTo>
                  <a:lnTo>
                    <a:pt x="327" y="225"/>
                  </a:lnTo>
                  <a:lnTo>
                    <a:pt x="327" y="224"/>
                  </a:lnTo>
                  <a:lnTo>
                    <a:pt x="336" y="228"/>
                  </a:lnTo>
                  <a:lnTo>
                    <a:pt x="343" y="231"/>
                  </a:lnTo>
                  <a:lnTo>
                    <a:pt x="347" y="235"/>
                  </a:lnTo>
                  <a:lnTo>
                    <a:pt x="351" y="237"/>
                  </a:lnTo>
                  <a:lnTo>
                    <a:pt x="353" y="240"/>
                  </a:lnTo>
                  <a:lnTo>
                    <a:pt x="357" y="242"/>
                  </a:lnTo>
                  <a:lnTo>
                    <a:pt x="359" y="244"/>
                  </a:lnTo>
                  <a:lnTo>
                    <a:pt x="364" y="246"/>
                  </a:lnTo>
                  <a:lnTo>
                    <a:pt x="368" y="248"/>
                  </a:lnTo>
                  <a:lnTo>
                    <a:pt x="370" y="250"/>
                  </a:lnTo>
                  <a:lnTo>
                    <a:pt x="374" y="248"/>
                  </a:lnTo>
                  <a:lnTo>
                    <a:pt x="378" y="251"/>
                  </a:lnTo>
                  <a:lnTo>
                    <a:pt x="385" y="255"/>
                  </a:lnTo>
                  <a:lnTo>
                    <a:pt x="387" y="256"/>
                  </a:lnTo>
                  <a:lnTo>
                    <a:pt x="390" y="256"/>
                  </a:lnTo>
                  <a:lnTo>
                    <a:pt x="392" y="257"/>
                  </a:lnTo>
                  <a:lnTo>
                    <a:pt x="395" y="257"/>
                  </a:lnTo>
                  <a:lnTo>
                    <a:pt x="397" y="260"/>
                  </a:lnTo>
                  <a:lnTo>
                    <a:pt x="398" y="262"/>
                  </a:lnTo>
                  <a:lnTo>
                    <a:pt x="401" y="263"/>
                  </a:lnTo>
                  <a:lnTo>
                    <a:pt x="405" y="264"/>
                  </a:lnTo>
                  <a:lnTo>
                    <a:pt x="411" y="266"/>
                  </a:lnTo>
                  <a:lnTo>
                    <a:pt x="412" y="266"/>
                  </a:lnTo>
                  <a:lnTo>
                    <a:pt x="414" y="264"/>
                  </a:lnTo>
                  <a:lnTo>
                    <a:pt x="418" y="263"/>
                  </a:lnTo>
                  <a:lnTo>
                    <a:pt x="422" y="264"/>
                  </a:lnTo>
                  <a:lnTo>
                    <a:pt x="428" y="267"/>
                  </a:lnTo>
                  <a:lnTo>
                    <a:pt x="428" y="264"/>
                  </a:lnTo>
                  <a:lnTo>
                    <a:pt x="430" y="263"/>
                  </a:lnTo>
                  <a:lnTo>
                    <a:pt x="433" y="263"/>
                  </a:lnTo>
                  <a:lnTo>
                    <a:pt x="437" y="264"/>
                  </a:lnTo>
                  <a:lnTo>
                    <a:pt x="444" y="267"/>
                  </a:lnTo>
                  <a:lnTo>
                    <a:pt x="446" y="268"/>
                  </a:lnTo>
                  <a:lnTo>
                    <a:pt x="448" y="268"/>
                  </a:lnTo>
                  <a:lnTo>
                    <a:pt x="451" y="271"/>
                  </a:lnTo>
                  <a:lnTo>
                    <a:pt x="453" y="274"/>
                  </a:lnTo>
                  <a:lnTo>
                    <a:pt x="455" y="277"/>
                  </a:lnTo>
                  <a:lnTo>
                    <a:pt x="457" y="279"/>
                  </a:lnTo>
                  <a:lnTo>
                    <a:pt x="465" y="282"/>
                  </a:lnTo>
                  <a:lnTo>
                    <a:pt x="470" y="287"/>
                  </a:lnTo>
                  <a:lnTo>
                    <a:pt x="472" y="288"/>
                  </a:lnTo>
                  <a:lnTo>
                    <a:pt x="475" y="287"/>
                  </a:lnTo>
                  <a:lnTo>
                    <a:pt x="477" y="285"/>
                  </a:lnTo>
                  <a:lnTo>
                    <a:pt x="480" y="285"/>
                  </a:lnTo>
                  <a:lnTo>
                    <a:pt x="483" y="287"/>
                  </a:lnTo>
                  <a:lnTo>
                    <a:pt x="486" y="289"/>
                  </a:lnTo>
                  <a:lnTo>
                    <a:pt x="488" y="292"/>
                  </a:lnTo>
                  <a:lnTo>
                    <a:pt x="489" y="292"/>
                  </a:lnTo>
                  <a:lnTo>
                    <a:pt x="493" y="290"/>
                  </a:lnTo>
                  <a:lnTo>
                    <a:pt x="496" y="292"/>
                  </a:lnTo>
                  <a:lnTo>
                    <a:pt x="501" y="293"/>
                  </a:lnTo>
                  <a:lnTo>
                    <a:pt x="505" y="294"/>
                  </a:lnTo>
                  <a:lnTo>
                    <a:pt x="509" y="295"/>
                  </a:lnTo>
                  <a:lnTo>
                    <a:pt x="513" y="296"/>
                  </a:lnTo>
                  <a:lnTo>
                    <a:pt x="517" y="296"/>
                  </a:lnTo>
                  <a:lnTo>
                    <a:pt x="519" y="295"/>
                  </a:lnTo>
                  <a:lnTo>
                    <a:pt x="523" y="293"/>
                  </a:lnTo>
                  <a:lnTo>
                    <a:pt x="524" y="296"/>
                  </a:lnTo>
                  <a:lnTo>
                    <a:pt x="528" y="299"/>
                  </a:lnTo>
                  <a:lnTo>
                    <a:pt x="530" y="299"/>
                  </a:lnTo>
                  <a:lnTo>
                    <a:pt x="534" y="299"/>
                  </a:lnTo>
                  <a:lnTo>
                    <a:pt x="536" y="299"/>
                  </a:lnTo>
                  <a:lnTo>
                    <a:pt x="540" y="299"/>
                  </a:lnTo>
                  <a:lnTo>
                    <a:pt x="544" y="299"/>
                  </a:lnTo>
                  <a:lnTo>
                    <a:pt x="546" y="299"/>
                  </a:lnTo>
                  <a:lnTo>
                    <a:pt x="550" y="299"/>
                  </a:lnTo>
                  <a:lnTo>
                    <a:pt x="551" y="298"/>
                  </a:lnTo>
                  <a:lnTo>
                    <a:pt x="552" y="295"/>
                  </a:lnTo>
                  <a:lnTo>
                    <a:pt x="553" y="293"/>
                  </a:lnTo>
                  <a:lnTo>
                    <a:pt x="553" y="288"/>
                  </a:lnTo>
                  <a:lnTo>
                    <a:pt x="551" y="284"/>
                  </a:lnTo>
                  <a:lnTo>
                    <a:pt x="548" y="280"/>
                  </a:lnTo>
                  <a:lnTo>
                    <a:pt x="546" y="276"/>
                  </a:lnTo>
                  <a:lnTo>
                    <a:pt x="546" y="272"/>
                  </a:lnTo>
                  <a:lnTo>
                    <a:pt x="546" y="268"/>
                  </a:lnTo>
                  <a:lnTo>
                    <a:pt x="546" y="262"/>
                  </a:lnTo>
                  <a:lnTo>
                    <a:pt x="546" y="255"/>
                  </a:lnTo>
                  <a:lnTo>
                    <a:pt x="546" y="247"/>
                  </a:lnTo>
                  <a:lnTo>
                    <a:pt x="550" y="247"/>
                  </a:lnTo>
                  <a:lnTo>
                    <a:pt x="553" y="246"/>
                  </a:lnTo>
                  <a:lnTo>
                    <a:pt x="557" y="245"/>
                  </a:lnTo>
                  <a:lnTo>
                    <a:pt x="562" y="245"/>
                  </a:lnTo>
                  <a:lnTo>
                    <a:pt x="564" y="246"/>
                  </a:lnTo>
                  <a:lnTo>
                    <a:pt x="566" y="248"/>
                  </a:lnTo>
                  <a:lnTo>
                    <a:pt x="567" y="253"/>
                  </a:lnTo>
                  <a:lnTo>
                    <a:pt x="566" y="260"/>
                  </a:lnTo>
                  <a:lnTo>
                    <a:pt x="567" y="264"/>
                  </a:lnTo>
                  <a:lnTo>
                    <a:pt x="569" y="267"/>
                  </a:lnTo>
                  <a:lnTo>
                    <a:pt x="571" y="268"/>
                  </a:lnTo>
                  <a:lnTo>
                    <a:pt x="571" y="269"/>
                  </a:lnTo>
                  <a:lnTo>
                    <a:pt x="568" y="272"/>
                  </a:lnTo>
                  <a:lnTo>
                    <a:pt x="568" y="273"/>
                  </a:lnTo>
                  <a:lnTo>
                    <a:pt x="569" y="276"/>
                  </a:lnTo>
                  <a:lnTo>
                    <a:pt x="573" y="280"/>
                  </a:lnTo>
                  <a:lnTo>
                    <a:pt x="577" y="283"/>
                  </a:lnTo>
                  <a:lnTo>
                    <a:pt x="587" y="284"/>
                  </a:lnTo>
                  <a:lnTo>
                    <a:pt x="590" y="285"/>
                  </a:lnTo>
                  <a:lnTo>
                    <a:pt x="594" y="287"/>
                  </a:lnTo>
                  <a:lnTo>
                    <a:pt x="596" y="289"/>
                  </a:lnTo>
                  <a:lnTo>
                    <a:pt x="600" y="289"/>
                  </a:lnTo>
                  <a:lnTo>
                    <a:pt x="604" y="288"/>
                  </a:lnTo>
                  <a:lnTo>
                    <a:pt x="608" y="287"/>
                  </a:lnTo>
                  <a:lnTo>
                    <a:pt x="609" y="285"/>
                  </a:lnTo>
                  <a:lnTo>
                    <a:pt x="611" y="284"/>
                  </a:lnTo>
                  <a:lnTo>
                    <a:pt x="614" y="283"/>
                  </a:lnTo>
                  <a:lnTo>
                    <a:pt x="616" y="283"/>
                  </a:lnTo>
                  <a:lnTo>
                    <a:pt x="622" y="285"/>
                  </a:lnTo>
                  <a:lnTo>
                    <a:pt x="627" y="287"/>
                  </a:lnTo>
                  <a:lnTo>
                    <a:pt x="639" y="287"/>
                  </a:lnTo>
                  <a:lnTo>
                    <a:pt x="644" y="284"/>
                  </a:lnTo>
                  <a:lnTo>
                    <a:pt x="646" y="284"/>
                  </a:lnTo>
                  <a:lnTo>
                    <a:pt x="647" y="284"/>
                  </a:lnTo>
                  <a:lnTo>
                    <a:pt x="649" y="285"/>
                  </a:lnTo>
                  <a:lnTo>
                    <a:pt x="653" y="285"/>
                  </a:lnTo>
                  <a:lnTo>
                    <a:pt x="657" y="284"/>
                  </a:lnTo>
                  <a:lnTo>
                    <a:pt x="660" y="284"/>
                  </a:lnTo>
                  <a:lnTo>
                    <a:pt x="662" y="284"/>
                  </a:lnTo>
                  <a:lnTo>
                    <a:pt x="663" y="283"/>
                  </a:lnTo>
                  <a:lnTo>
                    <a:pt x="663" y="280"/>
                  </a:lnTo>
                  <a:lnTo>
                    <a:pt x="660" y="277"/>
                  </a:lnTo>
                  <a:lnTo>
                    <a:pt x="659" y="273"/>
                  </a:lnTo>
                  <a:lnTo>
                    <a:pt x="660" y="269"/>
                  </a:lnTo>
                  <a:lnTo>
                    <a:pt x="659" y="267"/>
                  </a:lnTo>
                  <a:lnTo>
                    <a:pt x="654" y="264"/>
                  </a:lnTo>
                  <a:lnTo>
                    <a:pt x="649" y="264"/>
                  </a:lnTo>
                  <a:lnTo>
                    <a:pt x="648" y="263"/>
                  </a:lnTo>
                  <a:lnTo>
                    <a:pt x="647" y="262"/>
                  </a:lnTo>
                  <a:lnTo>
                    <a:pt x="646" y="256"/>
                  </a:lnTo>
                  <a:lnTo>
                    <a:pt x="646" y="255"/>
                  </a:lnTo>
                  <a:lnTo>
                    <a:pt x="648" y="255"/>
                  </a:lnTo>
                  <a:lnTo>
                    <a:pt x="655" y="255"/>
                  </a:lnTo>
                  <a:lnTo>
                    <a:pt x="662" y="253"/>
                  </a:lnTo>
                  <a:lnTo>
                    <a:pt x="665" y="252"/>
                  </a:lnTo>
                  <a:lnTo>
                    <a:pt x="669" y="251"/>
                  </a:lnTo>
                  <a:lnTo>
                    <a:pt x="671" y="248"/>
                  </a:lnTo>
                  <a:lnTo>
                    <a:pt x="673" y="244"/>
                  </a:lnTo>
                  <a:lnTo>
                    <a:pt x="675" y="240"/>
                  </a:lnTo>
                  <a:lnTo>
                    <a:pt x="679" y="237"/>
                  </a:lnTo>
                  <a:lnTo>
                    <a:pt x="683" y="234"/>
                  </a:lnTo>
                  <a:lnTo>
                    <a:pt x="684" y="229"/>
                  </a:lnTo>
                  <a:lnTo>
                    <a:pt x="685" y="226"/>
                  </a:lnTo>
                  <a:lnTo>
                    <a:pt x="686" y="225"/>
                  </a:lnTo>
                  <a:lnTo>
                    <a:pt x="691" y="223"/>
                  </a:lnTo>
                  <a:lnTo>
                    <a:pt x="696" y="223"/>
                  </a:lnTo>
                  <a:lnTo>
                    <a:pt x="701" y="220"/>
                  </a:lnTo>
                  <a:lnTo>
                    <a:pt x="707" y="213"/>
                  </a:lnTo>
                  <a:lnTo>
                    <a:pt x="713" y="207"/>
                  </a:lnTo>
                  <a:lnTo>
                    <a:pt x="719" y="203"/>
                  </a:lnTo>
                  <a:lnTo>
                    <a:pt x="721" y="203"/>
                  </a:lnTo>
                  <a:lnTo>
                    <a:pt x="724" y="205"/>
                  </a:lnTo>
                  <a:lnTo>
                    <a:pt x="728" y="208"/>
                  </a:lnTo>
                  <a:lnTo>
                    <a:pt x="731" y="209"/>
                  </a:lnTo>
                  <a:lnTo>
                    <a:pt x="729" y="208"/>
                  </a:lnTo>
                  <a:lnTo>
                    <a:pt x="733" y="209"/>
                  </a:lnTo>
                  <a:lnTo>
                    <a:pt x="738" y="210"/>
                  </a:lnTo>
                  <a:lnTo>
                    <a:pt x="742" y="212"/>
                  </a:lnTo>
                  <a:lnTo>
                    <a:pt x="744" y="212"/>
                  </a:lnTo>
                  <a:lnTo>
                    <a:pt x="744" y="209"/>
                  </a:lnTo>
                  <a:lnTo>
                    <a:pt x="745" y="205"/>
                  </a:lnTo>
                  <a:lnTo>
                    <a:pt x="748" y="203"/>
                  </a:lnTo>
                  <a:lnTo>
                    <a:pt x="751" y="202"/>
                  </a:lnTo>
                  <a:lnTo>
                    <a:pt x="758" y="198"/>
                  </a:lnTo>
                  <a:lnTo>
                    <a:pt x="760" y="199"/>
                  </a:lnTo>
                  <a:lnTo>
                    <a:pt x="764" y="202"/>
                  </a:lnTo>
                  <a:lnTo>
                    <a:pt x="766" y="204"/>
                  </a:lnTo>
                  <a:lnTo>
                    <a:pt x="769" y="207"/>
                  </a:lnTo>
                  <a:lnTo>
                    <a:pt x="765" y="209"/>
                  </a:lnTo>
                  <a:lnTo>
                    <a:pt x="764" y="212"/>
                  </a:lnTo>
                  <a:lnTo>
                    <a:pt x="764" y="213"/>
                  </a:lnTo>
                  <a:lnTo>
                    <a:pt x="765" y="214"/>
                  </a:lnTo>
                  <a:lnTo>
                    <a:pt x="766" y="214"/>
                  </a:lnTo>
                  <a:lnTo>
                    <a:pt x="769" y="213"/>
                  </a:lnTo>
                  <a:lnTo>
                    <a:pt x="771" y="212"/>
                  </a:lnTo>
                  <a:lnTo>
                    <a:pt x="774" y="210"/>
                  </a:lnTo>
                  <a:lnTo>
                    <a:pt x="774" y="214"/>
                  </a:lnTo>
                  <a:lnTo>
                    <a:pt x="776" y="217"/>
                  </a:lnTo>
                  <a:lnTo>
                    <a:pt x="777" y="219"/>
                  </a:lnTo>
                  <a:lnTo>
                    <a:pt x="778" y="221"/>
                  </a:lnTo>
                  <a:lnTo>
                    <a:pt x="776" y="224"/>
                  </a:lnTo>
                  <a:lnTo>
                    <a:pt x="775" y="226"/>
                  </a:lnTo>
                  <a:lnTo>
                    <a:pt x="774" y="229"/>
                  </a:lnTo>
                  <a:lnTo>
                    <a:pt x="772" y="232"/>
                  </a:lnTo>
                  <a:lnTo>
                    <a:pt x="774" y="234"/>
                  </a:lnTo>
                  <a:lnTo>
                    <a:pt x="776" y="232"/>
                  </a:lnTo>
                  <a:lnTo>
                    <a:pt x="778" y="232"/>
                  </a:lnTo>
                  <a:lnTo>
                    <a:pt x="780" y="231"/>
                  </a:lnTo>
                  <a:lnTo>
                    <a:pt x="783" y="231"/>
                  </a:lnTo>
                  <a:lnTo>
                    <a:pt x="787" y="232"/>
                  </a:lnTo>
                  <a:lnTo>
                    <a:pt x="791" y="235"/>
                  </a:lnTo>
                  <a:lnTo>
                    <a:pt x="796" y="235"/>
                  </a:lnTo>
                  <a:lnTo>
                    <a:pt x="798" y="235"/>
                  </a:lnTo>
                  <a:lnTo>
                    <a:pt x="801" y="237"/>
                  </a:lnTo>
                  <a:lnTo>
                    <a:pt x="802" y="240"/>
                  </a:lnTo>
                  <a:lnTo>
                    <a:pt x="803" y="242"/>
                  </a:lnTo>
                  <a:lnTo>
                    <a:pt x="804" y="245"/>
                  </a:lnTo>
                  <a:lnTo>
                    <a:pt x="804" y="246"/>
                  </a:lnTo>
                  <a:lnTo>
                    <a:pt x="804" y="248"/>
                  </a:lnTo>
                  <a:lnTo>
                    <a:pt x="802" y="251"/>
                  </a:lnTo>
                  <a:lnTo>
                    <a:pt x="798" y="253"/>
                  </a:lnTo>
                  <a:lnTo>
                    <a:pt x="796" y="257"/>
                  </a:lnTo>
                  <a:lnTo>
                    <a:pt x="796" y="261"/>
                  </a:lnTo>
                  <a:lnTo>
                    <a:pt x="796" y="263"/>
                  </a:lnTo>
                  <a:lnTo>
                    <a:pt x="797" y="266"/>
                  </a:lnTo>
                  <a:lnTo>
                    <a:pt x="802" y="271"/>
                  </a:lnTo>
                  <a:lnTo>
                    <a:pt x="804" y="276"/>
                  </a:lnTo>
                  <a:lnTo>
                    <a:pt x="802" y="277"/>
                  </a:lnTo>
                  <a:lnTo>
                    <a:pt x="801" y="276"/>
                  </a:lnTo>
                  <a:lnTo>
                    <a:pt x="797" y="273"/>
                  </a:lnTo>
                  <a:lnTo>
                    <a:pt x="794" y="269"/>
                  </a:lnTo>
                  <a:lnTo>
                    <a:pt x="791" y="268"/>
                  </a:lnTo>
                  <a:lnTo>
                    <a:pt x="783" y="271"/>
                  </a:lnTo>
                  <a:lnTo>
                    <a:pt x="777" y="272"/>
                  </a:lnTo>
                  <a:lnTo>
                    <a:pt x="775" y="273"/>
                  </a:lnTo>
                  <a:lnTo>
                    <a:pt x="772" y="276"/>
                  </a:lnTo>
                  <a:lnTo>
                    <a:pt x="769" y="280"/>
                  </a:lnTo>
                  <a:lnTo>
                    <a:pt x="765" y="283"/>
                  </a:lnTo>
                  <a:lnTo>
                    <a:pt x="764" y="284"/>
                  </a:lnTo>
                  <a:lnTo>
                    <a:pt x="762" y="284"/>
                  </a:lnTo>
                  <a:lnTo>
                    <a:pt x="761" y="285"/>
                  </a:lnTo>
                  <a:lnTo>
                    <a:pt x="761" y="287"/>
                  </a:lnTo>
                  <a:lnTo>
                    <a:pt x="761" y="288"/>
                  </a:lnTo>
                  <a:lnTo>
                    <a:pt x="760" y="288"/>
                  </a:lnTo>
                  <a:lnTo>
                    <a:pt x="759" y="289"/>
                  </a:lnTo>
                  <a:lnTo>
                    <a:pt x="755" y="290"/>
                  </a:lnTo>
                  <a:lnTo>
                    <a:pt x="753" y="292"/>
                  </a:lnTo>
                  <a:lnTo>
                    <a:pt x="750" y="294"/>
                  </a:lnTo>
                  <a:lnTo>
                    <a:pt x="750" y="299"/>
                  </a:lnTo>
                  <a:lnTo>
                    <a:pt x="751" y="304"/>
                  </a:lnTo>
                  <a:lnTo>
                    <a:pt x="753" y="306"/>
                  </a:lnTo>
                  <a:lnTo>
                    <a:pt x="754" y="310"/>
                  </a:lnTo>
                  <a:lnTo>
                    <a:pt x="754" y="314"/>
                  </a:lnTo>
                  <a:lnTo>
                    <a:pt x="753" y="319"/>
                  </a:lnTo>
                  <a:lnTo>
                    <a:pt x="751" y="323"/>
                  </a:lnTo>
                  <a:lnTo>
                    <a:pt x="748" y="328"/>
                  </a:lnTo>
                  <a:lnTo>
                    <a:pt x="744" y="332"/>
                  </a:lnTo>
                  <a:lnTo>
                    <a:pt x="744" y="335"/>
                  </a:lnTo>
                  <a:lnTo>
                    <a:pt x="744" y="337"/>
                  </a:lnTo>
                  <a:lnTo>
                    <a:pt x="746" y="341"/>
                  </a:lnTo>
                  <a:lnTo>
                    <a:pt x="749" y="346"/>
                  </a:lnTo>
                  <a:lnTo>
                    <a:pt x="746" y="355"/>
                  </a:lnTo>
                  <a:lnTo>
                    <a:pt x="744" y="364"/>
                  </a:lnTo>
                  <a:lnTo>
                    <a:pt x="740" y="374"/>
                  </a:lnTo>
                  <a:lnTo>
                    <a:pt x="738" y="384"/>
                  </a:lnTo>
                  <a:lnTo>
                    <a:pt x="734" y="381"/>
                  </a:lnTo>
                  <a:lnTo>
                    <a:pt x="731" y="380"/>
                  </a:lnTo>
                  <a:lnTo>
                    <a:pt x="727" y="379"/>
                  </a:lnTo>
                  <a:lnTo>
                    <a:pt x="724" y="378"/>
                  </a:lnTo>
                  <a:lnTo>
                    <a:pt x="719" y="379"/>
                  </a:lnTo>
                  <a:lnTo>
                    <a:pt x="717" y="378"/>
                  </a:lnTo>
                  <a:lnTo>
                    <a:pt x="713" y="378"/>
                  </a:lnTo>
                  <a:lnTo>
                    <a:pt x="717" y="389"/>
                  </a:lnTo>
                  <a:lnTo>
                    <a:pt x="718" y="400"/>
                  </a:lnTo>
                  <a:lnTo>
                    <a:pt x="718" y="403"/>
                  </a:lnTo>
                  <a:lnTo>
                    <a:pt x="718" y="408"/>
                  </a:lnTo>
                  <a:lnTo>
                    <a:pt x="717" y="411"/>
                  </a:lnTo>
                  <a:lnTo>
                    <a:pt x="715" y="411"/>
                  </a:lnTo>
                  <a:lnTo>
                    <a:pt x="713" y="410"/>
                  </a:lnTo>
                  <a:lnTo>
                    <a:pt x="713" y="419"/>
                  </a:lnTo>
                  <a:lnTo>
                    <a:pt x="715" y="424"/>
                  </a:lnTo>
                  <a:lnTo>
                    <a:pt x="716" y="429"/>
                  </a:lnTo>
                  <a:lnTo>
                    <a:pt x="717" y="433"/>
                  </a:lnTo>
                  <a:lnTo>
                    <a:pt x="717" y="435"/>
                  </a:lnTo>
                  <a:lnTo>
                    <a:pt x="717" y="438"/>
                  </a:lnTo>
                  <a:lnTo>
                    <a:pt x="713" y="438"/>
                  </a:lnTo>
                  <a:lnTo>
                    <a:pt x="713" y="441"/>
                  </a:lnTo>
                  <a:lnTo>
                    <a:pt x="713" y="444"/>
                  </a:lnTo>
                  <a:lnTo>
                    <a:pt x="712" y="445"/>
                  </a:lnTo>
                  <a:lnTo>
                    <a:pt x="711" y="445"/>
                  </a:lnTo>
                  <a:lnTo>
                    <a:pt x="708" y="443"/>
                  </a:lnTo>
                  <a:lnTo>
                    <a:pt x="705" y="439"/>
                  </a:lnTo>
                  <a:lnTo>
                    <a:pt x="703" y="443"/>
                  </a:lnTo>
                  <a:lnTo>
                    <a:pt x="702" y="445"/>
                  </a:lnTo>
                  <a:lnTo>
                    <a:pt x="694" y="418"/>
                  </a:lnTo>
                  <a:lnTo>
                    <a:pt x="690" y="403"/>
                  </a:lnTo>
                  <a:lnTo>
                    <a:pt x="685" y="389"/>
                  </a:lnTo>
                  <a:lnTo>
                    <a:pt x="684" y="387"/>
                  </a:lnTo>
                  <a:lnTo>
                    <a:pt x="681" y="389"/>
                  </a:lnTo>
                  <a:lnTo>
                    <a:pt x="679" y="390"/>
                  </a:lnTo>
                  <a:lnTo>
                    <a:pt x="675" y="389"/>
                  </a:lnTo>
                  <a:lnTo>
                    <a:pt x="676" y="392"/>
                  </a:lnTo>
                  <a:lnTo>
                    <a:pt x="675" y="397"/>
                  </a:lnTo>
                  <a:lnTo>
                    <a:pt x="674" y="400"/>
                  </a:lnTo>
                  <a:lnTo>
                    <a:pt x="674" y="402"/>
                  </a:lnTo>
                  <a:lnTo>
                    <a:pt x="675" y="407"/>
                  </a:lnTo>
                  <a:lnTo>
                    <a:pt x="674" y="412"/>
                  </a:lnTo>
                  <a:lnTo>
                    <a:pt x="671" y="413"/>
                  </a:lnTo>
                  <a:lnTo>
                    <a:pt x="669" y="412"/>
                  </a:lnTo>
                  <a:lnTo>
                    <a:pt x="665" y="407"/>
                  </a:lnTo>
                  <a:lnTo>
                    <a:pt x="662" y="403"/>
                  </a:lnTo>
                  <a:lnTo>
                    <a:pt x="662" y="406"/>
                  </a:lnTo>
                  <a:lnTo>
                    <a:pt x="662" y="408"/>
                  </a:lnTo>
                  <a:lnTo>
                    <a:pt x="658" y="400"/>
                  </a:lnTo>
                  <a:lnTo>
                    <a:pt x="654" y="391"/>
                  </a:lnTo>
                  <a:lnTo>
                    <a:pt x="654" y="387"/>
                  </a:lnTo>
                  <a:lnTo>
                    <a:pt x="657" y="382"/>
                  </a:lnTo>
                  <a:lnTo>
                    <a:pt x="658" y="379"/>
                  </a:lnTo>
                  <a:lnTo>
                    <a:pt x="658" y="375"/>
                  </a:lnTo>
                  <a:lnTo>
                    <a:pt x="663" y="375"/>
                  </a:lnTo>
                  <a:lnTo>
                    <a:pt x="664" y="374"/>
                  </a:lnTo>
                  <a:lnTo>
                    <a:pt x="665" y="371"/>
                  </a:lnTo>
                  <a:lnTo>
                    <a:pt x="667" y="373"/>
                  </a:lnTo>
                  <a:lnTo>
                    <a:pt x="669" y="373"/>
                  </a:lnTo>
                  <a:lnTo>
                    <a:pt x="670" y="371"/>
                  </a:lnTo>
                  <a:lnTo>
                    <a:pt x="673" y="373"/>
                  </a:lnTo>
                  <a:lnTo>
                    <a:pt x="674" y="366"/>
                  </a:lnTo>
                  <a:lnTo>
                    <a:pt x="678" y="362"/>
                  </a:lnTo>
                  <a:lnTo>
                    <a:pt x="680" y="355"/>
                  </a:lnTo>
                  <a:lnTo>
                    <a:pt x="680" y="352"/>
                  </a:lnTo>
                  <a:lnTo>
                    <a:pt x="679" y="349"/>
                  </a:lnTo>
                  <a:lnTo>
                    <a:pt x="681" y="349"/>
                  </a:lnTo>
                  <a:lnTo>
                    <a:pt x="683" y="349"/>
                  </a:lnTo>
                  <a:lnTo>
                    <a:pt x="684" y="348"/>
                  </a:lnTo>
                  <a:lnTo>
                    <a:pt x="684" y="347"/>
                  </a:lnTo>
                  <a:lnTo>
                    <a:pt x="676" y="342"/>
                  </a:lnTo>
                  <a:lnTo>
                    <a:pt x="668" y="339"/>
                  </a:lnTo>
                  <a:lnTo>
                    <a:pt x="662" y="339"/>
                  </a:lnTo>
                  <a:lnTo>
                    <a:pt x="653" y="339"/>
                  </a:lnTo>
                  <a:lnTo>
                    <a:pt x="644" y="339"/>
                  </a:lnTo>
                  <a:lnTo>
                    <a:pt x="635" y="339"/>
                  </a:lnTo>
                  <a:lnTo>
                    <a:pt x="626" y="339"/>
                  </a:lnTo>
                  <a:lnTo>
                    <a:pt x="617" y="338"/>
                  </a:lnTo>
                  <a:lnTo>
                    <a:pt x="610" y="336"/>
                  </a:lnTo>
                  <a:lnTo>
                    <a:pt x="608" y="332"/>
                  </a:lnTo>
                  <a:lnTo>
                    <a:pt x="608" y="328"/>
                  </a:lnTo>
                  <a:lnTo>
                    <a:pt x="608" y="323"/>
                  </a:lnTo>
                  <a:lnTo>
                    <a:pt x="605" y="316"/>
                  </a:lnTo>
                  <a:lnTo>
                    <a:pt x="603" y="309"/>
                  </a:lnTo>
                  <a:lnTo>
                    <a:pt x="600" y="307"/>
                  </a:lnTo>
                  <a:lnTo>
                    <a:pt x="598" y="306"/>
                  </a:lnTo>
                  <a:lnTo>
                    <a:pt x="598" y="310"/>
                  </a:lnTo>
                  <a:lnTo>
                    <a:pt x="596" y="314"/>
                  </a:lnTo>
                  <a:lnTo>
                    <a:pt x="590" y="311"/>
                  </a:lnTo>
                  <a:lnTo>
                    <a:pt x="584" y="306"/>
                  </a:lnTo>
                  <a:lnTo>
                    <a:pt x="582" y="301"/>
                  </a:lnTo>
                  <a:lnTo>
                    <a:pt x="579" y="299"/>
                  </a:lnTo>
                  <a:lnTo>
                    <a:pt x="577" y="299"/>
                  </a:lnTo>
                  <a:lnTo>
                    <a:pt x="579" y="301"/>
                  </a:lnTo>
                  <a:lnTo>
                    <a:pt x="580" y="305"/>
                  </a:lnTo>
                  <a:lnTo>
                    <a:pt x="577" y="304"/>
                  </a:lnTo>
                  <a:lnTo>
                    <a:pt x="572" y="303"/>
                  </a:lnTo>
                  <a:lnTo>
                    <a:pt x="569" y="300"/>
                  </a:lnTo>
                  <a:lnTo>
                    <a:pt x="568" y="298"/>
                  </a:lnTo>
                  <a:lnTo>
                    <a:pt x="564" y="295"/>
                  </a:lnTo>
                  <a:lnTo>
                    <a:pt x="561" y="293"/>
                  </a:lnTo>
                  <a:lnTo>
                    <a:pt x="560" y="296"/>
                  </a:lnTo>
                  <a:lnTo>
                    <a:pt x="563" y="296"/>
                  </a:lnTo>
                  <a:lnTo>
                    <a:pt x="566" y="300"/>
                  </a:lnTo>
                  <a:lnTo>
                    <a:pt x="560" y="304"/>
                  </a:lnTo>
                  <a:lnTo>
                    <a:pt x="557" y="310"/>
                  </a:lnTo>
                  <a:lnTo>
                    <a:pt x="557" y="315"/>
                  </a:lnTo>
                  <a:lnTo>
                    <a:pt x="558" y="317"/>
                  </a:lnTo>
                  <a:lnTo>
                    <a:pt x="562" y="320"/>
                  </a:lnTo>
                  <a:lnTo>
                    <a:pt x="567" y="323"/>
                  </a:lnTo>
                  <a:lnTo>
                    <a:pt x="571" y="328"/>
                  </a:lnTo>
                  <a:lnTo>
                    <a:pt x="573" y="328"/>
                  </a:lnTo>
                  <a:lnTo>
                    <a:pt x="576" y="328"/>
                  </a:lnTo>
                  <a:lnTo>
                    <a:pt x="578" y="330"/>
                  </a:lnTo>
                  <a:lnTo>
                    <a:pt x="579" y="331"/>
                  </a:lnTo>
                  <a:lnTo>
                    <a:pt x="580" y="333"/>
                  </a:lnTo>
                  <a:lnTo>
                    <a:pt x="583" y="335"/>
                  </a:lnTo>
                  <a:lnTo>
                    <a:pt x="584" y="337"/>
                  </a:lnTo>
                  <a:lnTo>
                    <a:pt x="584" y="339"/>
                  </a:lnTo>
                  <a:lnTo>
                    <a:pt x="579" y="338"/>
                  </a:lnTo>
                  <a:lnTo>
                    <a:pt x="574" y="339"/>
                  </a:lnTo>
                  <a:lnTo>
                    <a:pt x="572" y="339"/>
                  </a:lnTo>
                  <a:lnTo>
                    <a:pt x="571" y="343"/>
                  </a:lnTo>
                  <a:lnTo>
                    <a:pt x="569" y="346"/>
                  </a:lnTo>
                  <a:lnTo>
                    <a:pt x="568" y="348"/>
                  </a:lnTo>
                  <a:lnTo>
                    <a:pt x="566" y="349"/>
                  </a:lnTo>
                  <a:lnTo>
                    <a:pt x="564" y="348"/>
                  </a:lnTo>
                  <a:lnTo>
                    <a:pt x="563" y="347"/>
                  </a:lnTo>
                  <a:lnTo>
                    <a:pt x="562" y="351"/>
                  </a:lnTo>
                  <a:lnTo>
                    <a:pt x="561" y="354"/>
                  </a:lnTo>
                  <a:lnTo>
                    <a:pt x="561" y="358"/>
                  </a:lnTo>
                  <a:lnTo>
                    <a:pt x="562" y="359"/>
                  </a:lnTo>
                  <a:lnTo>
                    <a:pt x="564" y="362"/>
                  </a:lnTo>
                  <a:lnTo>
                    <a:pt x="568" y="363"/>
                  </a:lnTo>
                  <a:lnTo>
                    <a:pt x="572" y="365"/>
                  </a:lnTo>
                  <a:lnTo>
                    <a:pt x="576" y="365"/>
                  </a:lnTo>
                  <a:lnTo>
                    <a:pt x="579" y="368"/>
                  </a:lnTo>
                  <a:lnTo>
                    <a:pt x="583" y="371"/>
                  </a:lnTo>
                  <a:lnTo>
                    <a:pt x="584" y="374"/>
                  </a:lnTo>
                  <a:lnTo>
                    <a:pt x="584" y="376"/>
                  </a:lnTo>
                  <a:lnTo>
                    <a:pt x="584" y="379"/>
                  </a:lnTo>
                  <a:lnTo>
                    <a:pt x="583" y="381"/>
                  </a:lnTo>
                  <a:lnTo>
                    <a:pt x="580" y="384"/>
                  </a:lnTo>
                  <a:lnTo>
                    <a:pt x="579" y="386"/>
                  </a:lnTo>
                  <a:lnTo>
                    <a:pt x="580" y="387"/>
                  </a:lnTo>
                  <a:lnTo>
                    <a:pt x="582" y="390"/>
                  </a:lnTo>
                  <a:lnTo>
                    <a:pt x="584" y="392"/>
                  </a:lnTo>
                  <a:lnTo>
                    <a:pt x="585" y="394"/>
                  </a:lnTo>
                  <a:lnTo>
                    <a:pt x="587" y="395"/>
                  </a:lnTo>
                  <a:lnTo>
                    <a:pt x="587" y="397"/>
                  </a:lnTo>
                  <a:lnTo>
                    <a:pt x="587" y="402"/>
                  </a:lnTo>
                  <a:lnTo>
                    <a:pt x="589" y="403"/>
                  </a:lnTo>
                  <a:lnTo>
                    <a:pt x="592" y="403"/>
                  </a:lnTo>
                  <a:lnTo>
                    <a:pt x="593" y="405"/>
                  </a:lnTo>
                  <a:lnTo>
                    <a:pt x="593" y="407"/>
                  </a:lnTo>
                  <a:lnTo>
                    <a:pt x="593" y="411"/>
                  </a:lnTo>
                  <a:lnTo>
                    <a:pt x="594" y="416"/>
                  </a:lnTo>
                  <a:lnTo>
                    <a:pt x="595" y="419"/>
                  </a:lnTo>
                  <a:lnTo>
                    <a:pt x="596" y="426"/>
                  </a:lnTo>
                  <a:lnTo>
                    <a:pt x="599" y="432"/>
                  </a:lnTo>
                  <a:lnTo>
                    <a:pt x="601" y="439"/>
                  </a:lnTo>
                  <a:lnTo>
                    <a:pt x="601" y="443"/>
                  </a:lnTo>
                  <a:lnTo>
                    <a:pt x="600" y="446"/>
                  </a:lnTo>
                  <a:lnTo>
                    <a:pt x="596" y="445"/>
                  </a:lnTo>
                  <a:lnTo>
                    <a:pt x="599" y="446"/>
                  </a:lnTo>
                  <a:lnTo>
                    <a:pt x="600" y="450"/>
                  </a:lnTo>
                  <a:lnTo>
                    <a:pt x="603" y="454"/>
                  </a:lnTo>
                  <a:lnTo>
                    <a:pt x="601" y="456"/>
                  </a:lnTo>
                  <a:lnTo>
                    <a:pt x="600" y="456"/>
                  </a:lnTo>
                  <a:lnTo>
                    <a:pt x="599" y="455"/>
                  </a:lnTo>
                  <a:lnTo>
                    <a:pt x="596" y="454"/>
                  </a:lnTo>
                  <a:lnTo>
                    <a:pt x="596" y="451"/>
                  </a:lnTo>
                  <a:lnTo>
                    <a:pt x="595" y="454"/>
                  </a:lnTo>
                  <a:lnTo>
                    <a:pt x="594" y="455"/>
                  </a:lnTo>
                  <a:lnTo>
                    <a:pt x="593" y="455"/>
                  </a:lnTo>
                  <a:lnTo>
                    <a:pt x="592" y="454"/>
                  </a:lnTo>
                  <a:lnTo>
                    <a:pt x="590" y="450"/>
                  </a:lnTo>
                  <a:lnTo>
                    <a:pt x="592" y="446"/>
                  </a:lnTo>
                  <a:lnTo>
                    <a:pt x="592" y="440"/>
                  </a:lnTo>
                  <a:lnTo>
                    <a:pt x="590" y="441"/>
                  </a:lnTo>
                  <a:lnTo>
                    <a:pt x="590" y="443"/>
                  </a:lnTo>
                  <a:lnTo>
                    <a:pt x="590" y="444"/>
                  </a:lnTo>
                  <a:lnTo>
                    <a:pt x="589" y="446"/>
                  </a:lnTo>
                  <a:lnTo>
                    <a:pt x="589" y="441"/>
                  </a:lnTo>
                  <a:lnTo>
                    <a:pt x="589" y="440"/>
                  </a:lnTo>
                  <a:lnTo>
                    <a:pt x="589" y="438"/>
                  </a:lnTo>
                  <a:lnTo>
                    <a:pt x="588" y="441"/>
                  </a:lnTo>
                  <a:lnTo>
                    <a:pt x="587" y="448"/>
                  </a:lnTo>
                  <a:lnTo>
                    <a:pt x="588" y="455"/>
                  </a:lnTo>
                  <a:lnTo>
                    <a:pt x="588" y="460"/>
                  </a:lnTo>
                  <a:lnTo>
                    <a:pt x="588" y="454"/>
                  </a:lnTo>
                  <a:lnTo>
                    <a:pt x="587" y="450"/>
                  </a:lnTo>
                  <a:lnTo>
                    <a:pt x="584" y="448"/>
                  </a:lnTo>
                  <a:lnTo>
                    <a:pt x="585" y="450"/>
                  </a:lnTo>
                  <a:lnTo>
                    <a:pt x="585" y="453"/>
                  </a:lnTo>
                  <a:lnTo>
                    <a:pt x="585" y="456"/>
                  </a:lnTo>
                  <a:lnTo>
                    <a:pt x="584" y="457"/>
                  </a:lnTo>
                  <a:lnTo>
                    <a:pt x="583" y="455"/>
                  </a:lnTo>
                  <a:lnTo>
                    <a:pt x="582" y="454"/>
                  </a:lnTo>
                  <a:lnTo>
                    <a:pt x="582" y="454"/>
                  </a:lnTo>
                  <a:lnTo>
                    <a:pt x="580" y="455"/>
                  </a:lnTo>
                  <a:lnTo>
                    <a:pt x="580" y="456"/>
                  </a:lnTo>
                  <a:lnTo>
                    <a:pt x="580" y="455"/>
                  </a:lnTo>
                  <a:lnTo>
                    <a:pt x="579" y="453"/>
                  </a:lnTo>
                  <a:lnTo>
                    <a:pt x="580" y="456"/>
                  </a:lnTo>
                  <a:lnTo>
                    <a:pt x="579" y="459"/>
                  </a:lnTo>
                  <a:lnTo>
                    <a:pt x="578" y="456"/>
                  </a:lnTo>
                  <a:lnTo>
                    <a:pt x="577" y="453"/>
                  </a:lnTo>
                  <a:lnTo>
                    <a:pt x="576" y="444"/>
                  </a:lnTo>
                  <a:lnTo>
                    <a:pt x="574" y="440"/>
                  </a:lnTo>
                  <a:lnTo>
                    <a:pt x="572" y="438"/>
                  </a:lnTo>
                  <a:lnTo>
                    <a:pt x="569" y="435"/>
                  </a:lnTo>
                  <a:lnTo>
                    <a:pt x="567" y="432"/>
                  </a:lnTo>
                  <a:lnTo>
                    <a:pt x="569" y="435"/>
                  </a:lnTo>
                  <a:lnTo>
                    <a:pt x="572" y="438"/>
                  </a:lnTo>
                  <a:lnTo>
                    <a:pt x="574" y="440"/>
                  </a:lnTo>
                  <a:lnTo>
                    <a:pt x="574" y="441"/>
                  </a:lnTo>
                  <a:lnTo>
                    <a:pt x="573" y="444"/>
                  </a:lnTo>
                  <a:lnTo>
                    <a:pt x="569" y="450"/>
                  </a:lnTo>
                  <a:lnTo>
                    <a:pt x="566" y="454"/>
                  </a:lnTo>
                  <a:lnTo>
                    <a:pt x="561" y="456"/>
                  </a:lnTo>
                  <a:lnTo>
                    <a:pt x="553" y="459"/>
                  </a:lnTo>
                  <a:lnTo>
                    <a:pt x="546" y="462"/>
                  </a:lnTo>
                  <a:lnTo>
                    <a:pt x="542" y="465"/>
                  </a:lnTo>
                  <a:lnTo>
                    <a:pt x="541" y="469"/>
                  </a:lnTo>
                  <a:lnTo>
                    <a:pt x="541" y="473"/>
                  </a:lnTo>
                  <a:lnTo>
                    <a:pt x="542" y="480"/>
                  </a:lnTo>
                  <a:lnTo>
                    <a:pt x="545" y="485"/>
                  </a:lnTo>
                  <a:lnTo>
                    <a:pt x="547" y="488"/>
                  </a:lnTo>
                  <a:lnTo>
                    <a:pt x="544" y="491"/>
                  </a:lnTo>
                  <a:lnTo>
                    <a:pt x="541" y="494"/>
                  </a:lnTo>
                  <a:lnTo>
                    <a:pt x="541" y="497"/>
                  </a:lnTo>
                  <a:lnTo>
                    <a:pt x="541" y="498"/>
                  </a:lnTo>
                  <a:lnTo>
                    <a:pt x="541" y="499"/>
                  </a:lnTo>
                  <a:lnTo>
                    <a:pt x="539" y="502"/>
                  </a:lnTo>
                  <a:lnTo>
                    <a:pt x="536" y="505"/>
                  </a:lnTo>
                  <a:lnTo>
                    <a:pt x="533" y="508"/>
                  </a:lnTo>
                  <a:lnTo>
                    <a:pt x="530" y="509"/>
                  </a:lnTo>
                  <a:lnTo>
                    <a:pt x="528" y="508"/>
                  </a:lnTo>
                  <a:lnTo>
                    <a:pt x="525" y="505"/>
                  </a:lnTo>
                  <a:lnTo>
                    <a:pt x="529" y="509"/>
                  </a:lnTo>
                  <a:lnTo>
                    <a:pt x="533" y="512"/>
                  </a:lnTo>
                  <a:lnTo>
                    <a:pt x="520" y="518"/>
                  </a:lnTo>
                  <a:lnTo>
                    <a:pt x="507" y="520"/>
                  </a:lnTo>
                  <a:lnTo>
                    <a:pt x="509" y="519"/>
                  </a:lnTo>
                  <a:lnTo>
                    <a:pt x="509" y="516"/>
                  </a:lnTo>
                  <a:lnTo>
                    <a:pt x="509" y="514"/>
                  </a:lnTo>
                  <a:lnTo>
                    <a:pt x="507" y="514"/>
                  </a:lnTo>
                  <a:lnTo>
                    <a:pt x="503" y="516"/>
                  </a:lnTo>
                  <a:lnTo>
                    <a:pt x="501" y="519"/>
                  </a:lnTo>
                  <a:lnTo>
                    <a:pt x="499" y="523"/>
                  </a:lnTo>
                  <a:lnTo>
                    <a:pt x="499" y="526"/>
                  </a:lnTo>
                  <a:lnTo>
                    <a:pt x="501" y="525"/>
                  </a:lnTo>
                  <a:lnTo>
                    <a:pt x="502" y="523"/>
                  </a:lnTo>
                  <a:lnTo>
                    <a:pt x="504" y="521"/>
                  </a:lnTo>
                  <a:lnTo>
                    <a:pt x="505" y="523"/>
                  </a:lnTo>
                  <a:lnTo>
                    <a:pt x="503" y="524"/>
                  </a:lnTo>
                  <a:lnTo>
                    <a:pt x="501" y="526"/>
                  </a:lnTo>
                  <a:lnTo>
                    <a:pt x="498" y="530"/>
                  </a:lnTo>
                  <a:lnTo>
                    <a:pt x="496" y="532"/>
                  </a:lnTo>
                  <a:lnTo>
                    <a:pt x="488" y="542"/>
                  </a:lnTo>
                  <a:lnTo>
                    <a:pt x="482" y="553"/>
                  </a:lnTo>
                  <a:lnTo>
                    <a:pt x="476" y="563"/>
                  </a:lnTo>
                  <a:lnTo>
                    <a:pt x="471" y="568"/>
                  </a:lnTo>
                  <a:lnTo>
                    <a:pt x="465" y="572"/>
                  </a:lnTo>
                  <a:lnTo>
                    <a:pt x="461" y="574"/>
                  </a:lnTo>
                  <a:lnTo>
                    <a:pt x="459" y="579"/>
                  </a:lnTo>
                  <a:lnTo>
                    <a:pt x="455" y="583"/>
                  </a:lnTo>
                  <a:lnTo>
                    <a:pt x="451" y="587"/>
                  </a:lnTo>
                  <a:lnTo>
                    <a:pt x="451" y="588"/>
                  </a:lnTo>
                  <a:lnTo>
                    <a:pt x="450" y="589"/>
                  </a:lnTo>
                  <a:lnTo>
                    <a:pt x="448" y="591"/>
                  </a:lnTo>
                  <a:lnTo>
                    <a:pt x="444" y="594"/>
                  </a:lnTo>
                  <a:lnTo>
                    <a:pt x="437" y="599"/>
                  </a:lnTo>
                  <a:lnTo>
                    <a:pt x="433" y="600"/>
                  </a:lnTo>
                  <a:lnTo>
                    <a:pt x="432" y="601"/>
                  </a:lnTo>
                  <a:lnTo>
                    <a:pt x="428" y="605"/>
                  </a:lnTo>
                  <a:lnTo>
                    <a:pt x="426" y="609"/>
                  </a:lnTo>
                  <a:lnTo>
                    <a:pt x="426" y="612"/>
                  </a:lnTo>
                  <a:lnTo>
                    <a:pt x="427" y="615"/>
                  </a:lnTo>
                  <a:lnTo>
                    <a:pt x="428" y="617"/>
                  </a:lnTo>
                  <a:lnTo>
                    <a:pt x="428" y="621"/>
                  </a:lnTo>
                  <a:lnTo>
                    <a:pt x="423" y="626"/>
                  </a:lnTo>
                  <a:lnTo>
                    <a:pt x="417" y="630"/>
                  </a:lnTo>
                  <a:lnTo>
                    <a:pt x="410" y="631"/>
                  </a:lnTo>
                  <a:lnTo>
                    <a:pt x="402" y="631"/>
                  </a:lnTo>
                  <a:lnTo>
                    <a:pt x="398" y="632"/>
                  </a:lnTo>
                  <a:lnTo>
                    <a:pt x="397" y="637"/>
                  </a:lnTo>
                  <a:lnTo>
                    <a:pt x="395" y="643"/>
                  </a:lnTo>
                  <a:lnTo>
                    <a:pt x="394" y="647"/>
                  </a:lnTo>
                  <a:lnTo>
                    <a:pt x="392" y="649"/>
                  </a:lnTo>
                  <a:lnTo>
                    <a:pt x="390" y="647"/>
                  </a:lnTo>
                  <a:lnTo>
                    <a:pt x="389" y="642"/>
                  </a:lnTo>
                  <a:lnTo>
                    <a:pt x="389" y="647"/>
                  </a:lnTo>
                  <a:lnTo>
                    <a:pt x="387" y="652"/>
                  </a:lnTo>
                  <a:lnTo>
                    <a:pt x="387" y="648"/>
                  </a:lnTo>
                  <a:lnTo>
                    <a:pt x="386" y="647"/>
                  </a:lnTo>
                  <a:lnTo>
                    <a:pt x="381" y="647"/>
                  </a:lnTo>
                  <a:lnTo>
                    <a:pt x="376" y="648"/>
                  </a:lnTo>
                  <a:lnTo>
                    <a:pt x="373" y="652"/>
                  </a:lnTo>
                  <a:lnTo>
                    <a:pt x="370" y="657"/>
                  </a:lnTo>
                  <a:lnTo>
                    <a:pt x="368" y="664"/>
                  </a:lnTo>
                  <a:lnTo>
                    <a:pt x="366" y="670"/>
                  </a:lnTo>
                  <a:lnTo>
                    <a:pt x="368" y="675"/>
                  </a:lnTo>
                  <a:lnTo>
                    <a:pt x="370" y="685"/>
                  </a:lnTo>
                  <a:lnTo>
                    <a:pt x="373" y="695"/>
                  </a:lnTo>
                  <a:lnTo>
                    <a:pt x="374" y="709"/>
                  </a:lnTo>
                  <a:lnTo>
                    <a:pt x="378" y="724"/>
                  </a:lnTo>
                  <a:lnTo>
                    <a:pt x="376" y="722"/>
                  </a:lnTo>
                  <a:lnTo>
                    <a:pt x="375" y="719"/>
                  </a:lnTo>
                  <a:lnTo>
                    <a:pt x="374" y="718"/>
                  </a:lnTo>
                  <a:lnTo>
                    <a:pt x="373" y="719"/>
                  </a:lnTo>
                  <a:lnTo>
                    <a:pt x="373" y="721"/>
                  </a:lnTo>
                  <a:lnTo>
                    <a:pt x="371" y="719"/>
                  </a:lnTo>
                  <a:lnTo>
                    <a:pt x="371" y="719"/>
                  </a:lnTo>
                  <a:lnTo>
                    <a:pt x="371" y="722"/>
                  </a:lnTo>
                  <a:lnTo>
                    <a:pt x="373" y="723"/>
                  </a:lnTo>
                  <a:lnTo>
                    <a:pt x="376" y="725"/>
                  </a:lnTo>
                  <a:lnTo>
                    <a:pt x="379" y="728"/>
                  </a:lnTo>
                  <a:lnTo>
                    <a:pt x="380" y="733"/>
                  </a:lnTo>
                  <a:lnTo>
                    <a:pt x="380" y="739"/>
                  </a:lnTo>
                  <a:lnTo>
                    <a:pt x="379" y="745"/>
                  </a:lnTo>
                  <a:lnTo>
                    <a:pt x="379" y="750"/>
                  </a:lnTo>
                  <a:lnTo>
                    <a:pt x="376" y="756"/>
                  </a:lnTo>
                  <a:lnTo>
                    <a:pt x="374" y="762"/>
                  </a:lnTo>
                  <a:lnTo>
                    <a:pt x="369" y="775"/>
                  </a:lnTo>
                  <a:lnTo>
                    <a:pt x="368" y="781"/>
                  </a:lnTo>
                  <a:lnTo>
                    <a:pt x="368" y="787"/>
                  </a:lnTo>
                  <a:lnTo>
                    <a:pt x="368" y="792"/>
                  </a:lnTo>
                  <a:lnTo>
                    <a:pt x="365" y="797"/>
                  </a:lnTo>
                  <a:lnTo>
                    <a:pt x="368" y="796"/>
                  </a:lnTo>
                  <a:lnTo>
                    <a:pt x="370" y="802"/>
                  </a:lnTo>
                  <a:lnTo>
                    <a:pt x="370" y="808"/>
                  </a:lnTo>
                  <a:lnTo>
                    <a:pt x="371" y="819"/>
                  </a:lnTo>
                  <a:lnTo>
                    <a:pt x="371" y="830"/>
                  </a:lnTo>
                  <a:lnTo>
                    <a:pt x="366" y="829"/>
                  </a:lnTo>
                  <a:lnTo>
                    <a:pt x="369" y="830"/>
                  </a:lnTo>
                  <a:lnTo>
                    <a:pt x="369" y="830"/>
                  </a:lnTo>
                  <a:lnTo>
                    <a:pt x="369" y="831"/>
                  </a:lnTo>
                  <a:lnTo>
                    <a:pt x="366" y="830"/>
                  </a:lnTo>
                  <a:lnTo>
                    <a:pt x="365" y="830"/>
                  </a:lnTo>
                  <a:lnTo>
                    <a:pt x="360" y="829"/>
                  </a:lnTo>
                  <a:lnTo>
                    <a:pt x="358" y="830"/>
                  </a:lnTo>
                  <a:lnTo>
                    <a:pt x="357" y="831"/>
                  </a:lnTo>
                  <a:lnTo>
                    <a:pt x="355" y="835"/>
                  </a:lnTo>
                  <a:lnTo>
                    <a:pt x="355" y="837"/>
                  </a:lnTo>
                  <a:lnTo>
                    <a:pt x="355" y="840"/>
                  </a:lnTo>
                  <a:lnTo>
                    <a:pt x="354" y="841"/>
                  </a:lnTo>
                  <a:lnTo>
                    <a:pt x="351" y="846"/>
                  </a:lnTo>
                  <a:lnTo>
                    <a:pt x="349" y="850"/>
                  </a:lnTo>
                  <a:lnTo>
                    <a:pt x="347" y="855"/>
                  </a:lnTo>
                  <a:lnTo>
                    <a:pt x="347" y="859"/>
                  </a:lnTo>
                  <a:lnTo>
                    <a:pt x="351" y="863"/>
                  </a:lnTo>
                  <a:lnTo>
                    <a:pt x="354" y="863"/>
                  </a:lnTo>
                  <a:lnTo>
                    <a:pt x="357" y="863"/>
                  </a:lnTo>
                  <a:lnTo>
                    <a:pt x="358" y="863"/>
                  </a:lnTo>
                  <a:lnTo>
                    <a:pt x="360" y="864"/>
                  </a:lnTo>
                  <a:lnTo>
                    <a:pt x="362" y="867"/>
                  </a:lnTo>
                  <a:lnTo>
                    <a:pt x="362" y="868"/>
                  </a:lnTo>
                  <a:lnTo>
                    <a:pt x="355" y="864"/>
                  </a:lnTo>
                  <a:lnTo>
                    <a:pt x="348" y="864"/>
                  </a:lnTo>
                  <a:lnTo>
                    <a:pt x="341" y="867"/>
                  </a:lnTo>
                  <a:lnTo>
                    <a:pt x="333" y="869"/>
                  </a:lnTo>
                  <a:lnTo>
                    <a:pt x="331" y="872"/>
                  </a:lnTo>
                  <a:lnTo>
                    <a:pt x="328" y="874"/>
                  </a:lnTo>
                  <a:lnTo>
                    <a:pt x="326" y="879"/>
                  </a:lnTo>
                  <a:lnTo>
                    <a:pt x="326" y="887"/>
                  </a:lnTo>
                  <a:lnTo>
                    <a:pt x="323" y="893"/>
                  </a:lnTo>
                  <a:lnTo>
                    <a:pt x="317" y="898"/>
                  </a:lnTo>
                  <a:lnTo>
                    <a:pt x="311" y="901"/>
                  </a:lnTo>
                  <a:lnTo>
                    <a:pt x="306" y="902"/>
                  </a:lnTo>
                  <a:lnTo>
                    <a:pt x="303" y="901"/>
                  </a:lnTo>
                  <a:lnTo>
                    <a:pt x="299" y="900"/>
                  </a:lnTo>
                  <a:lnTo>
                    <a:pt x="295" y="896"/>
                  </a:lnTo>
                  <a:lnTo>
                    <a:pt x="294" y="895"/>
                  </a:lnTo>
                  <a:lnTo>
                    <a:pt x="291" y="893"/>
                  </a:lnTo>
                  <a:lnTo>
                    <a:pt x="285" y="885"/>
                  </a:lnTo>
                  <a:lnTo>
                    <a:pt x="283" y="882"/>
                  </a:lnTo>
                  <a:lnTo>
                    <a:pt x="280" y="878"/>
                  </a:lnTo>
                  <a:lnTo>
                    <a:pt x="279" y="875"/>
                  </a:lnTo>
                  <a:lnTo>
                    <a:pt x="280" y="874"/>
                  </a:lnTo>
                  <a:lnTo>
                    <a:pt x="278" y="873"/>
                  </a:lnTo>
                  <a:lnTo>
                    <a:pt x="275" y="871"/>
                  </a:lnTo>
                  <a:lnTo>
                    <a:pt x="273" y="866"/>
                  </a:lnTo>
                  <a:lnTo>
                    <a:pt x="272" y="862"/>
                  </a:lnTo>
                  <a:lnTo>
                    <a:pt x="268" y="852"/>
                  </a:lnTo>
                  <a:lnTo>
                    <a:pt x="268" y="847"/>
                  </a:lnTo>
                  <a:lnTo>
                    <a:pt x="268" y="841"/>
                  </a:lnTo>
                  <a:lnTo>
                    <a:pt x="271" y="846"/>
                  </a:lnTo>
                  <a:lnTo>
                    <a:pt x="271" y="850"/>
                  </a:lnTo>
                  <a:lnTo>
                    <a:pt x="271" y="848"/>
                  </a:lnTo>
                  <a:lnTo>
                    <a:pt x="271" y="848"/>
                  </a:lnTo>
                  <a:lnTo>
                    <a:pt x="272" y="851"/>
                  </a:lnTo>
                  <a:lnTo>
                    <a:pt x="272" y="855"/>
                  </a:lnTo>
                  <a:lnTo>
                    <a:pt x="274" y="857"/>
                  </a:lnTo>
                  <a:lnTo>
                    <a:pt x="273" y="851"/>
                  </a:lnTo>
                  <a:lnTo>
                    <a:pt x="272" y="845"/>
                  </a:lnTo>
                  <a:lnTo>
                    <a:pt x="269" y="841"/>
                  </a:lnTo>
                  <a:lnTo>
                    <a:pt x="268" y="837"/>
                  </a:lnTo>
                  <a:lnTo>
                    <a:pt x="268" y="839"/>
                  </a:lnTo>
                  <a:lnTo>
                    <a:pt x="267" y="840"/>
                  </a:lnTo>
                  <a:lnTo>
                    <a:pt x="267" y="840"/>
                  </a:lnTo>
                  <a:lnTo>
                    <a:pt x="266" y="837"/>
                  </a:lnTo>
                  <a:lnTo>
                    <a:pt x="266" y="836"/>
                  </a:lnTo>
                  <a:lnTo>
                    <a:pt x="264" y="831"/>
                  </a:lnTo>
                  <a:lnTo>
                    <a:pt x="262" y="828"/>
                  </a:lnTo>
                  <a:lnTo>
                    <a:pt x="255" y="807"/>
                  </a:lnTo>
                  <a:lnTo>
                    <a:pt x="253" y="804"/>
                  </a:lnTo>
                  <a:lnTo>
                    <a:pt x="251" y="800"/>
                  </a:lnTo>
                  <a:lnTo>
                    <a:pt x="246" y="791"/>
                  </a:lnTo>
                  <a:lnTo>
                    <a:pt x="241" y="781"/>
                  </a:lnTo>
                  <a:lnTo>
                    <a:pt x="239" y="778"/>
                  </a:lnTo>
                  <a:lnTo>
                    <a:pt x="239" y="776"/>
                  </a:lnTo>
                  <a:lnTo>
                    <a:pt x="231" y="766"/>
                  </a:lnTo>
                  <a:lnTo>
                    <a:pt x="225" y="756"/>
                  </a:lnTo>
                  <a:lnTo>
                    <a:pt x="221" y="745"/>
                  </a:lnTo>
                  <a:lnTo>
                    <a:pt x="218" y="733"/>
                  </a:lnTo>
                  <a:lnTo>
                    <a:pt x="216" y="725"/>
                  </a:lnTo>
                  <a:lnTo>
                    <a:pt x="214" y="718"/>
                  </a:lnTo>
                  <a:lnTo>
                    <a:pt x="209" y="707"/>
                  </a:lnTo>
                  <a:lnTo>
                    <a:pt x="209" y="705"/>
                  </a:lnTo>
                  <a:lnTo>
                    <a:pt x="208" y="702"/>
                  </a:lnTo>
                  <a:lnTo>
                    <a:pt x="208" y="700"/>
                  </a:lnTo>
                  <a:lnTo>
                    <a:pt x="209" y="700"/>
                  </a:lnTo>
                  <a:lnTo>
                    <a:pt x="207" y="698"/>
                  </a:lnTo>
                  <a:lnTo>
                    <a:pt x="205" y="695"/>
                  </a:lnTo>
                  <a:lnTo>
                    <a:pt x="204" y="691"/>
                  </a:lnTo>
                  <a:lnTo>
                    <a:pt x="203" y="687"/>
                  </a:lnTo>
                  <a:lnTo>
                    <a:pt x="200" y="686"/>
                  </a:lnTo>
                  <a:lnTo>
                    <a:pt x="198" y="684"/>
                  </a:lnTo>
                  <a:lnTo>
                    <a:pt x="197" y="681"/>
                  </a:lnTo>
                  <a:lnTo>
                    <a:pt x="198" y="680"/>
                  </a:lnTo>
                  <a:lnTo>
                    <a:pt x="199" y="680"/>
                  </a:lnTo>
                  <a:lnTo>
                    <a:pt x="197" y="680"/>
                  </a:lnTo>
                  <a:lnTo>
                    <a:pt x="194" y="679"/>
                  </a:lnTo>
                  <a:lnTo>
                    <a:pt x="192" y="673"/>
                  </a:lnTo>
                  <a:lnTo>
                    <a:pt x="189" y="666"/>
                  </a:lnTo>
                  <a:lnTo>
                    <a:pt x="187" y="663"/>
                  </a:lnTo>
                  <a:lnTo>
                    <a:pt x="187" y="663"/>
                  </a:lnTo>
                  <a:lnTo>
                    <a:pt x="189" y="662"/>
                  </a:lnTo>
                  <a:lnTo>
                    <a:pt x="187" y="662"/>
                  </a:lnTo>
                  <a:lnTo>
                    <a:pt x="186" y="659"/>
                  </a:lnTo>
                  <a:lnTo>
                    <a:pt x="184" y="655"/>
                  </a:lnTo>
                  <a:lnTo>
                    <a:pt x="183" y="653"/>
                  </a:lnTo>
                  <a:lnTo>
                    <a:pt x="180" y="649"/>
                  </a:lnTo>
                  <a:lnTo>
                    <a:pt x="175" y="639"/>
                  </a:lnTo>
                  <a:lnTo>
                    <a:pt x="170" y="628"/>
                  </a:lnTo>
                  <a:lnTo>
                    <a:pt x="167" y="620"/>
                  </a:lnTo>
                  <a:lnTo>
                    <a:pt x="167" y="612"/>
                  </a:lnTo>
                  <a:lnTo>
                    <a:pt x="165" y="604"/>
                  </a:lnTo>
                  <a:lnTo>
                    <a:pt x="162" y="595"/>
                  </a:lnTo>
                  <a:lnTo>
                    <a:pt x="161" y="588"/>
                  </a:lnTo>
                  <a:lnTo>
                    <a:pt x="157" y="580"/>
                  </a:lnTo>
                  <a:lnTo>
                    <a:pt x="156" y="577"/>
                  </a:lnTo>
                  <a:lnTo>
                    <a:pt x="154" y="572"/>
                  </a:lnTo>
                  <a:lnTo>
                    <a:pt x="154" y="569"/>
                  </a:lnTo>
                  <a:lnTo>
                    <a:pt x="155" y="568"/>
                  </a:lnTo>
                  <a:lnTo>
                    <a:pt x="156" y="568"/>
                  </a:lnTo>
                  <a:lnTo>
                    <a:pt x="154" y="566"/>
                  </a:lnTo>
                  <a:lnTo>
                    <a:pt x="153" y="563"/>
                  </a:lnTo>
                  <a:lnTo>
                    <a:pt x="151" y="561"/>
                  </a:lnTo>
                  <a:lnTo>
                    <a:pt x="153" y="561"/>
                  </a:lnTo>
                  <a:lnTo>
                    <a:pt x="154" y="561"/>
                  </a:lnTo>
                  <a:lnTo>
                    <a:pt x="153" y="558"/>
                  </a:lnTo>
                  <a:lnTo>
                    <a:pt x="151" y="556"/>
                  </a:lnTo>
                  <a:lnTo>
                    <a:pt x="150" y="552"/>
                  </a:lnTo>
                  <a:lnTo>
                    <a:pt x="150" y="550"/>
                  </a:lnTo>
                  <a:lnTo>
                    <a:pt x="153" y="552"/>
                  </a:lnTo>
                  <a:lnTo>
                    <a:pt x="153" y="548"/>
                  </a:lnTo>
                  <a:lnTo>
                    <a:pt x="150" y="546"/>
                  </a:lnTo>
                  <a:lnTo>
                    <a:pt x="153" y="545"/>
                  </a:lnTo>
                  <a:lnTo>
                    <a:pt x="153" y="542"/>
                  </a:lnTo>
                  <a:lnTo>
                    <a:pt x="151" y="537"/>
                  </a:lnTo>
                  <a:lnTo>
                    <a:pt x="149" y="544"/>
                  </a:lnTo>
                  <a:lnTo>
                    <a:pt x="148" y="540"/>
                  </a:lnTo>
                  <a:lnTo>
                    <a:pt x="148" y="535"/>
                  </a:lnTo>
                  <a:lnTo>
                    <a:pt x="149" y="534"/>
                  </a:lnTo>
                  <a:lnTo>
                    <a:pt x="151" y="534"/>
                  </a:lnTo>
                  <a:lnTo>
                    <a:pt x="154" y="536"/>
                  </a:lnTo>
                  <a:lnTo>
                    <a:pt x="151" y="534"/>
                  </a:lnTo>
                  <a:lnTo>
                    <a:pt x="148" y="532"/>
                  </a:lnTo>
                  <a:lnTo>
                    <a:pt x="145" y="530"/>
                  </a:lnTo>
                  <a:lnTo>
                    <a:pt x="145" y="528"/>
                  </a:lnTo>
                  <a:lnTo>
                    <a:pt x="145" y="526"/>
                  </a:lnTo>
                  <a:lnTo>
                    <a:pt x="144" y="524"/>
                  </a:lnTo>
                  <a:lnTo>
                    <a:pt x="143" y="521"/>
                  </a:lnTo>
                  <a:lnTo>
                    <a:pt x="141" y="519"/>
                  </a:lnTo>
                  <a:lnTo>
                    <a:pt x="140" y="513"/>
                  </a:lnTo>
                  <a:lnTo>
                    <a:pt x="140" y="505"/>
                  </a:lnTo>
                  <a:lnTo>
                    <a:pt x="144" y="494"/>
                  </a:lnTo>
                  <a:lnTo>
                    <a:pt x="145" y="489"/>
                  </a:lnTo>
                  <a:lnTo>
                    <a:pt x="144" y="483"/>
                  </a:lnTo>
                  <a:lnTo>
                    <a:pt x="143" y="481"/>
                  </a:lnTo>
                  <a:lnTo>
                    <a:pt x="141" y="477"/>
                  </a:lnTo>
                  <a:lnTo>
                    <a:pt x="140" y="473"/>
                  </a:lnTo>
                  <a:lnTo>
                    <a:pt x="139" y="473"/>
                  </a:lnTo>
                  <a:lnTo>
                    <a:pt x="138" y="475"/>
                  </a:lnTo>
                  <a:lnTo>
                    <a:pt x="138" y="472"/>
                  </a:lnTo>
                  <a:lnTo>
                    <a:pt x="138" y="472"/>
                  </a:lnTo>
                  <a:lnTo>
                    <a:pt x="135" y="475"/>
                  </a:lnTo>
                  <a:lnTo>
                    <a:pt x="137" y="472"/>
                  </a:lnTo>
                  <a:lnTo>
                    <a:pt x="135" y="470"/>
                  </a:lnTo>
                  <a:lnTo>
                    <a:pt x="134" y="469"/>
                  </a:lnTo>
                  <a:lnTo>
                    <a:pt x="134" y="466"/>
                  </a:lnTo>
                  <a:lnTo>
                    <a:pt x="135" y="460"/>
                  </a:lnTo>
                  <a:lnTo>
                    <a:pt x="138" y="459"/>
                  </a:lnTo>
                  <a:lnTo>
                    <a:pt x="141" y="456"/>
                  </a:lnTo>
                  <a:lnTo>
                    <a:pt x="145" y="454"/>
                  </a:lnTo>
                  <a:lnTo>
                    <a:pt x="148" y="451"/>
                  </a:lnTo>
                  <a:lnTo>
                    <a:pt x="141" y="454"/>
                  </a:lnTo>
                  <a:lnTo>
                    <a:pt x="134" y="454"/>
                  </a:lnTo>
                  <a:lnTo>
                    <a:pt x="132" y="453"/>
                  </a:lnTo>
                  <a:lnTo>
                    <a:pt x="132" y="450"/>
                  </a:lnTo>
                  <a:lnTo>
                    <a:pt x="132" y="448"/>
                  </a:lnTo>
                  <a:lnTo>
                    <a:pt x="135" y="445"/>
                  </a:lnTo>
                  <a:lnTo>
                    <a:pt x="132" y="445"/>
                  </a:lnTo>
                  <a:lnTo>
                    <a:pt x="129" y="445"/>
                  </a:lnTo>
                  <a:lnTo>
                    <a:pt x="128" y="443"/>
                  </a:lnTo>
                  <a:lnTo>
                    <a:pt x="129" y="440"/>
                  </a:lnTo>
                  <a:lnTo>
                    <a:pt x="132" y="438"/>
                  </a:lnTo>
                  <a:lnTo>
                    <a:pt x="134" y="438"/>
                  </a:lnTo>
                  <a:lnTo>
                    <a:pt x="137" y="438"/>
                  </a:lnTo>
                  <a:lnTo>
                    <a:pt x="138" y="437"/>
                  </a:lnTo>
                  <a:lnTo>
                    <a:pt x="134" y="437"/>
                  </a:lnTo>
                  <a:lnTo>
                    <a:pt x="130" y="437"/>
                  </a:lnTo>
                  <a:lnTo>
                    <a:pt x="127" y="434"/>
                  </a:lnTo>
                  <a:lnTo>
                    <a:pt x="124" y="432"/>
                  </a:lnTo>
                  <a:lnTo>
                    <a:pt x="123" y="433"/>
                  </a:lnTo>
                  <a:lnTo>
                    <a:pt x="122" y="434"/>
                  </a:lnTo>
                  <a:lnTo>
                    <a:pt x="121" y="434"/>
                  </a:lnTo>
                  <a:lnTo>
                    <a:pt x="121" y="434"/>
                  </a:lnTo>
                  <a:lnTo>
                    <a:pt x="122" y="437"/>
                  </a:lnTo>
                  <a:lnTo>
                    <a:pt x="123" y="439"/>
                  </a:lnTo>
                  <a:lnTo>
                    <a:pt x="121" y="443"/>
                  </a:lnTo>
                  <a:lnTo>
                    <a:pt x="117" y="445"/>
                  </a:lnTo>
                  <a:lnTo>
                    <a:pt x="119" y="448"/>
                  </a:lnTo>
                  <a:lnTo>
                    <a:pt x="117" y="448"/>
                  </a:lnTo>
                  <a:lnTo>
                    <a:pt x="114" y="450"/>
                  </a:lnTo>
                  <a:lnTo>
                    <a:pt x="119" y="453"/>
                  </a:lnTo>
                  <a:lnTo>
                    <a:pt x="123" y="456"/>
                  </a:lnTo>
                  <a:lnTo>
                    <a:pt x="123" y="460"/>
                  </a:lnTo>
                  <a:lnTo>
                    <a:pt x="121" y="465"/>
                  </a:lnTo>
                  <a:lnTo>
                    <a:pt x="119" y="470"/>
                  </a:lnTo>
                  <a:lnTo>
                    <a:pt x="118" y="471"/>
                  </a:lnTo>
                  <a:lnTo>
                    <a:pt x="117" y="472"/>
                  </a:lnTo>
                  <a:lnTo>
                    <a:pt x="111" y="476"/>
                  </a:lnTo>
                  <a:lnTo>
                    <a:pt x="105" y="480"/>
                  </a:lnTo>
                  <a:lnTo>
                    <a:pt x="100" y="482"/>
                  </a:lnTo>
                  <a:lnTo>
                    <a:pt x="93" y="486"/>
                  </a:lnTo>
                  <a:lnTo>
                    <a:pt x="87" y="487"/>
                  </a:lnTo>
                  <a:lnTo>
                    <a:pt x="81" y="486"/>
                  </a:lnTo>
                  <a:lnTo>
                    <a:pt x="75" y="483"/>
                  </a:lnTo>
                  <a:lnTo>
                    <a:pt x="69" y="478"/>
                  </a:lnTo>
                  <a:lnTo>
                    <a:pt x="63" y="473"/>
                  </a:lnTo>
                  <a:lnTo>
                    <a:pt x="58" y="469"/>
                  </a:lnTo>
                  <a:lnTo>
                    <a:pt x="52" y="461"/>
                  </a:lnTo>
                  <a:lnTo>
                    <a:pt x="46" y="454"/>
                  </a:lnTo>
                  <a:lnTo>
                    <a:pt x="31" y="441"/>
                  </a:lnTo>
                  <a:lnTo>
                    <a:pt x="30" y="439"/>
                  </a:lnTo>
                  <a:lnTo>
                    <a:pt x="27" y="434"/>
                  </a:lnTo>
                  <a:lnTo>
                    <a:pt x="27" y="432"/>
                  </a:lnTo>
                  <a:lnTo>
                    <a:pt x="27" y="430"/>
                  </a:lnTo>
                  <a:lnTo>
                    <a:pt x="30" y="429"/>
                  </a:lnTo>
                  <a:lnTo>
                    <a:pt x="31" y="429"/>
                  </a:lnTo>
                  <a:lnTo>
                    <a:pt x="32" y="432"/>
                  </a:lnTo>
                  <a:lnTo>
                    <a:pt x="33" y="434"/>
                  </a:lnTo>
                  <a:lnTo>
                    <a:pt x="39" y="434"/>
                  </a:lnTo>
                  <a:lnTo>
                    <a:pt x="41" y="433"/>
                  </a:lnTo>
                  <a:lnTo>
                    <a:pt x="42" y="430"/>
                  </a:lnTo>
                  <a:lnTo>
                    <a:pt x="46" y="432"/>
                  </a:lnTo>
                  <a:lnTo>
                    <a:pt x="52" y="429"/>
                  </a:lnTo>
                  <a:lnTo>
                    <a:pt x="58" y="427"/>
                  </a:lnTo>
                  <a:lnTo>
                    <a:pt x="62" y="424"/>
                  </a:lnTo>
                  <a:lnTo>
                    <a:pt x="63" y="419"/>
                  </a:lnTo>
                  <a:lnTo>
                    <a:pt x="65" y="416"/>
                  </a:lnTo>
                  <a:lnTo>
                    <a:pt x="68" y="411"/>
                  </a:lnTo>
                  <a:lnTo>
                    <a:pt x="69" y="410"/>
                  </a:lnTo>
                  <a:lnTo>
                    <a:pt x="68" y="407"/>
                  </a:lnTo>
                  <a:lnTo>
                    <a:pt x="66" y="408"/>
                  </a:lnTo>
                  <a:lnTo>
                    <a:pt x="66" y="411"/>
                  </a:lnTo>
                  <a:lnTo>
                    <a:pt x="65" y="412"/>
                  </a:lnTo>
                  <a:lnTo>
                    <a:pt x="64" y="413"/>
                  </a:lnTo>
                  <a:lnTo>
                    <a:pt x="58" y="413"/>
                  </a:lnTo>
                  <a:lnTo>
                    <a:pt x="52" y="416"/>
                  </a:lnTo>
                  <a:lnTo>
                    <a:pt x="48" y="418"/>
                  </a:lnTo>
                  <a:lnTo>
                    <a:pt x="47" y="419"/>
                  </a:lnTo>
                  <a:lnTo>
                    <a:pt x="44" y="419"/>
                  </a:lnTo>
                  <a:lnTo>
                    <a:pt x="37" y="418"/>
                  </a:lnTo>
                  <a:lnTo>
                    <a:pt x="31" y="414"/>
                  </a:lnTo>
                  <a:lnTo>
                    <a:pt x="25" y="412"/>
                  </a:lnTo>
                  <a:lnTo>
                    <a:pt x="18" y="408"/>
                  </a:lnTo>
                  <a:lnTo>
                    <a:pt x="15" y="403"/>
                  </a:lnTo>
                  <a:lnTo>
                    <a:pt x="14" y="401"/>
                  </a:lnTo>
                  <a:lnTo>
                    <a:pt x="11" y="400"/>
                  </a:lnTo>
                  <a:lnTo>
                    <a:pt x="7" y="397"/>
                  </a:lnTo>
                  <a:lnTo>
                    <a:pt x="6" y="395"/>
                  </a:lnTo>
                  <a:lnTo>
                    <a:pt x="7" y="394"/>
                  </a:lnTo>
                  <a:lnTo>
                    <a:pt x="9" y="391"/>
                  </a:lnTo>
                  <a:lnTo>
                    <a:pt x="12" y="386"/>
                  </a:lnTo>
                  <a:lnTo>
                    <a:pt x="17" y="382"/>
                  </a:lnTo>
                  <a:lnTo>
                    <a:pt x="12" y="385"/>
                  </a:lnTo>
                  <a:lnTo>
                    <a:pt x="9" y="389"/>
                  </a:lnTo>
                  <a:lnTo>
                    <a:pt x="5" y="391"/>
                  </a:lnTo>
                  <a:lnTo>
                    <a:pt x="2" y="392"/>
                  </a:lnTo>
                  <a:lnTo>
                    <a:pt x="0" y="391"/>
                  </a:lnTo>
                  <a:lnTo>
                    <a:pt x="1" y="389"/>
                  </a:lnTo>
                  <a:lnTo>
                    <a:pt x="0" y="386"/>
                  </a:lnTo>
                  <a:lnTo>
                    <a:pt x="0" y="38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5" name="Freeform 1008">
              <a:extLst>
                <a:ext uri="{FF2B5EF4-FFF2-40B4-BE49-F238E27FC236}">
                  <a16:creationId xmlns:a16="http://schemas.microsoft.com/office/drawing/2014/main" id="{7170A1FF-4337-4B1A-9B6B-D7040B5ADA76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8510" y="3238142"/>
              <a:ext cx="2109" cy="4216"/>
            </a:xfrm>
            <a:custGeom>
              <a:avLst/>
              <a:gdLst>
                <a:gd name="T0" fmla="*/ 3 w 3"/>
                <a:gd name="T1" fmla="*/ 2 h 2"/>
                <a:gd name="T2" fmla="*/ 3 w 3"/>
                <a:gd name="T3" fmla="*/ 0 h 2"/>
                <a:gd name="T4" fmla="*/ 0 w 3"/>
                <a:gd name="T5" fmla="*/ 0 h 2"/>
                <a:gd name="T6" fmla="*/ 3 w 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6" name="Freeform 1010">
              <a:extLst>
                <a:ext uri="{FF2B5EF4-FFF2-40B4-BE49-F238E27FC236}">
                  <a16:creationId xmlns:a16="http://schemas.microsoft.com/office/drawing/2014/main" id="{38512FA9-02F7-401A-B997-9502C41801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262236" y="3244465"/>
              <a:ext cx="4216" cy="0"/>
            </a:xfrm>
            <a:custGeom>
              <a:avLst/>
              <a:gdLst>
                <a:gd name="T0" fmla="*/ 2 w 2"/>
                <a:gd name="T1" fmla="*/ 1 h 1"/>
                <a:gd name="T2" fmla="*/ 0 w 2"/>
                <a:gd name="T3" fmla="*/ 0 h 1"/>
                <a:gd name="T4" fmla="*/ 2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lnTo>
                    <a:pt x="0" y="0"/>
                  </a:lnTo>
                  <a:lnTo>
                    <a:pt x="2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7" name="Freeform 1011">
              <a:extLst>
                <a:ext uri="{FF2B5EF4-FFF2-40B4-BE49-F238E27FC236}">
                  <a16:creationId xmlns:a16="http://schemas.microsoft.com/office/drawing/2014/main" id="{678F5049-CD75-4CCC-AE8C-5D001D8E4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5473" y="3503737"/>
              <a:ext cx="23188" cy="10540"/>
            </a:xfrm>
            <a:custGeom>
              <a:avLst/>
              <a:gdLst>
                <a:gd name="T0" fmla="*/ 0 w 23"/>
                <a:gd name="T1" fmla="*/ 0 h 11"/>
                <a:gd name="T2" fmla="*/ 5 w 23"/>
                <a:gd name="T3" fmla="*/ 3 h 11"/>
                <a:gd name="T4" fmla="*/ 11 w 23"/>
                <a:gd name="T5" fmla="*/ 8 h 11"/>
                <a:gd name="T6" fmla="*/ 17 w 23"/>
                <a:gd name="T7" fmla="*/ 11 h 11"/>
                <a:gd name="T8" fmla="*/ 21 w 23"/>
                <a:gd name="T9" fmla="*/ 11 h 11"/>
                <a:gd name="T10" fmla="*/ 23 w 23"/>
                <a:gd name="T11" fmla="*/ 9 h 11"/>
                <a:gd name="T12" fmla="*/ 18 w 23"/>
                <a:gd name="T13" fmla="*/ 6 h 11"/>
                <a:gd name="T14" fmla="*/ 12 w 23"/>
                <a:gd name="T15" fmla="*/ 2 h 11"/>
                <a:gd name="T16" fmla="*/ 5 w 23"/>
                <a:gd name="T17" fmla="*/ 0 h 11"/>
                <a:gd name="T18" fmla="*/ 2 w 23"/>
                <a:gd name="T19" fmla="*/ 0 h 11"/>
                <a:gd name="T20" fmla="*/ 0 w 23"/>
                <a:gd name="T2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" h="11">
                  <a:moveTo>
                    <a:pt x="0" y="0"/>
                  </a:moveTo>
                  <a:lnTo>
                    <a:pt x="5" y="3"/>
                  </a:lnTo>
                  <a:lnTo>
                    <a:pt x="11" y="8"/>
                  </a:lnTo>
                  <a:lnTo>
                    <a:pt x="17" y="11"/>
                  </a:lnTo>
                  <a:lnTo>
                    <a:pt x="21" y="11"/>
                  </a:lnTo>
                  <a:lnTo>
                    <a:pt x="23" y="9"/>
                  </a:lnTo>
                  <a:lnTo>
                    <a:pt x="18" y="6"/>
                  </a:lnTo>
                  <a:lnTo>
                    <a:pt x="12" y="2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8" name="Freeform 1012">
              <a:extLst>
                <a:ext uri="{FF2B5EF4-FFF2-40B4-BE49-F238E27FC236}">
                  <a16:creationId xmlns:a16="http://schemas.microsoft.com/office/drawing/2014/main" id="{83D94A16-D126-4CA3-944B-2D020DE8496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1308" y="3630211"/>
              <a:ext cx="4216" cy="4216"/>
            </a:xfrm>
            <a:custGeom>
              <a:avLst/>
              <a:gdLst>
                <a:gd name="T0" fmla="*/ 0 w 4"/>
                <a:gd name="T1" fmla="*/ 3 h 4"/>
                <a:gd name="T2" fmla="*/ 1 w 4"/>
                <a:gd name="T3" fmla="*/ 4 h 4"/>
                <a:gd name="T4" fmla="*/ 4 w 4"/>
                <a:gd name="T5" fmla="*/ 1 h 4"/>
                <a:gd name="T6" fmla="*/ 2 w 4"/>
                <a:gd name="T7" fmla="*/ 0 h 4"/>
                <a:gd name="T8" fmla="*/ 1 w 4"/>
                <a:gd name="T9" fmla="*/ 0 h 4"/>
                <a:gd name="T10" fmla="*/ 0 w 4"/>
                <a:gd name="T1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lnTo>
                    <a:pt x="1" y="4"/>
                  </a:lnTo>
                  <a:lnTo>
                    <a:pt x="4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9" name="Freeform 1013">
              <a:extLst>
                <a:ext uri="{FF2B5EF4-FFF2-40B4-BE49-F238E27FC236}">
                  <a16:creationId xmlns:a16="http://schemas.microsoft.com/office/drawing/2014/main" id="{F65C9844-C23C-499E-B841-E5D7D854E4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7631" y="3560650"/>
              <a:ext cx="10540" cy="6324"/>
            </a:xfrm>
            <a:custGeom>
              <a:avLst/>
              <a:gdLst>
                <a:gd name="T0" fmla="*/ 1 w 10"/>
                <a:gd name="T1" fmla="*/ 4 h 5"/>
                <a:gd name="T2" fmla="*/ 6 w 10"/>
                <a:gd name="T3" fmla="*/ 5 h 5"/>
                <a:gd name="T4" fmla="*/ 9 w 10"/>
                <a:gd name="T5" fmla="*/ 5 h 5"/>
                <a:gd name="T6" fmla="*/ 10 w 10"/>
                <a:gd name="T7" fmla="*/ 4 h 5"/>
                <a:gd name="T8" fmla="*/ 9 w 10"/>
                <a:gd name="T9" fmla="*/ 2 h 5"/>
                <a:gd name="T10" fmla="*/ 6 w 10"/>
                <a:gd name="T11" fmla="*/ 1 h 5"/>
                <a:gd name="T12" fmla="*/ 3 w 10"/>
                <a:gd name="T13" fmla="*/ 0 h 5"/>
                <a:gd name="T14" fmla="*/ 0 w 10"/>
                <a:gd name="T15" fmla="*/ 1 h 5"/>
                <a:gd name="T16" fmla="*/ 1 w 10"/>
                <a:gd name="T17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5">
                  <a:moveTo>
                    <a:pt x="1" y="4"/>
                  </a:moveTo>
                  <a:lnTo>
                    <a:pt x="6" y="5"/>
                  </a:lnTo>
                  <a:lnTo>
                    <a:pt x="9" y="5"/>
                  </a:lnTo>
                  <a:lnTo>
                    <a:pt x="10" y="4"/>
                  </a:lnTo>
                  <a:lnTo>
                    <a:pt x="9" y="2"/>
                  </a:lnTo>
                  <a:lnTo>
                    <a:pt x="6" y="1"/>
                  </a:lnTo>
                  <a:lnTo>
                    <a:pt x="3" y="0"/>
                  </a:lnTo>
                  <a:lnTo>
                    <a:pt x="0" y="1"/>
                  </a:lnTo>
                  <a:lnTo>
                    <a:pt x="1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0" name="Freeform 1014">
              <a:extLst>
                <a:ext uri="{FF2B5EF4-FFF2-40B4-BE49-F238E27FC236}">
                  <a16:creationId xmlns:a16="http://schemas.microsoft.com/office/drawing/2014/main" id="{9F50BABE-3E67-4A6F-BB9F-4F1D1D07E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9740" y="3554327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2 w 4"/>
                <a:gd name="T3" fmla="*/ 2 h 2"/>
                <a:gd name="T4" fmla="*/ 4 w 4"/>
                <a:gd name="T5" fmla="*/ 2 h 2"/>
                <a:gd name="T6" fmla="*/ 3 w 4"/>
                <a:gd name="T7" fmla="*/ 0 h 2"/>
                <a:gd name="T8" fmla="*/ 0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2" y="2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1" name="Freeform 1015">
              <a:extLst>
                <a:ext uri="{FF2B5EF4-FFF2-40B4-BE49-F238E27FC236}">
                  <a16:creationId xmlns:a16="http://schemas.microsoft.com/office/drawing/2014/main" id="{E83C2162-758C-4C30-B857-CC040FAEB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3955" y="3575406"/>
              <a:ext cx="2109" cy="2109"/>
            </a:xfrm>
            <a:custGeom>
              <a:avLst/>
              <a:gdLst>
                <a:gd name="T0" fmla="*/ 3 w 3"/>
                <a:gd name="T1" fmla="*/ 3 h 3"/>
                <a:gd name="T2" fmla="*/ 3 w 3"/>
                <a:gd name="T3" fmla="*/ 0 h 3"/>
                <a:gd name="T4" fmla="*/ 0 w 3"/>
                <a:gd name="T5" fmla="*/ 1 h 3"/>
                <a:gd name="T6" fmla="*/ 3 w 3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3" y="3"/>
                  </a:moveTo>
                  <a:lnTo>
                    <a:pt x="3" y="0"/>
                  </a:lnTo>
                  <a:lnTo>
                    <a:pt x="0" y="1"/>
                  </a:lnTo>
                  <a:lnTo>
                    <a:pt x="3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2" name="Freeform 1016">
              <a:extLst>
                <a:ext uri="{FF2B5EF4-FFF2-40B4-BE49-F238E27FC236}">
                  <a16:creationId xmlns:a16="http://schemas.microsoft.com/office/drawing/2014/main" id="{2A94ABDB-A55B-4442-BE08-1777FE983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83315" y="3784087"/>
              <a:ext cx="2109" cy="2109"/>
            </a:xfrm>
            <a:custGeom>
              <a:avLst/>
              <a:gdLst>
                <a:gd name="T0" fmla="*/ 0 w 4"/>
                <a:gd name="T1" fmla="*/ 3 h 4"/>
                <a:gd name="T2" fmla="*/ 2 w 4"/>
                <a:gd name="T3" fmla="*/ 4 h 4"/>
                <a:gd name="T4" fmla="*/ 4 w 4"/>
                <a:gd name="T5" fmla="*/ 1 h 4"/>
                <a:gd name="T6" fmla="*/ 4 w 4"/>
                <a:gd name="T7" fmla="*/ 0 h 4"/>
                <a:gd name="T8" fmla="*/ 1 w 4"/>
                <a:gd name="T9" fmla="*/ 0 h 4"/>
                <a:gd name="T10" fmla="*/ 0 w 4"/>
                <a:gd name="T1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lnTo>
                    <a:pt x="2" y="4"/>
                  </a:lnTo>
                  <a:lnTo>
                    <a:pt x="4" y="1"/>
                  </a:lnTo>
                  <a:lnTo>
                    <a:pt x="4" y="0"/>
                  </a:lnTo>
                  <a:lnTo>
                    <a:pt x="1" y="0"/>
                  </a:lnTo>
                  <a:lnTo>
                    <a:pt x="0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3" name="Freeform 1017">
              <a:extLst>
                <a:ext uri="{FF2B5EF4-FFF2-40B4-BE49-F238E27FC236}">
                  <a16:creationId xmlns:a16="http://schemas.microsoft.com/office/drawing/2014/main" id="{2CF97667-7F74-4893-9343-8D029436CDB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0229" y="3718743"/>
              <a:ext cx="4216" cy="6324"/>
            </a:xfrm>
            <a:custGeom>
              <a:avLst/>
              <a:gdLst>
                <a:gd name="T0" fmla="*/ 0 w 4"/>
                <a:gd name="T1" fmla="*/ 5 h 6"/>
                <a:gd name="T2" fmla="*/ 2 w 4"/>
                <a:gd name="T3" fmla="*/ 6 h 6"/>
                <a:gd name="T4" fmla="*/ 3 w 4"/>
                <a:gd name="T5" fmla="*/ 5 h 6"/>
                <a:gd name="T6" fmla="*/ 4 w 4"/>
                <a:gd name="T7" fmla="*/ 2 h 6"/>
                <a:gd name="T8" fmla="*/ 3 w 4"/>
                <a:gd name="T9" fmla="*/ 0 h 6"/>
                <a:gd name="T10" fmla="*/ 0 w 4"/>
                <a:gd name="T11" fmla="*/ 1 h 6"/>
                <a:gd name="T12" fmla="*/ 3 w 4"/>
                <a:gd name="T13" fmla="*/ 3 h 6"/>
                <a:gd name="T14" fmla="*/ 0 w 4"/>
                <a:gd name="T1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6">
                  <a:moveTo>
                    <a:pt x="0" y="5"/>
                  </a:moveTo>
                  <a:lnTo>
                    <a:pt x="2" y="6"/>
                  </a:lnTo>
                  <a:lnTo>
                    <a:pt x="3" y="5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1"/>
                  </a:lnTo>
                  <a:lnTo>
                    <a:pt x="3" y="3"/>
                  </a:lnTo>
                  <a:lnTo>
                    <a:pt x="0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4" name="Freeform 1018">
              <a:extLst>
                <a:ext uri="{FF2B5EF4-FFF2-40B4-BE49-F238E27FC236}">
                  <a16:creationId xmlns:a16="http://schemas.microsoft.com/office/drawing/2014/main" id="{36C79559-D0AB-4DA6-95F4-083596528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3366" y="3701879"/>
              <a:ext cx="6324" cy="4216"/>
            </a:xfrm>
            <a:custGeom>
              <a:avLst/>
              <a:gdLst>
                <a:gd name="T0" fmla="*/ 0 w 6"/>
                <a:gd name="T1" fmla="*/ 0 h 2"/>
                <a:gd name="T2" fmla="*/ 6 w 6"/>
                <a:gd name="T3" fmla="*/ 2 h 2"/>
                <a:gd name="T4" fmla="*/ 3 w 6"/>
                <a:gd name="T5" fmla="*/ 2 h 2"/>
                <a:gd name="T6" fmla="*/ 0 w 6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0" y="0"/>
                  </a:moveTo>
                  <a:lnTo>
                    <a:pt x="6" y="2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5" name="Freeform 1019">
              <a:extLst>
                <a:ext uri="{FF2B5EF4-FFF2-40B4-BE49-F238E27FC236}">
                  <a16:creationId xmlns:a16="http://schemas.microsoft.com/office/drawing/2014/main" id="{8C67F922-98B7-4202-98F9-BCAE3FEF5A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0178" y="3756685"/>
              <a:ext cx="2109" cy="4216"/>
            </a:xfrm>
            <a:custGeom>
              <a:avLst/>
              <a:gdLst>
                <a:gd name="T0" fmla="*/ 0 w 3"/>
                <a:gd name="T1" fmla="*/ 0 h 4"/>
                <a:gd name="T2" fmla="*/ 0 w 3"/>
                <a:gd name="T3" fmla="*/ 3 h 4"/>
                <a:gd name="T4" fmla="*/ 3 w 3"/>
                <a:gd name="T5" fmla="*/ 4 h 4"/>
                <a:gd name="T6" fmla="*/ 3 w 3"/>
                <a:gd name="T7" fmla="*/ 2 h 4"/>
                <a:gd name="T8" fmla="*/ 0 w 3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0"/>
                  </a:moveTo>
                  <a:lnTo>
                    <a:pt x="0" y="3"/>
                  </a:lnTo>
                  <a:lnTo>
                    <a:pt x="3" y="4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6" name="Freeform 1020">
              <a:extLst>
                <a:ext uri="{FF2B5EF4-FFF2-40B4-BE49-F238E27FC236}">
                  <a16:creationId xmlns:a16="http://schemas.microsoft.com/office/drawing/2014/main" id="{2A28C8AA-1B0C-45A5-AF72-18F65B64BD42}"/>
                </a:ext>
              </a:extLst>
            </p:cNvPr>
            <p:cNvSpPr>
              <a:spLocks/>
            </p:cNvSpPr>
            <p:nvPr/>
          </p:nvSpPr>
          <p:spPr bwMode="auto">
            <a:xfrm>
              <a:off x="9047231" y="3910561"/>
              <a:ext cx="67453" cy="65346"/>
            </a:xfrm>
            <a:custGeom>
              <a:avLst/>
              <a:gdLst>
                <a:gd name="T0" fmla="*/ 0 w 65"/>
                <a:gd name="T1" fmla="*/ 25 h 61"/>
                <a:gd name="T2" fmla="*/ 0 w 65"/>
                <a:gd name="T3" fmla="*/ 28 h 61"/>
                <a:gd name="T4" fmla="*/ 1 w 65"/>
                <a:gd name="T5" fmla="*/ 33 h 61"/>
                <a:gd name="T6" fmla="*/ 1 w 65"/>
                <a:gd name="T7" fmla="*/ 37 h 61"/>
                <a:gd name="T8" fmla="*/ 3 w 65"/>
                <a:gd name="T9" fmla="*/ 39 h 61"/>
                <a:gd name="T10" fmla="*/ 4 w 65"/>
                <a:gd name="T11" fmla="*/ 46 h 61"/>
                <a:gd name="T12" fmla="*/ 6 w 65"/>
                <a:gd name="T13" fmla="*/ 53 h 61"/>
                <a:gd name="T14" fmla="*/ 10 w 65"/>
                <a:gd name="T15" fmla="*/ 55 h 61"/>
                <a:gd name="T16" fmla="*/ 14 w 65"/>
                <a:gd name="T17" fmla="*/ 56 h 61"/>
                <a:gd name="T18" fmla="*/ 21 w 65"/>
                <a:gd name="T19" fmla="*/ 59 h 61"/>
                <a:gd name="T20" fmla="*/ 28 w 65"/>
                <a:gd name="T21" fmla="*/ 61 h 61"/>
                <a:gd name="T22" fmla="*/ 37 w 65"/>
                <a:gd name="T23" fmla="*/ 61 h 61"/>
                <a:gd name="T24" fmla="*/ 37 w 65"/>
                <a:gd name="T25" fmla="*/ 57 h 61"/>
                <a:gd name="T26" fmla="*/ 38 w 65"/>
                <a:gd name="T27" fmla="*/ 56 h 61"/>
                <a:gd name="T28" fmla="*/ 42 w 65"/>
                <a:gd name="T29" fmla="*/ 55 h 61"/>
                <a:gd name="T30" fmla="*/ 44 w 65"/>
                <a:gd name="T31" fmla="*/ 56 h 61"/>
                <a:gd name="T32" fmla="*/ 44 w 65"/>
                <a:gd name="T33" fmla="*/ 54 h 61"/>
                <a:gd name="T34" fmla="*/ 47 w 65"/>
                <a:gd name="T35" fmla="*/ 50 h 61"/>
                <a:gd name="T36" fmla="*/ 51 w 65"/>
                <a:gd name="T37" fmla="*/ 48 h 61"/>
                <a:gd name="T38" fmla="*/ 53 w 65"/>
                <a:gd name="T39" fmla="*/ 45 h 61"/>
                <a:gd name="T40" fmla="*/ 54 w 65"/>
                <a:gd name="T41" fmla="*/ 43 h 61"/>
                <a:gd name="T42" fmla="*/ 56 w 65"/>
                <a:gd name="T43" fmla="*/ 38 h 61"/>
                <a:gd name="T44" fmla="*/ 57 w 65"/>
                <a:gd name="T45" fmla="*/ 33 h 61"/>
                <a:gd name="T46" fmla="*/ 54 w 65"/>
                <a:gd name="T47" fmla="*/ 30 h 61"/>
                <a:gd name="T48" fmla="*/ 57 w 65"/>
                <a:gd name="T49" fmla="*/ 28 h 61"/>
                <a:gd name="T50" fmla="*/ 59 w 65"/>
                <a:gd name="T51" fmla="*/ 24 h 61"/>
                <a:gd name="T52" fmla="*/ 60 w 65"/>
                <a:gd name="T53" fmla="*/ 19 h 61"/>
                <a:gd name="T54" fmla="*/ 60 w 65"/>
                <a:gd name="T55" fmla="*/ 16 h 61"/>
                <a:gd name="T56" fmla="*/ 63 w 65"/>
                <a:gd name="T57" fmla="*/ 17 h 61"/>
                <a:gd name="T58" fmla="*/ 64 w 65"/>
                <a:gd name="T59" fmla="*/ 17 h 61"/>
                <a:gd name="T60" fmla="*/ 65 w 65"/>
                <a:gd name="T61" fmla="*/ 13 h 61"/>
                <a:gd name="T62" fmla="*/ 64 w 65"/>
                <a:gd name="T63" fmla="*/ 8 h 61"/>
                <a:gd name="T64" fmla="*/ 63 w 65"/>
                <a:gd name="T65" fmla="*/ 5 h 61"/>
                <a:gd name="T66" fmla="*/ 60 w 65"/>
                <a:gd name="T67" fmla="*/ 2 h 61"/>
                <a:gd name="T68" fmla="*/ 56 w 65"/>
                <a:gd name="T69" fmla="*/ 0 h 61"/>
                <a:gd name="T70" fmla="*/ 53 w 65"/>
                <a:gd name="T71" fmla="*/ 1 h 61"/>
                <a:gd name="T72" fmla="*/ 52 w 65"/>
                <a:gd name="T73" fmla="*/ 2 h 61"/>
                <a:gd name="T74" fmla="*/ 53 w 65"/>
                <a:gd name="T75" fmla="*/ 6 h 61"/>
                <a:gd name="T76" fmla="*/ 52 w 65"/>
                <a:gd name="T77" fmla="*/ 5 h 61"/>
                <a:gd name="T78" fmla="*/ 48 w 65"/>
                <a:gd name="T79" fmla="*/ 3 h 61"/>
                <a:gd name="T80" fmla="*/ 47 w 65"/>
                <a:gd name="T81" fmla="*/ 3 h 61"/>
                <a:gd name="T82" fmla="*/ 48 w 65"/>
                <a:gd name="T83" fmla="*/ 6 h 61"/>
                <a:gd name="T84" fmla="*/ 46 w 65"/>
                <a:gd name="T85" fmla="*/ 2 h 61"/>
                <a:gd name="T86" fmla="*/ 42 w 65"/>
                <a:gd name="T87" fmla="*/ 2 h 61"/>
                <a:gd name="T88" fmla="*/ 38 w 65"/>
                <a:gd name="T89" fmla="*/ 3 h 61"/>
                <a:gd name="T90" fmla="*/ 36 w 65"/>
                <a:gd name="T91" fmla="*/ 6 h 61"/>
                <a:gd name="T92" fmla="*/ 33 w 65"/>
                <a:gd name="T93" fmla="*/ 3 h 61"/>
                <a:gd name="T94" fmla="*/ 30 w 65"/>
                <a:gd name="T95" fmla="*/ 3 h 61"/>
                <a:gd name="T96" fmla="*/ 25 w 65"/>
                <a:gd name="T97" fmla="*/ 3 h 61"/>
                <a:gd name="T98" fmla="*/ 22 w 65"/>
                <a:gd name="T99" fmla="*/ 5 h 61"/>
                <a:gd name="T100" fmla="*/ 24 w 65"/>
                <a:gd name="T101" fmla="*/ 8 h 61"/>
                <a:gd name="T102" fmla="*/ 22 w 65"/>
                <a:gd name="T103" fmla="*/ 8 h 61"/>
                <a:gd name="T104" fmla="*/ 20 w 65"/>
                <a:gd name="T105" fmla="*/ 7 h 61"/>
                <a:gd name="T106" fmla="*/ 17 w 65"/>
                <a:gd name="T107" fmla="*/ 6 h 61"/>
                <a:gd name="T108" fmla="*/ 16 w 65"/>
                <a:gd name="T109" fmla="*/ 6 h 61"/>
                <a:gd name="T110" fmla="*/ 14 w 65"/>
                <a:gd name="T111" fmla="*/ 7 h 61"/>
                <a:gd name="T112" fmla="*/ 14 w 65"/>
                <a:gd name="T113" fmla="*/ 9 h 61"/>
                <a:gd name="T114" fmla="*/ 15 w 65"/>
                <a:gd name="T115" fmla="*/ 12 h 61"/>
                <a:gd name="T116" fmla="*/ 17 w 65"/>
                <a:gd name="T117" fmla="*/ 13 h 61"/>
                <a:gd name="T118" fmla="*/ 13 w 65"/>
                <a:gd name="T119" fmla="*/ 14 h 61"/>
                <a:gd name="T120" fmla="*/ 8 w 65"/>
                <a:gd name="T121" fmla="*/ 18 h 61"/>
                <a:gd name="T122" fmla="*/ 0 w 65"/>
                <a:gd name="T123" fmla="*/ 25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5" h="61">
                  <a:moveTo>
                    <a:pt x="0" y="25"/>
                  </a:moveTo>
                  <a:lnTo>
                    <a:pt x="0" y="28"/>
                  </a:lnTo>
                  <a:lnTo>
                    <a:pt x="1" y="33"/>
                  </a:lnTo>
                  <a:lnTo>
                    <a:pt x="1" y="37"/>
                  </a:lnTo>
                  <a:lnTo>
                    <a:pt x="3" y="39"/>
                  </a:lnTo>
                  <a:lnTo>
                    <a:pt x="4" y="46"/>
                  </a:lnTo>
                  <a:lnTo>
                    <a:pt x="6" y="53"/>
                  </a:lnTo>
                  <a:lnTo>
                    <a:pt x="10" y="55"/>
                  </a:lnTo>
                  <a:lnTo>
                    <a:pt x="14" y="56"/>
                  </a:lnTo>
                  <a:lnTo>
                    <a:pt x="21" y="59"/>
                  </a:lnTo>
                  <a:lnTo>
                    <a:pt x="28" y="61"/>
                  </a:lnTo>
                  <a:lnTo>
                    <a:pt x="37" y="61"/>
                  </a:lnTo>
                  <a:lnTo>
                    <a:pt x="37" y="57"/>
                  </a:lnTo>
                  <a:lnTo>
                    <a:pt x="38" y="56"/>
                  </a:lnTo>
                  <a:lnTo>
                    <a:pt x="42" y="55"/>
                  </a:lnTo>
                  <a:lnTo>
                    <a:pt x="44" y="56"/>
                  </a:lnTo>
                  <a:lnTo>
                    <a:pt x="44" y="54"/>
                  </a:lnTo>
                  <a:lnTo>
                    <a:pt x="47" y="50"/>
                  </a:lnTo>
                  <a:lnTo>
                    <a:pt x="51" y="48"/>
                  </a:lnTo>
                  <a:lnTo>
                    <a:pt x="53" y="45"/>
                  </a:lnTo>
                  <a:lnTo>
                    <a:pt x="54" y="43"/>
                  </a:lnTo>
                  <a:lnTo>
                    <a:pt x="56" y="38"/>
                  </a:lnTo>
                  <a:lnTo>
                    <a:pt x="57" y="33"/>
                  </a:lnTo>
                  <a:lnTo>
                    <a:pt x="54" y="30"/>
                  </a:lnTo>
                  <a:lnTo>
                    <a:pt x="57" y="28"/>
                  </a:lnTo>
                  <a:lnTo>
                    <a:pt x="59" y="24"/>
                  </a:lnTo>
                  <a:lnTo>
                    <a:pt x="60" y="19"/>
                  </a:lnTo>
                  <a:lnTo>
                    <a:pt x="60" y="16"/>
                  </a:lnTo>
                  <a:lnTo>
                    <a:pt x="63" y="17"/>
                  </a:lnTo>
                  <a:lnTo>
                    <a:pt x="64" y="17"/>
                  </a:lnTo>
                  <a:lnTo>
                    <a:pt x="65" y="13"/>
                  </a:lnTo>
                  <a:lnTo>
                    <a:pt x="64" y="8"/>
                  </a:lnTo>
                  <a:lnTo>
                    <a:pt x="63" y="5"/>
                  </a:lnTo>
                  <a:lnTo>
                    <a:pt x="60" y="2"/>
                  </a:lnTo>
                  <a:lnTo>
                    <a:pt x="56" y="0"/>
                  </a:lnTo>
                  <a:lnTo>
                    <a:pt x="53" y="1"/>
                  </a:lnTo>
                  <a:lnTo>
                    <a:pt x="52" y="2"/>
                  </a:lnTo>
                  <a:lnTo>
                    <a:pt x="53" y="6"/>
                  </a:lnTo>
                  <a:lnTo>
                    <a:pt x="52" y="5"/>
                  </a:lnTo>
                  <a:lnTo>
                    <a:pt x="48" y="3"/>
                  </a:lnTo>
                  <a:lnTo>
                    <a:pt x="47" y="3"/>
                  </a:lnTo>
                  <a:lnTo>
                    <a:pt x="48" y="6"/>
                  </a:lnTo>
                  <a:lnTo>
                    <a:pt x="46" y="2"/>
                  </a:lnTo>
                  <a:lnTo>
                    <a:pt x="42" y="2"/>
                  </a:lnTo>
                  <a:lnTo>
                    <a:pt x="38" y="3"/>
                  </a:lnTo>
                  <a:lnTo>
                    <a:pt x="36" y="6"/>
                  </a:lnTo>
                  <a:lnTo>
                    <a:pt x="33" y="3"/>
                  </a:lnTo>
                  <a:lnTo>
                    <a:pt x="30" y="3"/>
                  </a:lnTo>
                  <a:lnTo>
                    <a:pt x="25" y="3"/>
                  </a:lnTo>
                  <a:lnTo>
                    <a:pt x="22" y="5"/>
                  </a:lnTo>
                  <a:lnTo>
                    <a:pt x="24" y="8"/>
                  </a:lnTo>
                  <a:lnTo>
                    <a:pt x="22" y="8"/>
                  </a:lnTo>
                  <a:lnTo>
                    <a:pt x="20" y="7"/>
                  </a:lnTo>
                  <a:lnTo>
                    <a:pt x="17" y="6"/>
                  </a:lnTo>
                  <a:lnTo>
                    <a:pt x="16" y="6"/>
                  </a:lnTo>
                  <a:lnTo>
                    <a:pt x="14" y="7"/>
                  </a:lnTo>
                  <a:lnTo>
                    <a:pt x="14" y="9"/>
                  </a:lnTo>
                  <a:lnTo>
                    <a:pt x="15" y="12"/>
                  </a:lnTo>
                  <a:lnTo>
                    <a:pt x="17" y="13"/>
                  </a:lnTo>
                  <a:lnTo>
                    <a:pt x="13" y="14"/>
                  </a:lnTo>
                  <a:lnTo>
                    <a:pt x="8" y="18"/>
                  </a:lnTo>
                  <a:lnTo>
                    <a:pt x="0" y="2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7" name="Freeform 1021">
              <a:extLst>
                <a:ext uri="{FF2B5EF4-FFF2-40B4-BE49-F238E27FC236}">
                  <a16:creationId xmlns:a16="http://schemas.microsoft.com/office/drawing/2014/main" id="{AAE11B6D-7603-435B-A632-1E5F2DF33C4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85173" y="3876834"/>
              <a:ext cx="8432" cy="4216"/>
            </a:xfrm>
            <a:custGeom>
              <a:avLst/>
              <a:gdLst>
                <a:gd name="T0" fmla="*/ 0 w 9"/>
                <a:gd name="T1" fmla="*/ 3 h 5"/>
                <a:gd name="T2" fmla="*/ 5 w 9"/>
                <a:gd name="T3" fmla="*/ 2 h 5"/>
                <a:gd name="T4" fmla="*/ 6 w 9"/>
                <a:gd name="T5" fmla="*/ 3 h 5"/>
                <a:gd name="T6" fmla="*/ 9 w 9"/>
                <a:gd name="T7" fmla="*/ 5 h 5"/>
                <a:gd name="T8" fmla="*/ 9 w 9"/>
                <a:gd name="T9" fmla="*/ 1 h 5"/>
                <a:gd name="T10" fmla="*/ 6 w 9"/>
                <a:gd name="T11" fmla="*/ 0 h 5"/>
                <a:gd name="T12" fmla="*/ 3 w 9"/>
                <a:gd name="T13" fmla="*/ 1 h 5"/>
                <a:gd name="T14" fmla="*/ 0 w 9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5">
                  <a:moveTo>
                    <a:pt x="0" y="3"/>
                  </a:moveTo>
                  <a:lnTo>
                    <a:pt x="5" y="2"/>
                  </a:lnTo>
                  <a:lnTo>
                    <a:pt x="6" y="3"/>
                  </a:lnTo>
                  <a:lnTo>
                    <a:pt x="9" y="5"/>
                  </a:lnTo>
                  <a:lnTo>
                    <a:pt x="9" y="1"/>
                  </a:lnTo>
                  <a:lnTo>
                    <a:pt x="6" y="0"/>
                  </a:lnTo>
                  <a:lnTo>
                    <a:pt x="3" y="1"/>
                  </a:lnTo>
                  <a:lnTo>
                    <a:pt x="0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8" name="Freeform 1022">
              <a:extLst>
                <a:ext uri="{FF2B5EF4-FFF2-40B4-BE49-F238E27FC236}">
                  <a16:creationId xmlns:a16="http://schemas.microsoft.com/office/drawing/2014/main" id="{9DCD251A-793E-4F7A-BE68-A37283CF17C1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1497" y="3872619"/>
              <a:ext cx="2109" cy="2109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1 h 2"/>
                <a:gd name="T4" fmla="*/ 3 w 3"/>
                <a:gd name="T5" fmla="*/ 2 h 2"/>
                <a:gd name="T6" fmla="*/ 1 w 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lnTo>
                    <a:pt x="0" y="1"/>
                  </a:lnTo>
                  <a:lnTo>
                    <a:pt x="3" y="2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9" name="Freeform 1023">
              <a:extLst>
                <a:ext uri="{FF2B5EF4-FFF2-40B4-BE49-F238E27FC236}">
                  <a16:creationId xmlns:a16="http://schemas.microsoft.com/office/drawing/2014/main" id="{4272EC96-2F35-47C3-8251-DCFD9A76C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9439" y="3855755"/>
              <a:ext cx="2109" cy="4216"/>
            </a:xfrm>
            <a:custGeom>
              <a:avLst/>
              <a:gdLst>
                <a:gd name="T0" fmla="*/ 0 w 2"/>
                <a:gd name="T1" fmla="*/ 4 h 4"/>
                <a:gd name="T2" fmla="*/ 2 w 2"/>
                <a:gd name="T3" fmla="*/ 2 h 4"/>
                <a:gd name="T4" fmla="*/ 2 w 2"/>
                <a:gd name="T5" fmla="*/ 0 h 4"/>
                <a:gd name="T6" fmla="*/ 1 w 2"/>
                <a:gd name="T7" fmla="*/ 1 h 4"/>
                <a:gd name="T8" fmla="*/ 0 w 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1" y="1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0" name="Freeform 1024">
              <a:extLst>
                <a:ext uri="{FF2B5EF4-FFF2-40B4-BE49-F238E27FC236}">
                  <a16:creationId xmlns:a16="http://schemas.microsoft.com/office/drawing/2014/main" id="{DDE16E16-AB88-4256-9735-EE8C50BF8EE9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0518" y="3853648"/>
              <a:ext cx="4216" cy="4216"/>
            </a:xfrm>
            <a:custGeom>
              <a:avLst/>
              <a:gdLst>
                <a:gd name="T0" fmla="*/ 3 w 3"/>
                <a:gd name="T1" fmla="*/ 0 h 3"/>
                <a:gd name="T2" fmla="*/ 1 w 3"/>
                <a:gd name="T3" fmla="*/ 1 h 3"/>
                <a:gd name="T4" fmla="*/ 0 w 3"/>
                <a:gd name="T5" fmla="*/ 3 h 3"/>
                <a:gd name="T6" fmla="*/ 3 w 3"/>
                <a:gd name="T7" fmla="*/ 2 h 3"/>
                <a:gd name="T8" fmla="*/ 3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0"/>
                  </a:moveTo>
                  <a:lnTo>
                    <a:pt x="1" y="1"/>
                  </a:lnTo>
                  <a:lnTo>
                    <a:pt x="0" y="3"/>
                  </a:lnTo>
                  <a:lnTo>
                    <a:pt x="3" y="2"/>
                  </a:lnTo>
                  <a:lnTo>
                    <a:pt x="3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1" name="Freeform 1025">
              <a:extLst>
                <a:ext uri="{FF2B5EF4-FFF2-40B4-BE49-F238E27FC236}">
                  <a16:creationId xmlns:a16="http://schemas.microsoft.com/office/drawing/2014/main" id="{B533E858-AB40-44F0-9398-B885D0EC12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6841" y="3853648"/>
              <a:ext cx="2109" cy="6324"/>
            </a:xfrm>
            <a:custGeom>
              <a:avLst/>
              <a:gdLst>
                <a:gd name="T0" fmla="*/ 1 w 1"/>
                <a:gd name="T1" fmla="*/ 6 h 6"/>
                <a:gd name="T2" fmla="*/ 1 w 1"/>
                <a:gd name="T3" fmla="*/ 2 h 6"/>
                <a:gd name="T4" fmla="*/ 0 w 1"/>
                <a:gd name="T5" fmla="*/ 0 h 6"/>
                <a:gd name="T6" fmla="*/ 1 w 1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6">
                  <a:moveTo>
                    <a:pt x="1" y="6"/>
                  </a:moveTo>
                  <a:lnTo>
                    <a:pt x="1" y="2"/>
                  </a:lnTo>
                  <a:lnTo>
                    <a:pt x="0" y="0"/>
                  </a:lnTo>
                  <a:lnTo>
                    <a:pt x="1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2" name="Freeform 1026">
              <a:extLst>
                <a:ext uri="{FF2B5EF4-FFF2-40B4-BE49-F238E27FC236}">
                  <a16:creationId xmlns:a16="http://schemas.microsoft.com/office/drawing/2014/main" id="{560CD6F3-AA9D-42EF-AEAE-37B377DE46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1597" y="3813597"/>
              <a:ext cx="6324" cy="4216"/>
            </a:xfrm>
            <a:custGeom>
              <a:avLst/>
              <a:gdLst>
                <a:gd name="T0" fmla="*/ 0 w 6"/>
                <a:gd name="T1" fmla="*/ 0 h 5"/>
                <a:gd name="T2" fmla="*/ 0 w 6"/>
                <a:gd name="T3" fmla="*/ 2 h 5"/>
                <a:gd name="T4" fmla="*/ 3 w 6"/>
                <a:gd name="T5" fmla="*/ 4 h 5"/>
                <a:gd name="T6" fmla="*/ 4 w 6"/>
                <a:gd name="T7" fmla="*/ 5 h 5"/>
                <a:gd name="T8" fmla="*/ 6 w 6"/>
                <a:gd name="T9" fmla="*/ 5 h 5"/>
                <a:gd name="T10" fmla="*/ 4 w 6"/>
                <a:gd name="T11" fmla="*/ 2 h 5"/>
                <a:gd name="T12" fmla="*/ 0 w 6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5">
                  <a:moveTo>
                    <a:pt x="0" y="0"/>
                  </a:moveTo>
                  <a:lnTo>
                    <a:pt x="0" y="2"/>
                  </a:lnTo>
                  <a:lnTo>
                    <a:pt x="3" y="4"/>
                  </a:lnTo>
                  <a:lnTo>
                    <a:pt x="4" y="5"/>
                  </a:lnTo>
                  <a:lnTo>
                    <a:pt x="6" y="5"/>
                  </a:lnTo>
                  <a:lnTo>
                    <a:pt x="4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3" name="Freeform 1027">
              <a:extLst>
                <a:ext uri="{FF2B5EF4-FFF2-40B4-BE49-F238E27FC236}">
                  <a16:creationId xmlns:a16="http://schemas.microsoft.com/office/drawing/2014/main" id="{199ED2FD-2B59-4FA0-964A-FD321E4CCB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3705" y="3817813"/>
              <a:ext cx="4216" cy="4216"/>
            </a:xfrm>
            <a:custGeom>
              <a:avLst/>
              <a:gdLst>
                <a:gd name="T0" fmla="*/ 0 w 2"/>
                <a:gd name="T1" fmla="*/ 0 h 4"/>
                <a:gd name="T2" fmla="*/ 0 w 2"/>
                <a:gd name="T3" fmla="*/ 3 h 4"/>
                <a:gd name="T4" fmla="*/ 2 w 2"/>
                <a:gd name="T5" fmla="*/ 4 h 4"/>
                <a:gd name="T6" fmla="*/ 0 w 2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lnTo>
                    <a:pt x="0" y="3"/>
                  </a:lnTo>
                  <a:lnTo>
                    <a:pt x="2" y="4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4" name="Freeform 1028">
              <a:extLst>
                <a:ext uri="{FF2B5EF4-FFF2-40B4-BE49-F238E27FC236}">
                  <a16:creationId xmlns:a16="http://schemas.microsoft.com/office/drawing/2014/main" id="{519B6F9E-2BAB-4ED7-90FA-17D90A4D8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3133" y="2759648"/>
              <a:ext cx="1578816" cy="1144589"/>
            </a:xfrm>
            <a:custGeom>
              <a:avLst/>
              <a:gdLst>
                <a:gd name="T0" fmla="*/ 62 w 1498"/>
                <a:gd name="T1" fmla="*/ 424 h 1087"/>
                <a:gd name="T2" fmla="*/ 150 w 1498"/>
                <a:gd name="T3" fmla="*/ 334 h 1087"/>
                <a:gd name="T4" fmla="*/ 166 w 1498"/>
                <a:gd name="T5" fmla="*/ 268 h 1087"/>
                <a:gd name="T6" fmla="*/ 222 w 1498"/>
                <a:gd name="T7" fmla="*/ 211 h 1087"/>
                <a:gd name="T8" fmla="*/ 268 w 1498"/>
                <a:gd name="T9" fmla="*/ 147 h 1087"/>
                <a:gd name="T10" fmla="*/ 383 w 1498"/>
                <a:gd name="T11" fmla="*/ 221 h 1087"/>
                <a:gd name="T12" fmla="*/ 535 w 1498"/>
                <a:gd name="T13" fmla="*/ 309 h 1087"/>
                <a:gd name="T14" fmla="*/ 742 w 1498"/>
                <a:gd name="T15" fmla="*/ 368 h 1087"/>
                <a:gd name="T16" fmla="*/ 942 w 1498"/>
                <a:gd name="T17" fmla="*/ 344 h 1087"/>
                <a:gd name="T18" fmla="*/ 993 w 1498"/>
                <a:gd name="T19" fmla="*/ 281 h 1087"/>
                <a:gd name="T20" fmla="*/ 1073 w 1498"/>
                <a:gd name="T21" fmla="*/ 222 h 1087"/>
                <a:gd name="T22" fmla="*/ 1037 w 1498"/>
                <a:gd name="T23" fmla="*/ 184 h 1087"/>
                <a:gd name="T24" fmla="*/ 1037 w 1498"/>
                <a:gd name="T25" fmla="*/ 113 h 1087"/>
                <a:gd name="T26" fmla="*/ 1020 w 1498"/>
                <a:gd name="T27" fmla="*/ 31 h 1087"/>
                <a:gd name="T28" fmla="*/ 1157 w 1498"/>
                <a:gd name="T29" fmla="*/ 23 h 1087"/>
                <a:gd name="T30" fmla="*/ 1285 w 1498"/>
                <a:gd name="T31" fmla="*/ 125 h 1087"/>
                <a:gd name="T32" fmla="*/ 1399 w 1498"/>
                <a:gd name="T33" fmla="*/ 187 h 1087"/>
                <a:gd name="T34" fmla="*/ 1485 w 1498"/>
                <a:gd name="T35" fmla="*/ 181 h 1087"/>
                <a:gd name="T36" fmla="*/ 1497 w 1498"/>
                <a:gd name="T37" fmla="*/ 267 h 1087"/>
                <a:gd name="T38" fmla="*/ 1476 w 1498"/>
                <a:gd name="T39" fmla="*/ 345 h 1087"/>
                <a:gd name="T40" fmla="*/ 1423 w 1498"/>
                <a:gd name="T41" fmla="*/ 371 h 1087"/>
                <a:gd name="T42" fmla="*/ 1367 w 1498"/>
                <a:gd name="T43" fmla="*/ 422 h 1087"/>
                <a:gd name="T44" fmla="*/ 1288 w 1498"/>
                <a:gd name="T45" fmla="*/ 473 h 1087"/>
                <a:gd name="T46" fmla="*/ 1274 w 1498"/>
                <a:gd name="T47" fmla="*/ 407 h 1087"/>
                <a:gd name="T48" fmla="*/ 1193 w 1498"/>
                <a:gd name="T49" fmla="*/ 466 h 1087"/>
                <a:gd name="T50" fmla="*/ 1282 w 1498"/>
                <a:gd name="T51" fmla="*/ 514 h 1087"/>
                <a:gd name="T52" fmla="*/ 1352 w 1498"/>
                <a:gd name="T53" fmla="*/ 537 h 1087"/>
                <a:gd name="T54" fmla="*/ 1311 w 1498"/>
                <a:gd name="T55" fmla="*/ 563 h 1087"/>
                <a:gd name="T56" fmla="*/ 1303 w 1498"/>
                <a:gd name="T57" fmla="*/ 615 h 1087"/>
                <a:gd name="T58" fmla="*/ 1369 w 1498"/>
                <a:gd name="T59" fmla="*/ 703 h 1087"/>
                <a:gd name="T60" fmla="*/ 1365 w 1498"/>
                <a:gd name="T61" fmla="*/ 704 h 1087"/>
                <a:gd name="T62" fmla="*/ 1378 w 1498"/>
                <a:gd name="T63" fmla="*/ 756 h 1087"/>
                <a:gd name="T64" fmla="*/ 1424 w 1498"/>
                <a:gd name="T65" fmla="*/ 789 h 1087"/>
                <a:gd name="T66" fmla="*/ 1417 w 1498"/>
                <a:gd name="T67" fmla="*/ 810 h 1087"/>
                <a:gd name="T68" fmla="*/ 1403 w 1498"/>
                <a:gd name="T69" fmla="*/ 856 h 1087"/>
                <a:gd name="T70" fmla="*/ 1385 w 1498"/>
                <a:gd name="T71" fmla="*/ 885 h 1087"/>
                <a:gd name="T72" fmla="*/ 1381 w 1498"/>
                <a:gd name="T73" fmla="*/ 912 h 1087"/>
                <a:gd name="T74" fmla="*/ 1360 w 1498"/>
                <a:gd name="T75" fmla="*/ 945 h 1087"/>
                <a:gd name="T76" fmla="*/ 1327 w 1498"/>
                <a:gd name="T77" fmla="*/ 975 h 1087"/>
                <a:gd name="T78" fmla="*/ 1294 w 1498"/>
                <a:gd name="T79" fmla="*/ 1007 h 1087"/>
                <a:gd name="T80" fmla="*/ 1237 w 1498"/>
                <a:gd name="T81" fmla="*/ 1001 h 1087"/>
                <a:gd name="T82" fmla="*/ 1226 w 1498"/>
                <a:gd name="T83" fmla="*/ 1014 h 1087"/>
                <a:gd name="T84" fmla="*/ 1191 w 1498"/>
                <a:gd name="T85" fmla="*/ 1038 h 1087"/>
                <a:gd name="T86" fmla="*/ 1154 w 1498"/>
                <a:gd name="T87" fmla="*/ 1068 h 1087"/>
                <a:gd name="T88" fmla="*/ 1137 w 1498"/>
                <a:gd name="T89" fmla="*/ 1052 h 1087"/>
                <a:gd name="T90" fmla="*/ 1103 w 1498"/>
                <a:gd name="T91" fmla="*/ 1038 h 1087"/>
                <a:gd name="T92" fmla="*/ 1054 w 1498"/>
                <a:gd name="T93" fmla="*/ 1033 h 1087"/>
                <a:gd name="T94" fmla="*/ 983 w 1498"/>
                <a:gd name="T95" fmla="*/ 1003 h 1087"/>
                <a:gd name="T96" fmla="*/ 910 w 1498"/>
                <a:gd name="T97" fmla="*/ 1015 h 1087"/>
                <a:gd name="T98" fmla="*/ 877 w 1498"/>
                <a:gd name="T99" fmla="*/ 1044 h 1087"/>
                <a:gd name="T100" fmla="*/ 821 w 1498"/>
                <a:gd name="T101" fmla="*/ 992 h 1087"/>
                <a:gd name="T102" fmla="*/ 771 w 1498"/>
                <a:gd name="T103" fmla="*/ 938 h 1087"/>
                <a:gd name="T104" fmla="*/ 782 w 1498"/>
                <a:gd name="T105" fmla="*/ 846 h 1087"/>
                <a:gd name="T106" fmla="*/ 716 w 1498"/>
                <a:gd name="T107" fmla="*/ 810 h 1087"/>
                <a:gd name="T108" fmla="*/ 653 w 1498"/>
                <a:gd name="T109" fmla="*/ 793 h 1087"/>
                <a:gd name="T110" fmla="*/ 564 w 1498"/>
                <a:gd name="T111" fmla="*/ 831 h 1087"/>
                <a:gd name="T112" fmla="*/ 449 w 1498"/>
                <a:gd name="T113" fmla="*/ 831 h 1087"/>
                <a:gd name="T114" fmla="*/ 390 w 1498"/>
                <a:gd name="T115" fmla="*/ 813 h 1087"/>
                <a:gd name="T116" fmla="*/ 263 w 1498"/>
                <a:gd name="T117" fmla="*/ 752 h 1087"/>
                <a:gd name="T118" fmla="*/ 185 w 1498"/>
                <a:gd name="T119" fmla="*/ 685 h 1087"/>
                <a:gd name="T120" fmla="*/ 187 w 1498"/>
                <a:gd name="T121" fmla="*/ 624 h 1087"/>
                <a:gd name="T122" fmla="*/ 67 w 1498"/>
                <a:gd name="T123" fmla="*/ 537 h 1087"/>
                <a:gd name="T124" fmla="*/ 19 w 1498"/>
                <a:gd name="T125" fmla="*/ 482 h 10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98" h="1087">
                  <a:moveTo>
                    <a:pt x="0" y="454"/>
                  </a:moveTo>
                  <a:lnTo>
                    <a:pt x="5" y="452"/>
                  </a:lnTo>
                  <a:lnTo>
                    <a:pt x="6" y="451"/>
                  </a:lnTo>
                  <a:lnTo>
                    <a:pt x="6" y="447"/>
                  </a:lnTo>
                  <a:lnTo>
                    <a:pt x="5" y="445"/>
                  </a:lnTo>
                  <a:lnTo>
                    <a:pt x="4" y="443"/>
                  </a:lnTo>
                  <a:lnTo>
                    <a:pt x="4" y="441"/>
                  </a:lnTo>
                  <a:lnTo>
                    <a:pt x="4" y="438"/>
                  </a:lnTo>
                  <a:lnTo>
                    <a:pt x="5" y="435"/>
                  </a:lnTo>
                  <a:lnTo>
                    <a:pt x="8" y="434"/>
                  </a:lnTo>
                  <a:lnTo>
                    <a:pt x="10" y="434"/>
                  </a:lnTo>
                  <a:lnTo>
                    <a:pt x="13" y="433"/>
                  </a:lnTo>
                  <a:lnTo>
                    <a:pt x="16" y="431"/>
                  </a:lnTo>
                  <a:lnTo>
                    <a:pt x="19" y="429"/>
                  </a:lnTo>
                  <a:lnTo>
                    <a:pt x="21" y="427"/>
                  </a:lnTo>
                  <a:lnTo>
                    <a:pt x="24" y="425"/>
                  </a:lnTo>
                  <a:lnTo>
                    <a:pt x="24" y="423"/>
                  </a:lnTo>
                  <a:lnTo>
                    <a:pt x="24" y="419"/>
                  </a:lnTo>
                  <a:lnTo>
                    <a:pt x="29" y="422"/>
                  </a:lnTo>
                  <a:lnTo>
                    <a:pt x="32" y="422"/>
                  </a:lnTo>
                  <a:lnTo>
                    <a:pt x="35" y="420"/>
                  </a:lnTo>
                  <a:lnTo>
                    <a:pt x="37" y="418"/>
                  </a:lnTo>
                  <a:lnTo>
                    <a:pt x="41" y="415"/>
                  </a:lnTo>
                  <a:lnTo>
                    <a:pt x="43" y="417"/>
                  </a:lnTo>
                  <a:lnTo>
                    <a:pt x="45" y="419"/>
                  </a:lnTo>
                  <a:lnTo>
                    <a:pt x="46" y="423"/>
                  </a:lnTo>
                  <a:lnTo>
                    <a:pt x="47" y="424"/>
                  </a:lnTo>
                  <a:lnTo>
                    <a:pt x="51" y="425"/>
                  </a:lnTo>
                  <a:lnTo>
                    <a:pt x="54" y="425"/>
                  </a:lnTo>
                  <a:lnTo>
                    <a:pt x="58" y="424"/>
                  </a:lnTo>
                  <a:lnTo>
                    <a:pt x="62" y="424"/>
                  </a:lnTo>
                  <a:lnTo>
                    <a:pt x="67" y="423"/>
                  </a:lnTo>
                  <a:lnTo>
                    <a:pt x="69" y="418"/>
                  </a:lnTo>
                  <a:lnTo>
                    <a:pt x="70" y="413"/>
                  </a:lnTo>
                  <a:lnTo>
                    <a:pt x="72" y="408"/>
                  </a:lnTo>
                  <a:lnTo>
                    <a:pt x="73" y="403"/>
                  </a:lnTo>
                  <a:lnTo>
                    <a:pt x="79" y="402"/>
                  </a:lnTo>
                  <a:lnTo>
                    <a:pt x="88" y="403"/>
                  </a:lnTo>
                  <a:lnTo>
                    <a:pt x="96" y="402"/>
                  </a:lnTo>
                  <a:lnTo>
                    <a:pt x="102" y="402"/>
                  </a:lnTo>
                  <a:lnTo>
                    <a:pt x="105" y="402"/>
                  </a:lnTo>
                  <a:lnTo>
                    <a:pt x="107" y="401"/>
                  </a:lnTo>
                  <a:lnTo>
                    <a:pt x="110" y="395"/>
                  </a:lnTo>
                  <a:lnTo>
                    <a:pt x="112" y="388"/>
                  </a:lnTo>
                  <a:lnTo>
                    <a:pt x="118" y="384"/>
                  </a:lnTo>
                  <a:lnTo>
                    <a:pt x="126" y="381"/>
                  </a:lnTo>
                  <a:lnTo>
                    <a:pt x="133" y="377"/>
                  </a:lnTo>
                  <a:lnTo>
                    <a:pt x="139" y="374"/>
                  </a:lnTo>
                  <a:lnTo>
                    <a:pt x="144" y="371"/>
                  </a:lnTo>
                  <a:lnTo>
                    <a:pt x="149" y="370"/>
                  </a:lnTo>
                  <a:lnTo>
                    <a:pt x="152" y="369"/>
                  </a:lnTo>
                  <a:lnTo>
                    <a:pt x="153" y="369"/>
                  </a:lnTo>
                  <a:lnTo>
                    <a:pt x="152" y="366"/>
                  </a:lnTo>
                  <a:lnTo>
                    <a:pt x="150" y="364"/>
                  </a:lnTo>
                  <a:lnTo>
                    <a:pt x="148" y="358"/>
                  </a:lnTo>
                  <a:lnTo>
                    <a:pt x="144" y="350"/>
                  </a:lnTo>
                  <a:lnTo>
                    <a:pt x="144" y="347"/>
                  </a:lnTo>
                  <a:lnTo>
                    <a:pt x="145" y="344"/>
                  </a:lnTo>
                  <a:lnTo>
                    <a:pt x="149" y="343"/>
                  </a:lnTo>
                  <a:lnTo>
                    <a:pt x="153" y="342"/>
                  </a:lnTo>
                  <a:lnTo>
                    <a:pt x="147" y="338"/>
                  </a:lnTo>
                  <a:lnTo>
                    <a:pt x="150" y="334"/>
                  </a:lnTo>
                  <a:lnTo>
                    <a:pt x="153" y="334"/>
                  </a:lnTo>
                  <a:lnTo>
                    <a:pt x="155" y="334"/>
                  </a:lnTo>
                  <a:lnTo>
                    <a:pt x="155" y="332"/>
                  </a:lnTo>
                  <a:lnTo>
                    <a:pt x="154" y="329"/>
                  </a:lnTo>
                  <a:lnTo>
                    <a:pt x="152" y="327"/>
                  </a:lnTo>
                  <a:lnTo>
                    <a:pt x="150" y="325"/>
                  </a:lnTo>
                  <a:lnTo>
                    <a:pt x="149" y="321"/>
                  </a:lnTo>
                  <a:lnTo>
                    <a:pt x="148" y="318"/>
                  </a:lnTo>
                  <a:lnTo>
                    <a:pt x="142" y="311"/>
                  </a:lnTo>
                  <a:lnTo>
                    <a:pt x="136" y="304"/>
                  </a:lnTo>
                  <a:lnTo>
                    <a:pt x="131" y="294"/>
                  </a:lnTo>
                  <a:lnTo>
                    <a:pt x="131" y="290"/>
                  </a:lnTo>
                  <a:lnTo>
                    <a:pt x="131" y="286"/>
                  </a:lnTo>
                  <a:lnTo>
                    <a:pt x="129" y="283"/>
                  </a:lnTo>
                  <a:lnTo>
                    <a:pt x="128" y="280"/>
                  </a:lnTo>
                  <a:lnTo>
                    <a:pt x="123" y="280"/>
                  </a:lnTo>
                  <a:lnTo>
                    <a:pt x="118" y="279"/>
                  </a:lnTo>
                  <a:lnTo>
                    <a:pt x="115" y="278"/>
                  </a:lnTo>
                  <a:lnTo>
                    <a:pt x="113" y="277"/>
                  </a:lnTo>
                  <a:lnTo>
                    <a:pt x="115" y="274"/>
                  </a:lnTo>
                  <a:lnTo>
                    <a:pt x="117" y="273"/>
                  </a:lnTo>
                  <a:lnTo>
                    <a:pt x="121" y="272"/>
                  </a:lnTo>
                  <a:lnTo>
                    <a:pt x="126" y="270"/>
                  </a:lnTo>
                  <a:lnTo>
                    <a:pt x="128" y="269"/>
                  </a:lnTo>
                  <a:lnTo>
                    <a:pt x="139" y="267"/>
                  </a:lnTo>
                  <a:lnTo>
                    <a:pt x="149" y="264"/>
                  </a:lnTo>
                  <a:lnTo>
                    <a:pt x="153" y="263"/>
                  </a:lnTo>
                  <a:lnTo>
                    <a:pt x="156" y="264"/>
                  </a:lnTo>
                  <a:lnTo>
                    <a:pt x="159" y="266"/>
                  </a:lnTo>
                  <a:lnTo>
                    <a:pt x="163" y="267"/>
                  </a:lnTo>
                  <a:lnTo>
                    <a:pt x="166" y="268"/>
                  </a:lnTo>
                  <a:lnTo>
                    <a:pt x="169" y="267"/>
                  </a:lnTo>
                  <a:lnTo>
                    <a:pt x="172" y="267"/>
                  </a:lnTo>
                  <a:lnTo>
                    <a:pt x="175" y="268"/>
                  </a:lnTo>
                  <a:lnTo>
                    <a:pt x="179" y="269"/>
                  </a:lnTo>
                  <a:lnTo>
                    <a:pt x="180" y="267"/>
                  </a:lnTo>
                  <a:lnTo>
                    <a:pt x="180" y="264"/>
                  </a:lnTo>
                  <a:lnTo>
                    <a:pt x="180" y="262"/>
                  </a:lnTo>
                  <a:lnTo>
                    <a:pt x="177" y="259"/>
                  </a:lnTo>
                  <a:lnTo>
                    <a:pt x="175" y="258"/>
                  </a:lnTo>
                  <a:lnTo>
                    <a:pt x="171" y="257"/>
                  </a:lnTo>
                  <a:lnTo>
                    <a:pt x="169" y="256"/>
                  </a:lnTo>
                  <a:lnTo>
                    <a:pt x="168" y="252"/>
                  </a:lnTo>
                  <a:lnTo>
                    <a:pt x="168" y="248"/>
                  </a:lnTo>
                  <a:lnTo>
                    <a:pt x="169" y="242"/>
                  </a:lnTo>
                  <a:lnTo>
                    <a:pt x="169" y="234"/>
                  </a:lnTo>
                  <a:lnTo>
                    <a:pt x="169" y="225"/>
                  </a:lnTo>
                  <a:lnTo>
                    <a:pt x="169" y="216"/>
                  </a:lnTo>
                  <a:lnTo>
                    <a:pt x="170" y="208"/>
                  </a:lnTo>
                  <a:lnTo>
                    <a:pt x="170" y="204"/>
                  </a:lnTo>
                  <a:lnTo>
                    <a:pt x="171" y="203"/>
                  </a:lnTo>
                  <a:lnTo>
                    <a:pt x="174" y="202"/>
                  </a:lnTo>
                  <a:lnTo>
                    <a:pt x="177" y="203"/>
                  </a:lnTo>
                  <a:lnTo>
                    <a:pt x="184" y="206"/>
                  </a:lnTo>
                  <a:lnTo>
                    <a:pt x="191" y="209"/>
                  </a:lnTo>
                  <a:lnTo>
                    <a:pt x="196" y="209"/>
                  </a:lnTo>
                  <a:lnTo>
                    <a:pt x="201" y="209"/>
                  </a:lnTo>
                  <a:lnTo>
                    <a:pt x="211" y="208"/>
                  </a:lnTo>
                  <a:lnTo>
                    <a:pt x="214" y="210"/>
                  </a:lnTo>
                  <a:lnTo>
                    <a:pt x="217" y="211"/>
                  </a:lnTo>
                  <a:lnTo>
                    <a:pt x="219" y="213"/>
                  </a:lnTo>
                  <a:lnTo>
                    <a:pt x="222" y="211"/>
                  </a:lnTo>
                  <a:lnTo>
                    <a:pt x="228" y="209"/>
                  </a:lnTo>
                  <a:lnTo>
                    <a:pt x="234" y="205"/>
                  </a:lnTo>
                  <a:lnTo>
                    <a:pt x="236" y="203"/>
                  </a:lnTo>
                  <a:lnTo>
                    <a:pt x="235" y="199"/>
                  </a:lnTo>
                  <a:lnTo>
                    <a:pt x="231" y="192"/>
                  </a:lnTo>
                  <a:lnTo>
                    <a:pt x="227" y="184"/>
                  </a:lnTo>
                  <a:lnTo>
                    <a:pt x="224" y="181"/>
                  </a:lnTo>
                  <a:lnTo>
                    <a:pt x="223" y="178"/>
                  </a:lnTo>
                  <a:lnTo>
                    <a:pt x="223" y="175"/>
                  </a:lnTo>
                  <a:lnTo>
                    <a:pt x="223" y="171"/>
                  </a:lnTo>
                  <a:lnTo>
                    <a:pt x="223" y="166"/>
                  </a:lnTo>
                  <a:lnTo>
                    <a:pt x="224" y="163"/>
                  </a:lnTo>
                  <a:lnTo>
                    <a:pt x="228" y="162"/>
                  </a:lnTo>
                  <a:lnTo>
                    <a:pt x="230" y="162"/>
                  </a:lnTo>
                  <a:lnTo>
                    <a:pt x="233" y="162"/>
                  </a:lnTo>
                  <a:lnTo>
                    <a:pt x="236" y="162"/>
                  </a:lnTo>
                  <a:lnTo>
                    <a:pt x="241" y="159"/>
                  </a:lnTo>
                  <a:lnTo>
                    <a:pt x="243" y="155"/>
                  </a:lnTo>
                  <a:lnTo>
                    <a:pt x="243" y="151"/>
                  </a:lnTo>
                  <a:lnTo>
                    <a:pt x="241" y="145"/>
                  </a:lnTo>
                  <a:lnTo>
                    <a:pt x="241" y="143"/>
                  </a:lnTo>
                  <a:lnTo>
                    <a:pt x="244" y="141"/>
                  </a:lnTo>
                  <a:lnTo>
                    <a:pt x="249" y="140"/>
                  </a:lnTo>
                  <a:lnTo>
                    <a:pt x="256" y="141"/>
                  </a:lnTo>
                  <a:lnTo>
                    <a:pt x="261" y="141"/>
                  </a:lnTo>
                  <a:lnTo>
                    <a:pt x="266" y="139"/>
                  </a:lnTo>
                  <a:lnTo>
                    <a:pt x="270" y="143"/>
                  </a:lnTo>
                  <a:lnTo>
                    <a:pt x="270" y="145"/>
                  </a:lnTo>
                  <a:lnTo>
                    <a:pt x="270" y="145"/>
                  </a:lnTo>
                  <a:lnTo>
                    <a:pt x="268" y="146"/>
                  </a:lnTo>
                  <a:lnTo>
                    <a:pt x="268" y="147"/>
                  </a:lnTo>
                  <a:lnTo>
                    <a:pt x="270" y="149"/>
                  </a:lnTo>
                  <a:lnTo>
                    <a:pt x="273" y="150"/>
                  </a:lnTo>
                  <a:lnTo>
                    <a:pt x="275" y="151"/>
                  </a:lnTo>
                  <a:lnTo>
                    <a:pt x="277" y="154"/>
                  </a:lnTo>
                  <a:lnTo>
                    <a:pt x="278" y="155"/>
                  </a:lnTo>
                  <a:lnTo>
                    <a:pt x="278" y="156"/>
                  </a:lnTo>
                  <a:lnTo>
                    <a:pt x="279" y="159"/>
                  </a:lnTo>
                  <a:lnTo>
                    <a:pt x="288" y="161"/>
                  </a:lnTo>
                  <a:lnTo>
                    <a:pt x="292" y="162"/>
                  </a:lnTo>
                  <a:lnTo>
                    <a:pt x="295" y="166"/>
                  </a:lnTo>
                  <a:lnTo>
                    <a:pt x="300" y="170"/>
                  </a:lnTo>
                  <a:lnTo>
                    <a:pt x="306" y="173"/>
                  </a:lnTo>
                  <a:lnTo>
                    <a:pt x="314" y="176"/>
                  </a:lnTo>
                  <a:lnTo>
                    <a:pt x="320" y="176"/>
                  </a:lnTo>
                  <a:lnTo>
                    <a:pt x="322" y="176"/>
                  </a:lnTo>
                  <a:lnTo>
                    <a:pt x="325" y="176"/>
                  </a:lnTo>
                  <a:lnTo>
                    <a:pt x="330" y="179"/>
                  </a:lnTo>
                  <a:lnTo>
                    <a:pt x="335" y="181"/>
                  </a:lnTo>
                  <a:lnTo>
                    <a:pt x="336" y="181"/>
                  </a:lnTo>
                  <a:lnTo>
                    <a:pt x="337" y="179"/>
                  </a:lnTo>
                  <a:lnTo>
                    <a:pt x="341" y="181"/>
                  </a:lnTo>
                  <a:lnTo>
                    <a:pt x="345" y="183"/>
                  </a:lnTo>
                  <a:lnTo>
                    <a:pt x="348" y="186"/>
                  </a:lnTo>
                  <a:lnTo>
                    <a:pt x="352" y="188"/>
                  </a:lnTo>
                  <a:lnTo>
                    <a:pt x="357" y="195"/>
                  </a:lnTo>
                  <a:lnTo>
                    <a:pt x="363" y="203"/>
                  </a:lnTo>
                  <a:lnTo>
                    <a:pt x="370" y="208"/>
                  </a:lnTo>
                  <a:lnTo>
                    <a:pt x="377" y="215"/>
                  </a:lnTo>
                  <a:lnTo>
                    <a:pt x="380" y="219"/>
                  </a:lnTo>
                  <a:lnTo>
                    <a:pt x="383" y="220"/>
                  </a:lnTo>
                  <a:lnTo>
                    <a:pt x="383" y="221"/>
                  </a:lnTo>
                  <a:lnTo>
                    <a:pt x="383" y="224"/>
                  </a:lnTo>
                  <a:lnTo>
                    <a:pt x="385" y="231"/>
                  </a:lnTo>
                  <a:lnTo>
                    <a:pt x="388" y="236"/>
                  </a:lnTo>
                  <a:lnTo>
                    <a:pt x="388" y="240"/>
                  </a:lnTo>
                  <a:lnTo>
                    <a:pt x="388" y="242"/>
                  </a:lnTo>
                  <a:lnTo>
                    <a:pt x="385" y="247"/>
                  </a:lnTo>
                  <a:lnTo>
                    <a:pt x="385" y="251"/>
                  </a:lnTo>
                  <a:lnTo>
                    <a:pt x="385" y="254"/>
                  </a:lnTo>
                  <a:lnTo>
                    <a:pt x="389" y="258"/>
                  </a:lnTo>
                  <a:lnTo>
                    <a:pt x="394" y="263"/>
                  </a:lnTo>
                  <a:lnTo>
                    <a:pt x="401" y="267"/>
                  </a:lnTo>
                  <a:lnTo>
                    <a:pt x="420" y="270"/>
                  </a:lnTo>
                  <a:lnTo>
                    <a:pt x="439" y="273"/>
                  </a:lnTo>
                  <a:lnTo>
                    <a:pt x="448" y="273"/>
                  </a:lnTo>
                  <a:lnTo>
                    <a:pt x="457" y="272"/>
                  </a:lnTo>
                  <a:lnTo>
                    <a:pt x="465" y="274"/>
                  </a:lnTo>
                  <a:lnTo>
                    <a:pt x="473" y="277"/>
                  </a:lnTo>
                  <a:lnTo>
                    <a:pt x="486" y="283"/>
                  </a:lnTo>
                  <a:lnTo>
                    <a:pt x="491" y="285"/>
                  </a:lnTo>
                  <a:lnTo>
                    <a:pt x="493" y="286"/>
                  </a:lnTo>
                  <a:lnTo>
                    <a:pt x="498" y="289"/>
                  </a:lnTo>
                  <a:lnTo>
                    <a:pt x="502" y="291"/>
                  </a:lnTo>
                  <a:lnTo>
                    <a:pt x="511" y="295"/>
                  </a:lnTo>
                  <a:lnTo>
                    <a:pt x="517" y="296"/>
                  </a:lnTo>
                  <a:lnTo>
                    <a:pt x="522" y="296"/>
                  </a:lnTo>
                  <a:lnTo>
                    <a:pt x="525" y="297"/>
                  </a:lnTo>
                  <a:lnTo>
                    <a:pt x="527" y="299"/>
                  </a:lnTo>
                  <a:lnTo>
                    <a:pt x="527" y="301"/>
                  </a:lnTo>
                  <a:lnTo>
                    <a:pt x="529" y="304"/>
                  </a:lnTo>
                  <a:lnTo>
                    <a:pt x="532" y="306"/>
                  </a:lnTo>
                  <a:lnTo>
                    <a:pt x="535" y="309"/>
                  </a:lnTo>
                  <a:lnTo>
                    <a:pt x="538" y="311"/>
                  </a:lnTo>
                  <a:lnTo>
                    <a:pt x="541" y="315"/>
                  </a:lnTo>
                  <a:lnTo>
                    <a:pt x="546" y="321"/>
                  </a:lnTo>
                  <a:lnTo>
                    <a:pt x="552" y="327"/>
                  </a:lnTo>
                  <a:lnTo>
                    <a:pt x="560" y="333"/>
                  </a:lnTo>
                  <a:lnTo>
                    <a:pt x="567" y="339"/>
                  </a:lnTo>
                  <a:lnTo>
                    <a:pt x="570" y="341"/>
                  </a:lnTo>
                  <a:lnTo>
                    <a:pt x="571" y="343"/>
                  </a:lnTo>
                  <a:lnTo>
                    <a:pt x="572" y="345"/>
                  </a:lnTo>
                  <a:lnTo>
                    <a:pt x="575" y="347"/>
                  </a:lnTo>
                  <a:lnTo>
                    <a:pt x="584" y="345"/>
                  </a:lnTo>
                  <a:lnTo>
                    <a:pt x="593" y="344"/>
                  </a:lnTo>
                  <a:lnTo>
                    <a:pt x="602" y="345"/>
                  </a:lnTo>
                  <a:lnTo>
                    <a:pt x="611" y="347"/>
                  </a:lnTo>
                  <a:lnTo>
                    <a:pt x="624" y="349"/>
                  </a:lnTo>
                  <a:lnTo>
                    <a:pt x="634" y="350"/>
                  </a:lnTo>
                  <a:lnTo>
                    <a:pt x="645" y="352"/>
                  </a:lnTo>
                  <a:lnTo>
                    <a:pt x="655" y="352"/>
                  </a:lnTo>
                  <a:lnTo>
                    <a:pt x="659" y="352"/>
                  </a:lnTo>
                  <a:lnTo>
                    <a:pt x="664" y="349"/>
                  </a:lnTo>
                  <a:lnTo>
                    <a:pt x="668" y="348"/>
                  </a:lnTo>
                  <a:lnTo>
                    <a:pt x="673" y="348"/>
                  </a:lnTo>
                  <a:lnTo>
                    <a:pt x="684" y="349"/>
                  </a:lnTo>
                  <a:lnTo>
                    <a:pt x="695" y="352"/>
                  </a:lnTo>
                  <a:lnTo>
                    <a:pt x="700" y="352"/>
                  </a:lnTo>
                  <a:lnTo>
                    <a:pt x="705" y="352"/>
                  </a:lnTo>
                  <a:lnTo>
                    <a:pt x="710" y="352"/>
                  </a:lnTo>
                  <a:lnTo>
                    <a:pt x="715" y="354"/>
                  </a:lnTo>
                  <a:lnTo>
                    <a:pt x="722" y="359"/>
                  </a:lnTo>
                  <a:lnTo>
                    <a:pt x="730" y="364"/>
                  </a:lnTo>
                  <a:lnTo>
                    <a:pt x="742" y="368"/>
                  </a:lnTo>
                  <a:lnTo>
                    <a:pt x="754" y="370"/>
                  </a:lnTo>
                  <a:lnTo>
                    <a:pt x="773" y="375"/>
                  </a:lnTo>
                  <a:lnTo>
                    <a:pt x="781" y="376"/>
                  </a:lnTo>
                  <a:lnTo>
                    <a:pt x="792" y="376"/>
                  </a:lnTo>
                  <a:lnTo>
                    <a:pt x="796" y="376"/>
                  </a:lnTo>
                  <a:lnTo>
                    <a:pt x="798" y="377"/>
                  </a:lnTo>
                  <a:lnTo>
                    <a:pt x="800" y="379"/>
                  </a:lnTo>
                  <a:lnTo>
                    <a:pt x="802" y="380"/>
                  </a:lnTo>
                  <a:lnTo>
                    <a:pt x="807" y="382"/>
                  </a:lnTo>
                  <a:lnTo>
                    <a:pt x="812" y="382"/>
                  </a:lnTo>
                  <a:lnTo>
                    <a:pt x="816" y="382"/>
                  </a:lnTo>
                  <a:lnTo>
                    <a:pt x="817" y="382"/>
                  </a:lnTo>
                  <a:lnTo>
                    <a:pt x="816" y="382"/>
                  </a:lnTo>
                  <a:lnTo>
                    <a:pt x="816" y="382"/>
                  </a:lnTo>
                  <a:lnTo>
                    <a:pt x="818" y="381"/>
                  </a:lnTo>
                  <a:lnTo>
                    <a:pt x="822" y="377"/>
                  </a:lnTo>
                  <a:lnTo>
                    <a:pt x="828" y="375"/>
                  </a:lnTo>
                  <a:lnTo>
                    <a:pt x="840" y="368"/>
                  </a:lnTo>
                  <a:lnTo>
                    <a:pt x="845" y="365"/>
                  </a:lnTo>
                  <a:lnTo>
                    <a:pt x="848" y="364"/>
                  </a:lnTo>
                  <a:lnTo>
                    <a:pt x="853" y="363"/>
                  </a:lnTo>
                  <a:lnTo>
                    <a:pt x="857" y="361"/>
                  </a:lnTo>
                  <a:lnTo>
                    <a:pt x="867" y="359"/>
                  </a:lnTo>
                  <a:lnTo>
                    <a:pt x="878" y="358"/>
                  </a:lnTo>
                  <a:lnTo>
                    <a:pt x="892" y="356"/>
                  </a:lnTo>
                  <a:lnTo>
                    <a:pt x="910" y="356"/>
                  </a:lnTo>
                  <a:lnTo>
                    <a:pt x="919" y="356"/>
                  </a:lnTo>
                  <a:lnTo>
                    <a:pt x="926" y="353"/>
                  </a:lnTo>
                  <a:lnTo>
                    <a:pt x="935" y="349"/>
                  </a:lnTo>
                  <a:lnTo>
                    <a:pt x="939" y="347"/>
                  </a:lnTo>
                  <a:lnTo>
                    <a:pt x="942" y="344"/>
                  </a:lnTo>
                  <a:lnTo>
                    <a:pt x="946" y="337"/>
                  </a:lnTo>
                  <a:lnTo>
                    <a:pt x="948" y="329"/>
                  </a:lnTo>
                  <a:lnTo>
                    <a:pt x="951" y="328"/>
                  </a:lnTo>
                  <a:lnTo>
                    <a:pt x="953" y="326"/>
                  </a:lnTo>
                  <a:lnTo>
                    <a:pt x="956" y="325"/>
                  </a:lnTo>
                  <a:lnTo>
                    <a:pt x="958" y="322"/>
                  </a:lnTo>
                  <a:lnTo>
                    <a:pt x="962" y="320"/>
                  </a:lnTo>
                  <a:lnTo>
                    <a:pt x="964" y="317"/>
                  </a:lnTo>
                  <a:lnTo>
                    <a:pt x="967" y="316"/>
                  </a:lnTo>
                  <a:lnTo>
                    <a:pt x="968" y="315"/>
                  </a:lnTo>
                  <a:lnTo>
                    <a:pt x="967" y="312"/>
                  </a:lnTo>
                  <a:lnTo>
                    <a:pt x="966" y="310"/>
                  </a:lnTo>
                  <a:lnTo>
                    <a:pt x="958" y="304"/>
                  </a:lnTo>
                  <a:lnTo>
                    <a:pt x="951" y="299"/>
                  </a:lnTo>
                  <a:lnTo>
                    <a:pt x="947" y="296"/>
                  </a:lnTo>
                  <a:lnTo>
                    <a:pt x="945" y="294"/>
                  </a:lnTo>
                  <a:lnTo>
                    <a:pt x="944" y="291"/>
                  </a:lnTo>
                  <a:lnTo>
                    <a:pt x="944" y="289"/>
                  </a:lnTo>
                  <a:lnTo>
                    <a:pt x="945" y="286"/>
                  </a:lnTo>
                  <a:lnTo>
                    <a:pt x="944" y="284"/>
                  </a:lnTo>
                  <a:lnTo>
                    <a:pt x="942" y="279"/>
                  </a:lnTo>
                  <a:lnTo>
                    <a:pt x="944" y="275"/>
                  </a:lnTo>
                  <a:lnTo>
                    <a:pt x="946" y="272"/>
                  </a:lnTo>
                  <a:lnTo>
                    <a:pt x="950" y="269"/>
                  </a:lnTo>
                  <a:lnTo>
                    <a:pt x="956" y="269"/>
                  </a:lnTo>
                  <a:lnTo>
                    <a:pt x="962" y="272"/>
                  </a:lnTo>
                  <a:lnTo>
                    <a:pt x="972" y="277"/>
                  </a:lnTo>
                  <a:lnTo>
                    <a:pt x="978" y="278"/>
                  </a:lnTo>
                  <a:lnTo>
                    <a:pt x="987" y="280"/>
                  </a:lnTo>
                  <a:lnTo>
                    <a:pt x="989" y="280"/>
                  </a:lnTo>
                  <a:lnTo>
                    <a:pt x="993" y="281"/>
                  </a:lnTo>
                  <a:lnTo>
                    <a:pt x="996" y="281"/>
                  </a:lnTo>
                  <a:lnTo>
                    <a:pt x="998" y="280"/>
                  </a:lnTo>
                  <a:lnTo>
                    <a:pt x="999" y="277"/>
                  </a:lnTo>
                  <a:lnTo>
                    <a:pt x="1003" y="275"/>
                  </a:lnTo>
                  <a:lnTo>
                    <a:pt x="1005" y="273"/>
                  </a:lnTo>
                  <a:lnTo>
                    <a:pt x="1007" y="270"/>
                  </a:lnTo>
                  <a:lnTo>
                    <a:pt x="1010" y="266"/>
                  </a:lnTo>
                  <a:lnTo>
                    <a:pt x="1011" y="261"/>
                  </a:lnTo>
                  <a:lnTo>
                    <a:pt x="1014" y="259"/>
                  </a:lnTo>
                  <a:lnTo>
                    <a:pt x="1017" y="259"/>
                  </a:lnTo>
                  <a:lnTo>
                    <a:pt x="1021" y="259"/>
                  </a:lnTo>
                  <a:lnTo>
                    <a:pt x="1023" y="261"/>
                  </a:lnTo>
                  <a:lnTo>
                    <a:pt x="1031" y="261"/>
                  </a:lnTo>
                  <a:lnTo>
                    <a:pt x="1037" y="258"/>
                  </a:lnTo>
                  <a:lnTo>
                    <a:pt x="1043" y="253"/>
                  </a:lnTo>
                  <a:lnTo>
                    <a:pt x="1047" y="248"/>
                  </a:lnTo>
                  <a:lnTo>
                    <a:pt x="1047" y="246"/>
                  </a:lnTo>
                  <a:lnTo>
                    <a:pt x="1046" y="243"/>
                  </a:lnTo>
                  <a:lnTo>
                    <a:pt x="1044" y="240"/>
                  </a:lnTo>
                  <a:lnTo>
                    <a:pt x="1046" y="236"/>
                  </a:lnTo>
                  <a:lnTo>
                    <a:pt x="1047" y="232"/>
                  </a:lnTo>
                  <a:lnTo>
                    <a:pt x="1048" y="230"/>
                  </a:lnTo>
                  <a:lnTo>
                    <a:pt x="1052" y="229"/>
                  </a:lnTo>
                  <a:lnTo>
                    <a:pt x="1054" y="227"/>
                  </a:lnTo>
                  <a:lnTo>
                    <a:pt x="1058" y="229"/>
                  </a:lnTo>
                  <a:lnTo>
                    <a:pt x="1063" y="229"/>
                  </a:lnTo>
                  <a:lnTo>
                    <a:pt x="1064" y="227"/>
                  </a:lnTo>
                  <a:lnTo>
                    <a:pt x="1065" y="224"/>
                  </a:lnTo>
                  <a:lnTo>
                    <a:pt x="1066" y="221"/>
                  </a:lnTo>
                  <a:lnTo>
                    <a:pt x="1069" y="221"/>
                  </a:lnTo>
                  <a:lnTo>
                    <a:pt x="1073" y="222"/>
                  </a:lnTo>
                  <a:lnTo>
                    <a:pt x="1074" y="222"/>
                  </a:lnTo>
                  <a:lnTo>
                    <a:pt x="1076" y="221"/>
                  </a:lnTo>
                  <a:lnTo>
                    <a:pt x="1079" y="220"/>
                  </a:lnTo>
                  <a:lnTo>
                    <a:pt x="1082" y="219"/>
                  </a:lnTo>
                  <a:lnTo>
                    <a:pt x="1085" y="218"/>
                  </a:lnTo>
                  <a:lnTo>
                    <a:pt x="1089" y="218"/>
                  </a:lnTo>
                  <a:lnTo>
                    <a:pt x="1092" y="218"/>
                  </a:lnTo>
                  <a:lnTo>
                    <a:pt x="1095" y="218"/>
                  </a:lnTo>
                  <a:lnTo>
                    <a:pt x="1097" y="218"/>
                  </a:lnTo>
                  <a:lnTo>
                    <a:pt x="1098" y="216"/>
                  </a:lnTo>
                  <a:lnTo>
                    <a:pt x="1098" y="216"/>
                  </a:lnTo>
                  <a:lnTo>
                    <a:pt x="1103" y="218"/>
                  </a:lnTo>
                  <a:lnTo>
                    <a:pt x="1107" y="219"/>
                  </a:lnTo>
                  <a:lnTo>
                    <a:pt x="1113" y="220"/>
                  </a:lnTo>
                  <a:lnTo>
                    <a:pt x="1119" y="220"/>
                  </a:lnTo>
                  <a:lnTo>
                    <a:pt x="1123" y="220"/>
                  </a:lnTo>
                  <a:lnTo>
                    <a:pt x="1126" y="218"/>
                  </a:lnTo>
                  <a:lnTo>
                    <a:pt x="1126" y="215"/>
                  </a:lnTo>
                  <a:lnTo>
                    <a:pt x="1124" y="213"/>
                  </a:lnTo>
                  <a:lnTo>
                    <a:pt x="1119" y="208"/>
                  </a:lnTo>
                  <a:lnTo>
                    <a:pt x="1114" y="204"/>
                  </a:lnTo>
                  <a:lnTo>
                    <a:pt x="1092" y="191"/>
                  </a:lnTo>
                  <a:lnTo>
                    <a:pt x="1069" y="178"/>
                  </a:lnTo>
                  <a:lnTo>
                    <a:pt x="1064" y="176"/>
                  </a:lnTo>
                  <a:lnTo>
                    <a:pt x="1058" y="175"/>
                  </a:lnTo>
                  <a:lnTo>
                    <a:pt x="1052" y="176"/>
                  </a:lnTo>
                  <a:lnTo>
                    <a:pt x="1048" y="181"/>
                  </a:lnTo>
                  <a:lnTo>
                    <a:pt x="1046" y="184"/>
                  </a:lnTo>
                  <a:lnTo>
                    <a:pt x="1043" y="186"/>
                  </a:lnTo>
                  <a:lnTo>
                    <a:pt x="1039" y="186"/>
                  </a:lnTo>
                  <a:lnTo>
                    <a:pt x="1037" y="184"/>
                  </a:lnTo>
                  <a:lnTo>
                    <a:pt x="1031" y="182"/>
                  </a:lnTo>
                  <a:lnTo>
                    <a:pt x="1028" y="181"/>
                  </a:lnTo>
                  <a:lnTo>
                    <a:pt x="1025" y="181"/>
                  </a:lnTo>
                  <a:lnTo>
                    <a:pt x="1019" y="181"/>
                  </a:lnTo>
                  <a:lnTo>
                    <a:pt x="1012" y="181"/>
                  </a:lnTo>
                  <a:lnTo>
                    <a:pt x="1010" y="182"/>
                  </a:lnTo>
                  <a:lnTo>
                    <a:pt x="1009" y="184"/>
                  </a:lnTo>
                  <a:lnTo>
                    <a:pt x="1006" y="186"/>
                  </a:lnTo>
                  <a:lnTo>
                    <a:pt x="1003" y="184"/>
                  </a:lnTo>
                  <a:lnTo>
                    <a:pt x="999" y="182"/>
                  </a:lnTo>
                  <a:lnTo>
                    <a:pt x="994" y="179"/>
                  </a:lnTo>
                  <a:lnTo>
                    <a:pt x="991" y="175"/>
                  </a:lnTo>
                  <a:lnTo>
                    <a:pt x="990" y="173"/>
                  </a:lnTo>
                  <a:lnTo>
                    <a:pt x="990" y="171"/>
                  </a:lnTo>
                  <a:lnTo>
                    <a:pt x="993" y="168"/>
                  </a:lnTo>
                  <a:lnTo>
                    <a:pt x="993" y="167"/>
                  </a:lnTo>
                  <a:lnTo>
                    <a:pt x="993" y="165"/>
                  </a:lnTo>
                  <a:lnTo>
                    <a:pt x="990" y="160"/>
                  </a:lnTo>
                  <a:lnTo>
                    <a:pt x="990" y="154"/>
                  </a:lnTo>
                  <a:lnTo>
                    <a:pt x="990" y="136"/>
                  </a:lnTo>
                  <a:lnTo>
                    <a:pt x="988" y="118"/>
                  </a:lnTo>
                  <a:lnTo>
                    <a:pt x="995" y="120"/>
                  </a:lnTo>
                  <a:lnTo>
                    <a:pt x="1003" y="122"/>
                  </a:lnTo>
                  <a:lnTo>
                    <a:pt x="1009" y="123"/>
                  </a:lnTo>
                  <a:lnTo>
                    <a:pt x="1016" y="125"/>
                  </a:lnTo>
                  <a:lnTo>
                    <a:pt x="1020" y="127"/>
                  </a:lnTo>
                  <a:lnTo>
                    <a:pt x="1022" y="127"/>
                  </a:lnTo>
                  <a:lnTo>
                    <a:pt x="1026" y="124"/>
                  </a:lnTo>
                  <a:lnTo>
                    <a:pt x="1028" y="120"/>
                  </a:lnTo>
                  <a:lnTo>
                    <a:pt x="1032" y="116"/>
                  </a:lnTo>
                  <a:lnTo>
                    <a:pt x="1037" y="113"/>
                  </a:lnTo>
                  <a:lnTo>
                    <a:pt x="1042" y="112"/>
                  </a:lnTo>
                  <a:lnTo>
                    <a:pt x="1047" y="111"/>
                  </a:lnTo>
                  <a:lnTo>
                    <a:pt x="1048" y="108"/>
                  </a:lnTo>
                  <a:lnTo>
                    <a:pt x="1048" y="106"/>
                  </a:lnTo>
                  <a:lnTo>
                    <a:pt x="1046" y="104"/>
                  </a:lnTo>
                  <a:lnTo>
                    <a:pt x="1043" y="103"/>
                  </a:lnTo>
                  <a:lnTo>
                    <a:pt x="1041" y="101"/>
                  </a:lnTo>
                  <a:lnTo>
                    <a:pt x="1039" y="98"/>
                  </a:lnTo>
                  <a:lnTo>
                    <a:pt x="1039" y="95"/>
                  </a:lnTo>
                  <a:lnTo>
                    <a:pt x="1041" y="91"/>
                  </a:lnTo>
                  <a:lnTo>
                    <a:pt x="1041" y="88"/>
                  </a:lnTo>
                  <a:lnTo>
                    <a:pt x="1039" y="86"/>
                  </a:lnTo>
                  <a:lnTo>
                    <a:pt x="1039" y="84"/>
                  </a:lnTo>
                  <a:lnTo>
                    <a:pt x="1039" y="81"/>
                  </a:lnTo>
                  <a:lnTo>
                    <a:pt x="1039" y="79"/>
                  </a:lnTo>
                  <a:lnTo>
                    <a:pt x="1039" y="77"/>
                  </a:lnTo>
                  <a:lnTo>
                    <a:pt x="1038" y="72"/>
                  </a:lnTo>
                  <a:lnTo>
                    <a:pt x="1038" y="66"/>
                  </a:lnTo>
                  <a:lnTo>
                    <a:pt x="1038" y="61"/>
                  </a:lnTo>
                  <a:lnTo>
                    <a:pt x="1038" y="58"/>
                  </a:lnTo>
                  <a:lnTo>
                    <a:pt x="1042" y="53"/>
                  </a:lnTo>
                  <a:lnTo>
                    <a:pt x="1044" y="52"/>
                  </a:lnTo>
                  <a:lnTo>
                    <a:pt x="1046" y="49"/>
                  </a:lnTo>
                  <a:lnTo>
                    <a:pt x="1043" y="44"/>
                  </a:lnTo>
                  <a:lnTo>
                    <a:pt x="1039" y="41"/>
                  </a:lnTo>
                  <a:lnTo>
                    <a:pt x="1036" y="36"/>
                  </a:lnTo>
                  <a:lnTo>
                    <a:pt x="1033" y="33"/>
                  </a:lnTo>
                  <a:lnTo>
                    <a:pt x="1031" y="31"/>
                  </a:lnTo>
                  <a:lnTo>
                    <a:pt x="1026" y="29"/>
                  </a:lnTo>
                  <a:lnTo>
                    <a:pt x="1022" y="29"/>
                  </a:lnTo>
                  <a:lnTo>
                    <a:pt x="1020" y="31"/>
                  </a:lnTo>
                  <a:lnTo>
                    <a:pt x="1016" y="29"/>
                  </a:lnTo>
                  <a:lnTo>
                    <a:pt x="1012" y="25"/>
                  </a:lnTo>
                  <a:lnTo>
                    <a:pt x="1016" y="21"/>
                  </a:lnTo>
                  <a:lnTo>
                    <a:pt x="1020" y="16"/>
                  </a:lnTo>
                  <a:lnTo>
                    <a:pt x="1022" y="11"/>
                  </a:lnTo>
                  <a:lnTo>
                    <a:pt x="1027" y="7"/>
                  </a:lnTo>
                  <a:lnTo>
                    <a:pt x="1043" y="4"/>
                  </a:lnTo>
                  <a:lnTo>
                    <a:pt x="1052" y="2"/>
                  </a:lnTo>
                  <a:lnTo>
                    <a:pt x="1059" y="2"/>
                  </a:lnTo>
                  <a:lnTo>
                    <a:pt x="1068" y="1"/>
                  </a:lnTo>
                  <a:lnTo>
                    <a:pt x="1075" y="0"/>
                  </a:lnTo>
                  <a:lnTo>
                    <a:pt x="1084" y="0"/>
                  </a:lnTo>
                  <a:lnTo>
                    <a:pt x="1091" y="1"/>
                  </a:lnTo>
                  <a:lnTo>
                    <a:pt x="1095" y="2"/>
                  </a:lnTo>
                  <a:lnTo>
                    <a:pt x="1098" y="4"/>
                  </a:lnTo>
                  <a:lnTo>
                    <a:pt x="1103" y="5"/>
                  </a:lnTo>
                  <a:lnTo>
                    <a:pt x="1107" y="7"/>
                  </a:lnTo>
                  <a:lnTo>
                    <a:pt x="1111" y="10"/>
                  </a:lnTo>
                  <a:lnTo>
                    <a:pt x="1116" y="11"/>
                  </a:lnTo>
                  <a:lnTo>
                    <a:pt x="1126" y="13"/>
                  </a:lnTo>
                  <a:lnTo>
                    <a:pt x="1126" y="12"/>
                  </a:lnTo>
                  <a:lnTo>
                    <a:pt x="1128" y="11"/>
                  </a:lnTo>
                  <a:lnTo>
                    <a:pt x="1132" y="11"/>
                  </a:lnTo>
                  <a:lnTo>
                    <a:pt x="1137" y="12"/>
                  </a:lnTo>
                  <a:lnTo>
                    <a:pt x="1141" y="13"/>
                  </a:lnTo>
                  <a:lnTo>
                    <a:pt x="1145" y="15"/>
                  </a:lnTo>
                  <a:lnTo>
                    <a:pt x="1148" y="16"/>
                  </a:lnTo>
                  <a:lnTo>
                    <a:pt x="1148" y="17"/>
                  </a:lnTo>
                  <a:lnTo>
                    <a:pt x="1149" y="20"/>
                  </a:lnTo>
                  <a:lnTo>
                    <a:pt x="1154" y="22"/>
                  </a:lnTo>
                  <a:lnTo>
                    <a:pt x="1157" y="23"/>
                  </a:lnTo>
                  <a:lnTo>
                    <a:pt x="1161" y="25"/>
                  </a:lnTo>
                  <a:lnTo>
                    <a:pt x="1162" y="26"/>
                  </a:lnTo>
                  <a:lnTo>
                    <a:pt x="1162" y="27"/>
                  </a:lnTo>
                  <a:lnTo>
                    <a:pt x="1164" y="28"/>
                  </a:lnTo>
                  <a:lnTo>
                    <a:pt x="1164" y="28"/>
                  </a:lnTo>
                  <a:lnTo>
                    <a:pt x="1172" y="34"/>
                  </a:lnTo>
                  <a:lnTo>
                    <a:pt x="1182" y="41"/>
                  </a:lnTo>
                  <a:lnTo>
                    <a:pt x="1186" y="43"/>
                  </a:lnTo>
                  <a:lnTo>
                    <a:pt x="1189" y="47"/>
                  </a:lnTo>
                  <a:lnTo>
                    <a:pt x="1193" y="53"/>
                  </a:lnTo>
                  <a:lnTo>
                    <a:pt x="1199" y="57"/>
                  </a:lnTo>
                  <a:lnTo>
                    <a:pt x="1204" y="61"/>
                  </a:lnTo>
                  <a:lnTo>
                    <a:pt x="1207" y="64"/>
                  </a:lnTo>
                  <a:lnTo>
                    <a:pt x="1210" y="65"/>
                  </a:lnTo>
                  <a:lnTo>
                    <a:pt x="1214" y="68"/>
                  </a:lnTo>
                  <a:lnTo>
                    <a:pt x="1218" y="71"/>
                  </a:lnTo>
                  <a:lnTo>
                    <a:pt x="1220" y="75"/>
                  </a:lnTo>
                  <a:lnTo>
                    <a:pt x="1223" y="77"/>
                  </a:lnTo>
                  <a:lnTo>
                    <a:pt x="1231" y="84"/>
                  </a:lnTo>
                  <a:lnTo>
                    <a:pt x="1239" y="88"/>
                  </a:lnTo>
                  <a:lnTo>
                    <a:pt x="1241" y="91"/>
                  </a:lnTo>
                  <a:lnTo>
                    <a:pt x="1242" y="95"/>
                  </a:lnTo>
                  <a:lnTo>
                    <a:pt x="1247" y="101"/>
                  </a:lnTo>
                  <a:lnTo>
                    <a:pt x="1250" y="103"/>
                  </a:lnTo>
                  <a:lnTo>
                    <a:pt x="1253" y="104"/>
                  </a:lnTo>
                  <a:lnTo>
                    <a:pt x="1256" y="106"/>
                  </a:lnTo>
                  <a:lnTo>
                    <a:pt x="1257" y="109"/>
                  </a:lnTo>
                  <a:lnTo>
                    <a:pt x="1262" y="116"/>
                  </a:lnTo>
                  <a:lnTo>
                    <a:pt x="1269" y="122"/>
                  </a:lnTo>
                  <a:lnTo>
                    <a:pt x="1278" y="125"/>
                  </a:lnTo>
                  <a:lnTo>
                    <a:pt x="1285" y="125"/>
                  </a:lnTo>
                  <a:lnTo>
                    <a:pt x="1293" y="125"/>
                  </a:lnTo>
                  <a:lnTo>
                    <a:pt x="1300" y="127"/>
                  </a:lnTo>
                  <a:lnTo>
                    <a:pt x="1309" y="130"/>
                  </a:lnTo>
                  <a:lnTo>
                    <a:pt x="1319" y="133"/>
                  </a:lnTo>
                  <a:lnTo>
                    <a:pt x="1317" y="130"/>
                  </a:lnTo>
                  <a:lnTo>
                    <a:pt x="1317" y="130"/>
                  </a:lnTo>
                  <a:lnTo>
                    <a:pt x="1321" y="132"/>
                  </a:lnTo>
                  <a:lnTo>
                    <a:pt x="1325" y="134"/>
                  </a:lnTo>
                  <a:lnTo>
                    <a:pt x="1328" y="135"/>
                  </a:lnTo>
                  <a:lnTo>
                    <a:pt x="1332" y="136"/>
                  </a:lnTo>
                  <a:lnTo>
                    <a:pt x="1336" y="140"/>
                  </a:lnTo>
                  <a:lnTo>
                    <a:pt x="1339" y="143"/>
                  </a:lnTo>
                  <a:lnTo>
                    <a:pt x="1342" y="145"/>
                  </a:lnTo>
                  <a:lnTo>
                    <a:pt x="1347" y="147"/>
                  </a:lnTo>
                  <a:lnTo>
                    <a:pt x="1352" y="147"/>
                  </a:lnTo>
                  <a:lnTo>
                    <a:pt x="1357" y="147"/>
                  </a:lnTo>
                  <a:lnTo>
                    <a:pt x="1362" y="149"/>
                  </a:lnTo>
                  <a:lnTo>
                    <a:pt x="1362" y="150"/>
                  </a:lnTo>
                  <a:lnTo>
                    <a:pt x="1363" y="151"/>
                  </a:lnTo>
                  <a:lnTo>
                    <a:pt x="1364" y="155"/>
                  </a:lnTo>
                  <a:lnTo>
                    <a:pt x="1367" y="159"/>
                  </a:lnTo>
                  <a:lnTo>
                    <a:pt x="1370" y="160"/>
                  </a:lnTo>
                  <a:lnTo>
                    <a:pt x="1374" y="162"/>
                  </a:lnTo>
                  <a:lnTo>
                    <a:pt x="1376" y="166"/>
                  </a:lnTo>
                  <a:lnTo>
                    <a:pt x="1376" y="170"/>
                  </a:lnTo>
                  <a:lnTo>
                    <a:pt x="1378" y="173"/>
                  </a:lnTo>
                  <a:lnTo>
                    <a:pt x="1381" y="177"/>
                  </a:lnTo>
                  <a:lnTo>
                    <a:pt x="1386" y="181"/>
                  </a:lnTo>
                  <a:lnTo>
                    <a:pt x="1392" y="184"/>
                  </a:lnTo>
                  <a:lnTo>
                    <a:pt x="1396" y="187"/>
                  </a:lnTo>
                  <a:lnTo>
                    <a:pt x="1399" y="187"/>
                  </a:lnTo>
                  <a:lnTo>
                    <a:pt x="1400" y="186"/>
                  </a:lnTo>
                  <a:lnTo>
                    <a:pt x="1403" y="184"/>
                  </a:lnTo>
                  <a:lnTo>
                    <a:pt x="1410" y="186"/>
                  </a:lnTo>
                  <a:lnTo>
                    <a:pt x="1414" y="187"/>
                  </a:lnTo>
                  <a:lnTo>
                    <a:pt x="1419" y="187"/>
                  </a:lnTo>
                  <a:lnTo>
                    <a:pt x="1427" y="186"/>
                  </a:lnTo>
                  <a:lnTo>
                    <a:pt x="1432" y="184"/>
                  </a:lnTo>
                  <a:lnTo>
                    <a:pt x="1433" y="183"/>
                  </a:lnTo>
                  <a:lnTo>
                    <a:pt x="1433" y="182"/>
                  </a:lnTo>
                  <a:lnTo>
                    <a:pt x="1433" y="178"/>
                  </a:lnTo>
                  <a:lnTo>
                    <a:pt x="1437" y="175"/>
                  </a:lnTo>
                  <a:lnTo>
                    <a:pt x="1440" y="173"/>
                  </a:lnTo>
                  <a:lnTo>
                    <a:pt x="1445" y="172"/>
                  </a:lnTo>
                  <a:lnTo>
                    <a:pt x="1446" y="173"/>
                  </a:lnTo>
                  <a:lnTo>
                    <a:pt x="1448" y="173"/>
                  </a:lnTo>
                  <a:lnTo>
                    <a:pt x="1450" y="173"/>
                  </a:lnTo>
                  <a:lnTo>
                    <a:pt x="1450" y="173"/>
                  </a:lnTo>
                  <a:lnTo>
                    <a:pt x="1451" y="170"/>
                  </a:lnTo>
                  <a:lnTo>
                    <a:pt x="1453" y="168"/>
                  </a:lnTo>
                  <a:lnTo>
                    <a:pt x="1455" y="168"/>
                  </a:lnTo>
                  <a:lnTo>
                    <a:pt x="1458" y="167"/>
                  </a:lnTo>
                  <a:lnTo>
                    <a:pt x="1461" y="166"/>
                  </a:lnTo>
                  <a:lnTo>
                    <a:pt x="1464" y="165"/>
                  </a:lnTo>
                  <a:lnTo>
                    <a:pt x="1467" y="163"/>
                  </a:lnTo>
                  <a:lnTo>
                    <a:pt x="1470" y="165"/>
                  </a:lnTo>
                  <a:lnTo>
                    <a:pt x="1474" y="166"/>
                  </a:lnTo>
                  <a:lnTo>
                    <a:pt x="1476" y="167"/>
                  </a:lnTo>
                  <a:lnTo>
                    <a:pt x="1478" y="168"/>
                  </a:lnTo>
                  <a:lnTo>
                    <a:pt x="1478" y="173"/>
                  </a:lnTo>
                  <a:lnTo>
                    <a:pt x="1481" y="177"/>
                  </a:lnTo>
                  <a:lnTo>
                    <a:pt x="1485" y="181"/>
                  </a:lnTo>
                  <a:lnTo>
                    <a:pt x="1488" y="184"/>
                  </a:lnTo>
                  <a:lnTo>
                    <a:pt x="1491" y="188"/>
                  </a:lnTo>
                  <a:lnTo>
                    <a:pt x="1490" y="192"/>
                  </a:lnTo>
                  <a:lnTo>
                    <a:pt x="1487" y="194"/>
                  </a:lnTo>
                  <a:lnTo>
                    <a:pt x="1485" y="197"/>
                  </a:lnTo>
                  <a:lnTo>
                    <a:pt x="1483" y="199"/>
                  </a:lnTo>
                  <a:lnTo>
                    <a:pt x="1485" y="200"/>
                  </a:lnTo>
                  <a:lnTo>
                    <a:pt x="1487" y="204"/>
                  </a:lnTo>
                  <a:lnTo>
                    <a:pt x="1488" y="208"/>
                  </a:lnTo>
                  <a:lnTo>
                    <a:pt x="1488" y="210"/>
                  </a:lnTo>
                  <a:lnTo>
                    <a:pt x="1491" y="216"/>
                  </a:lnTo>
                  <a:lnTo>
                    <a:pt x="1492" y="219"/>
                  </a:lnTo>
                  <a:lnTo>
                    <a:pt x="1492" y="221"/>
                  </a:lnTo>
                  <a:lnTo>
                    <a:pt x="1493" y="225"/>
                  </a:lnTo>
                  <a:lnTo>
                    <a:pt x="1496" y="230"/>
                  </a:lnTo>
                  <a:lnTo>
                    <a:pt x="1497" y="234"/>
                  </a:lnTo>
                  <a:lnTo>
                    <a:pt x="1496" y="235"/>
                  </a:lnTo>
                  <a:lnTo>
                    <a:pt x="1494" y="236"/>
                  </a:lnTo>
                  <a:lnTo>
                    <a:pt x="1496" y="238"/>
                  </a:lnTo>
                  <a:lnTo>
                    <a:pt x="1497" y="241"/>
                  </a:lnTo>
                  <a:lnTo>
                    <a:pt x="1496" y="242"/>
                  </a:lnTo>
                  <a:lnTo>
                    <a:pt x="1496" y="246"/>
                  </a:lnTo>
                  <a:lnTo>
                    <a:pt x="1496" y="247"/>
                  </a:lnTo>
                  <a:lnTo>
                    <a:pt x="1497" y="250"/>
                  </a:lnTo>
                  <a:lnTo>
                    <a:pt x="1498" y="252"/>
                  </a:lnTo>
                  <a:lnTo>
                    <a:pt x="1498" y="253"/>
                  </a:lnTo>
                  <a:lnTo>
                    <a:pt x="1497" y="256"/>
                  </a:lnTo>
                  <a:lnTo>
                    <a:pt x="1494" y="257"/>
                  </a:lnTo>
                  <a:lnTo>
                    <a:pt x="1494" y="258"/>
                  </a:lnTo>
                  <a:lnTo>
                    <a:pt x="1496" y="263"/>
                  </a:lnTo>
                  <a:lnTo>
                    <a:pt x="1497" y="267"/>
                  </a:lnTo>
                  <a:lnTo>
                    <a:pt x="1498" y="270"/>
                  </a:lnTo>
                  <a:lnTo>
                    <a:pt x="1498" y="272"/>
                  </a:lnTo>
                  <a:lnTo>
                    <a:pt x="1496" y="272"/>
                  </a:lnTo>
                  <a:lnTo>
                    <a:pt x="1488" y="270"/>
                  </a:lnTo>
                  <a:lnTo>
                    <a:pt x="1480" y="268"/>
                  </a:lnTo>
                  <a:lnTo>
                    <a:pt x="1476" y="268"/>
                  </a:lnTo>
                  <a:lnTo>
                    <a:pt x="1474" y="267"/>
                  </a:lnTo>
                  <a:lnTo>
                    <a:pt x="1472" y="267"/>
                  </a:lnTo>
                  <a:lnTo>
                    <a:pt x="1469" y="264"/>
                  </a:lnTo>
                  <a:lnTo>
                    <a:pt x="1465" y="264"/>
                  </a:lnTo>
                  <a:lnTo>
                    <a:pt x="1462" y="264"/>
                  </a:lnTo>
                  <a:lnTo>
                    <a:pt x="1461" y="269"/>
                  </a:lnTo>
                  <a:lnTo>
                    <a:pt x="1460" y="272"/>
                  </a:lnTo>
                  <a:lnTo>
                    <a:pt x="1459" y="274"/>
                  </a:lnTo>
                  <a:lnTo>
                    <a:pt x="1454" y="275"/>
                  </a:lnTo>
                  <a:lnTo>
                    <a:pt x="1450" y="278"/>
                  </a:lnTo>
                  <a:lnTo>
                    <a:pt x="1450" y="279"/>
                  </a:lnTo>
                  <a:lnTo>
                    <a:pt x="1453" y="281"/>
                  </a:lnTo>
                  <a:lnTo>
                    <a:pt x="1455" y="283"/>
                  </a:lnTo>
                  <a:lnTo>
                    <a:pt x="1456" y="284"/>
                  </a:lnTo>
                  <a:lnTo>
                    <a:pt x="1467" y="297"/>
                  </a:lnTo>
                  <a:lnTo>
                    <a:pt x="1475" y="312"/>
                  </a:lnTo>
                  <a:lnTo>
                    <a:pt x="1478" y="318"/>
                  </a:lnTo>
                  <a:lnTo>
                    <a:pt x="1483" y="325"/>
                  </a:lnTo>
                  <a:lnTo>
                    <a:pt x="1486" y="329"/>
                  </a:lnTo>
                  <a:lnTo>
                    <a:pt x="1487" y="337"/>
                  </a:lnTo>
                  <a:lnTo>
                    <a:pt x="1487" y="342"/>
                  </a:lnTo>
                  <a:lnTo>
                    <a:pt x="1487" y="343"/>
                  </a:lnTo>
                  <a:lnTo>
                    <a:pt x="1485" y="343"/>
                  </a:lnTo>
                  <a:lnTo>
                    <a:pt x="1478" y="343"/>
                  </a:lnTo>
                  <a:lnTo>
                    <a:pt x="1476" y="345"/>
                  </a:lnTo>
                  <a:lnTo>
                    <a:pt x="1474" y="348"/>
                  </a:lnTo>
                  <a:lnTo>
                    <a:pt x="1478" y="350"/>
                  </a:lnTo>
                  <a:lnTo>
                    <a:pt x="1483" y="353"/>
                  </a:lnTo>
                  <a:lnTo>
                    <a:pt x="1488" y="360"/>
                  </a:lnTo>
                  <a:lnTo>
                    <a:pt x="1490" y="361"/>
                  </a:lnTo>
                  <a:lnTo>
                    <a:pt x="1487" y="361"/>
                  </a:lnTo>
                  <a:lnTo>
                    <a:pt x="1485" y="360"/>
                  </a:lnTo>
                  <a:lnTo>
                    <a:pt x="1481" y="358"/>
                  </a:lnTo>
                  <a:lnTo>
                    <a:pt x="1474" y="350"/>
                  </a:lnTo>
                  <a:lnTo>
                    <a:pt x="1470" y="348"/>
                  </a:lnTo>
                  <a:lnTo>
                    <a:pt x="1467" y="345"/>
                  </a:lnTo>
                  <a:lnTo>
                    <a:pt x="1465" y="342"/>
                  </a:lnTo>
                  <a:lnTo>
                    <a:pt x="1461" y="341"/>
                  </a:lnTo>
                  <a:lnTo>
                    <a:pt x="1454" y="339"/>
                  </a:lnTo>
                  <a:lnTo>
                    <a:pt x="1456" y="343"/>
                  </a:lnTo>
                  <a:lnTo>
                    <a:pt x="1458" y="348"/>
                  </a:lnTo>
                  <a:lnTo>
                    <a:pt x="1459" y="353"/>
                  </a:lnTo>
                  <a:lnTo>
                    <a:pt x="1459" y="356"/>
                  </a:lnTo>
                  <a:lnTo>
                    <a:pt x="1456" y="358"/>
                  </a:lnTo>
                  <a:lnTo>
                    <a:pt x="1454" y="358"/>
                  </a:lnTo>
                  <a:lnTo>
                    <a:pt x="1451" y="358"/>
                  </a:lnTo>
                  <a:lnTo>
                    <a:pt x="1449" y="358"/>
                  </a:lnTo>
                  <a:lnTo>
                    <a:pt x="1448" y="361"/>
                  </a:lnTo>
                  <a:lnTo>
                    <a:pt x="1449" y="364"/>
                  </a:lnTo>
                  <a:lnTo>
                    <a:pt x="1448" y="368"/>
                  </a:lnTo>
                  <a:lnTo>
                    <a:pt x="1446" y="369"/>
                  </a:lnTo>
                  <a:lnTo>
                    <a:pt x="1444" y="369"/>
                  </a:lnTo>
                  <a:lnTo>
                    <a:pt x="1439" y="370"/>
                  </a:lnTo>
                  <a:lnTo>
                    <a:pt x="1434" y="370"/>
                  </a:lnTo>
                  <a:lnTo>
                    <a:pt x="1429" y="370"/>
                  </a:lnTo>
                  <a:lnTo>
                    <a:pt x="1423" y="371"/>
                  </a:lnTo>
                  <a:lnTo>
                    <a:pt x="1428" y="375"/>
                  </a:lnTo>
                  <a:lnTo>
                    <a:pt x="1433" y="379"/>
                  </a:lnTo>
                  <a:lnTo>
                    <a:pt x="1438" y="384"/>
                  </a:lnTo>
                  <a:lnTo>
                    <a:pt x="1439" y="386"/>
                  </a:lnTo>
                  <a:lnTo>
                    <a:pt x="1439" y="388"/>
                  </a:lnTo>
                  <a:lnTo>
                    <a:pt x="1438" y="390"/>
                  </a:lnTo>
                  <a:lnTo>
                    <a:pt x="1435" y="390"/>
                  </a:lnTo>
                  <a:lnTo>
                    <a:pt x="1430" y="390"/>
                  </a:lnTo>
                  <a:lnTo>
                    <a:pt x="1423" y="390"/>
                  </a:lnTo>
                  <a:lnTo>
                    <a:pt x="1418" y="388"/>
                  </a:lnTo>
                  <a:lnTo>
                    <a:pt x="1408" y="386"/>
                  </a:lnTo>
                  <a:lnTo>
                    <a:pt x="1406" y="384"/>
                  </a:lnTo>
                  <a:lnTo>
                    <a:pt x="1403" y="381"/>
                  </a:lnTo>
                  <a:lnTo>
                    <a:pt x="1400" y="379"/>
                  </a:lnTo>
                  <a:lnTo>
                    <a:pt x="1397" y="379"/>
                  </a:lnTo>
                  <a:lnTo>
                    <a:pt x="1395" y="380"/>
                  </a:lnTo>
                  <a:lnTo>
                    <a:pt x="1391" y="381"/>
                  </a:lnTo>
                  <a:lnTo>
                    <a:pt x="1391" y="390"/>
                  </a:lnTo>
                  <a:lnTo>
                    <a:pt x="1390" y="397"/>
                  </a:lnTo>
                  <a:lnTo>
                    <a:pt x="1389" y="402"/>
                  </a:lnTo>
                  <a:lnTo>
                    <a:pt x="1386" y="406"/>
                  </a:lnTo>
                  <a:lnTo>
                    <a:pt x="1385" y="407"/>
                  </a:lnTo>
                  <a:lnTo>
                    <a:pt x="1383" y="407"/>
                  </a:lnTo>
                  <a:lnTo>
                    <a:pt x="1380" y="408"/>
                  </a:lnTo>
                  <a:lnTo>
                    <a:pt x="1379" y="409"/>
                  </a:lnTo>
                  <a:lnTo>
                    <a:pt x="1379" y="412"/>
                  </a:lnTo>
                  <a:lnTo>
                    <a:pt x="1376" y="414"/>
                  </a:lnTo>
                  <a:lnTo>
                    <a:pt x="1371" y="415"/>
                  </a:lnTo>
                  <a:lnTo>
                    <a:pt x="1369" y="419"/>
                  </a:lnTo>
                  <a:lnTo>
                    <a:pt x="1368" y="420"/>
                  </a:lnTo>
                  <a:lnTo>
                    <a:pt x="1367" y="422"/>
                  </a:lnTo>
                  <a:lnTo>
                    <a:pt x="1363" y="423"/>
                  </a:lnTo>
                  <a:lnTo>
                    <a:pt x="1359" y="427"/>
                  </a:lnTo>
                  <a:lnTo>
                    <a:pt x="1357" y="431"/>
                  </a:lnTo>
                  <a:lnTo>
                    <a:pt x="1357" y="436"/>
                  </a:lnTo>
                  <a:lnTo>
                    <a:pt x="1354" y="441"/>
                  </a:lnTo>
                  <a:lnTo>
                    <a:pt x="1351" y="443"/>
                  </a:lnTo>
                  <a:lnTo>
                    <a:pt x="1344" y="443"/>
                  </a:lnTo>
                  <a:lnTo>
                    <a:pt x="1341" y="440"/>
                  </a:lnTo>
                  <a:lnTo>
                    <a:pt x="1339" y="443"/>
                  </a:lnTo>
                  <a:lnTo>
                    <a:pt x="1337" y="443"/>
                  </a:lnTo>
                  <a:lnTo>
                    <a:pt x="1332" y="444"/>
                  </a:lnTo>
                  <a:lnTo>
                    <a:pt x="1332" y="445"/>
                  </a:lnTo>
                  <a:lnTo>
                    <a:pt x="1332" y="446"/>
                  </a:lnTo>
                  <a:lnTo>
                    <a:pt x="1328" y="447"/>
                  </a:lnTo>
                  <a:lnTo>
                    <a:pt x="1322" y="450"/>
                  </a:lnTo>
                  <a:lnTo>
                    <a:pt x="1316" y="455"/>
                  </a:lnTo>
                  <a:lnTo>
                    <a:pt x="1312" y="459"/>
                  </a:lnTo>
                  <a:lnTo>
                    <a:pt x="1311" y="461"/>
                  </a:lnTo>
                  <a:lnTo>
                    <a:pt x="1310" y="463"/>
                  </a:lnTo>
                  <a:lnTo>
                    <a:pt x="1309" y="466"/>
                  </a:lnTo>
                  <a:lnTo>
                    <a:pt x="1308" y="467"/>
                  </a:lnTo>
                  <a:lnTo>
                    <a:pt x="1306" y="468"/>
                  </a:lnTo>
                  <a:lnTo>
                    <a:pt x="1306" y="471"/>
                  </a:lnTo>
                  <a:lnTo>
                    <a:pt x="1304" y="470"/>
                  </a:lnTo>
                  <a:lnTo>
                    <a:pt x="1300" y="468"/>
                  </a:lnTo>
                  <a:lnTo>
                    <a:pt x="1301" y="471"/>
                  </a:lnTo>
                  <a:lnTo>
                    <a:pt x="1300" y="472"/>
                  </a:lnTo>
                  <a:lnTo>
                    <a:pt x="1296" y="476"/>
                  </a:lnTo>
                  <a:lnTo>
                    <a:pt x="1292" y="477"/>
                  </a:lnTo>
                  <a:lnTo>
                    <a:pt x="1289" y="476"/>
                  </a:lnTo>
                  <a:lnTo>
                    <a:pt x="1288" y="473"/>
                  </a:lnTo>
                  <a:lnTo>
                    <a:pt x="1288" y="471"/>
                  </a:lnTo>
                  <a:lnTo>
                    <a:pt x="1292" y="468"/>
                  </a:lnTo>
                  <a:lnTo>
                    <a:pt x="1295" y="468"/>
                  </a:lnTo>
                  <a:lnTo>
                    <a:pt x="1296" y="467"/>
                  </a:lnTo>
                  <a:lnTo>
                    <a:pt x="1298" y="466"/>
                  </a:lnTo>
                  <a:lnTo>
                    <a:pt x="1298" y="463"/>
                  </a:lnTo>
                  <a:lnTo>
                    <a:pt x="1296" y="461"/>
                  </a:lnTo>
                  <a:lnTo>
                    <a:pt x="1296" y="460"/>
                  </a:lnTo>
                  <a:lnTo>
                    <a:pt x="1298" y="459"/>
                  </a:lnTo>
                  <a:lnTo>
                    <a:pt x="1301" y="455"/>
                  </a:lnTo>
                  <a:lnTo>
                    <a:pt x="1295" y="457"/>
                  </a:lnTo>
                  <a:lnTo>
                    <a:pt x="1290" y="456"/>
                  </a:lnTo>
                  <a:lnTo>
                    <a:pt x="1285" y="454"/>
                  </a:lnTo>
                  <a:lnTo>
                    <a:pt x="1280" y="452"/>
                  </a:lnTo>
                  <a:lnTo>
                    <a:pt x="1283" y="450"/>
                  </a:lnTo>
                  <a:lnTo>
                    <a:pt x="1287" y="449"/>
                  </a:lnTo>
                  <a:lnTo>
                    <a:pt x="1284" y="444"/>
                  </a:lnTo>
                  <a:lnTo>
                    <a:pt x="1284" y="441"/>
                  </a:lnTo>
                  <a:lnTo>
                    <a:pt x="1287" y="440"/>
                  </a:lnTo>
                  <a:lnTo>
                    <a:pt x="1290" y="436"/>
                  </a:lnTo>
                  <a:lnTo>
                    <a:pt x="1292" y="434"/>
                  </a:lnTo>
                  <a:lnTo>
                    <a:pt x="1293" y="430"/>
                  </a:lnTo>
                  <a:lnTo>
                    <a:pt x="1294" y="427"/>
                  </a:lnTo>
                  <a:lnTo>
                    <a:pt x="1294" y="424"/>
                  </a:lnTo>
                  <a:lnTo>
                    <a:pt x="1294" y="420"/>
                  </a:lnTo>
                  <a:lnTo>
                    <a:pt x="1292" y="417"/>
                  </a:lnTo>
                  <a:lnTo>
                    <a:pt x="1285" y="413"/>
                  </a:lnTo>
                  <a:lnTo>
                    <a:pt x="1279" y="409"/>
                  </a:lnTo>
                  <a:lnTo>
                    <a:pt x="1277" y="407"/>
                  </a:lnTo>
                  <a:lnTo>
                    <a:pt x="1276" y="403"/>
                  </a:lnTo>
                  <a:lnTo>
                    <a:pt x="1274" y="407"/>
                  </a:lnTo>
                  <a:lnTo>
                    <a:pt x="1272" y="408"/>
                  </a:lnTo>
                  <a:lnTo>
                    <a:pt x="1268" y="408"/>
                  </a:lnTo>
                  <a:lnTo>
                    <a:pt x="1264" y="407"/>
                  </a:lnTo>
                  <a:lnTo>
                    <a:pt x="1261" y="407"/>
                  </a:lnTo>
                  <a:lnTo>
                    <a:pt x="1257" y="408"/>
                  </a:lnTo>
                  <a:lnTo>
                    <a:pt x="1255" y="411"/>
                  </a:lnTo>
                  <a:lnTo>
                    <a:pt x="1256" y="412"/>
                  </a:lnTo>
                  <a:lnTo>
                    <a:pt x="1257" y="413"/>
                  </a:lnTo>
                  <a:lnTo>
                    <a:pt x="1253" y="414"/>
                  </a:lnTo>
                  <a:lnTo>
                    <a:pt x="1251" y="418"/>
                  </a:lnTo>
                  <a:lnTo>
                    <a:pt x="1250" y="423"/>
                  </a:lnTo>
                  <a:lnTo>
                    <a:pt x="1250" y="428"/>
                  </a:lnTo>
                  <a:lnTo>
                    <a:pt x="1247" y="430"/>
                  </a:lnTo>
                  <a:lnTo>
                    <a:pt x="1244" y="434"/>
                  </a:lnTo>
                  <a:lnTo>
                    <a:pt x="1239" y="436"/>
                  </a:lnTo>
                  <a:lnTo>
                    <a:pt x="1235" y="438"/>
                  </a:lnTo>
                  <a:lnTo>
                    <a:pt x="1230" y="441"/>
                  </a:lnTo>
                  <a:lnTo>
                    <a:pt x="1228" y="445"/>
                  </a:lnTo>
                  <a:lnTo>
                    <a:pt x="1226" y="447"/>
                  </a:lnTo>
                  <a:lnTo>
                    <a:pt x="1228" y="451"/>
                  </a:lnTo>
                  <a:lnTo>
                    <a:pt x="1229" y="454"/>
                  </a:lnTo>
                  <a:lnTo>
                    <a:pt x="1229" y="456"/>
                  </a:lnTo>
                  <a:lnTo>
                    <a:pt x="1226" y="461"/>
                  </a:lnTo>
                  <a:lnTo>
                    <a:pt x="1221" y="463"/>
                  </a:lnTo>
                  <a:lnTo>
                    <a:pt x="1217" y="465"/>
                  </a:lnTo>
                  <a:lnTo>
                    <a:pt x="1212" y="466"/>
                  </a:lnTo>
                  <a:lnTo>
                    <a:pt x="1208" y="467"/>
                  </a:lnTo>
                  <a:lnTo>
                    <a:pt x="1204" y="465"/>
                  </a:lnTo>
                  <a:lnTo>
                    <a:pt x="1201" y="463"/>
                  </a:lnTo>
                  <a:lnTo>
                    <a:pt x="1197" y="462"/>
                  </a:lnTo>
                  <a:lnTo>
                    <a:pt x="1193" y="466"/>
                  </a:lnTo>
                  <a:lnTo>
                    <a:pt x="1192" y="471"/>
                  </a:lnTo>
                  <a:lnTo>
                    <a:pt x="1193" y="476"/>
                  </a:lnTo>
                  <a:lnTo>
                    <a:pt x="1194" y="481"/>
                  </a:lnTo>
                  <a:lnTo>
                    <a:pt x="1198" y="486"/>
                  </a:lnTo>
                  <a:lnTo>
                    <a:pt x="1203" y="490"/>
                  </a:lnTo>
                  <a:lnTo>
                    <a:pt x="1213" y="497"/>
                  </a:lnTo>
                  <a:lnTo>
                    <a:pt x="1218" y="498"/>
                  </a:lnTo>
                  <a:lnTo>
                    <a:pt x="1223" y="498"/>
                  </a:lnTo>
                  <a:lnTo>
                    <a:pt x="1225" y="498"/>
                  </a:lnTo>
                  <a:lnTo>
                    <a:pt x="1226" y="499"/>
                  </a:lnTo>
                  <a:lnTo>
                    <a:pt x="1229" y="502"/>
                  </a:lnTo>
                  <a:lnTo>
                    <a:pt x="1230" y="503"/>
                  </a:lnTo>
                  <a:lnTo>
                    <a:pt x="1231" y="499"/>
                  </a:lnTo>
                  <a:lnTo>
                    <a:pt x="1230" y="497"/>
                  </a:lnTo>
                  <a:lnTo>
                    <a:pt x="1235" y="498"/>
                  </a:lnTo>
                  <a:lnTo>
                    <a:pt x="1240" y="500"/>
                  </a:lnTo>
                  <a:lnTo>
                    <a:pt x="1244" y="503"/>
                  </a:lnTo>
                  <a:lnTo>
                    <a:pt x="1246" y="506"/>
                  </a:lnTo>
                  <a:lnTo>
                    <a:pt x="1247" y="513"/>
                  </a:lnTo>
                  <a:lnTo>
                    <a:pt x="1248" y="518"/>
                  </a:lnTo>
                  <a:lnTo>
                    <a:pt x="1248" y="521"/>
                  </a:lnTo>
                  <a:lnTo>
                    <a:pt x="1252" y="526"/>
                  </a:lnTo>
                  <a:lnTo>
                    <a:pt x="1261" y="530"/>
                  </a:lnTo>
                  <a:lnTo>
                    <a:pt x="1269" y="530"/>
                  </a:lnTo>
                  <a:lnTo>
                    <a:pt x="1273" y="530"/>
                  </a:lnTo>
                  <a:lnTo>
                    <a:pt x="1276" y="527"/>
                  </a:lnTo>
                  <a:lnTo>
                    <a:pt x="1276" y="526"/>
                  </a:lnTo>
                  <a:lnTo>
                    <a:pt x="1274" y="522"/>
                  </a:lnTo>
                  <a:lnTo>
                    <a:pt x="1277" y="520"/>
                  </a:lnTo>
                  <a:lnTo>
                    <a:pt x="1280" y="518"/>
                  </a:lnTo>
                  <a:lnTo>
                    <a:pt x="1282" y="514"/>
                  </a:lnTo>
                  <a:lnTo>
                    <a:pt x="1282" y="513"/>
                  </a:lnTo>
                  <a:lnTo>
                    <a:pt x="1279" y="513"/>
                  </a:lnTo>
                  <a:lnTo>
                    <a:pt x="1283" y="513"/>
                  </a:lnTo>
                  <a:lnTo>
                    <a:pt x="1285" y="511"/>
                  </a:lnTo>
                  <a:lnTo>
                    <a:pt x="1293" y="508"/>
                  </a:lnTo>
                  <a:lnTo>
                    <a:pt x="1295" y="508"/>
                  </a:lnTo>
                  <a:lnTo>
                    <a:pt x="1299" y="509"/>
                  </a:lnTo>
                  <a:lnTo>
                    <a:pt x="1303" y="511"/>
                  </a:lnTo>
                  <a:lnTo>
                    <a:pt x="1305" y="514"/>
                  </a:lnTo>
                  <a:lnTo>
                    <a:pt x="1308" y="515"/>
                  </a:lnTo>
                  <a:lnTo>
                    <a:pt x="1311" y="515"/>
                  </a:lnTo>
                  <a:lnTo>
                    <a:pt x="1312" y="515"/>
                  </a:lnTo>
                  <a:lnTo>
                    <a:pt x="1314" y="516"/>
                  </a:lnTo>
                  <a:lnTo>
                    <a:pt x="1316" y="519"/>
                  </a:lnTo>
                  <a:lnTo>
                    <a:pt x="1320" y="520"/>
                  </a:lnTo>
                  <a:lnTo>
                    <a:pt x="1323" y="520"/>
                  </a:lnTo>
                  <a:lnTo>
                    <a:pt x="1327" y="519"/>
                  </a:lnTo>
                  <a:lnTo>
                    <a:pt x="1330" y="521"/>
                  </a:lnTo>
                  <a:lnTo>
                    <a:pt x="1331" y="518"/>
                  </a:lnTo>
                  <a:lnTo>
                    <a:pt x="1336" y="519"/>
                  </a:lnTo>
                  <a:lnTo>
                    <a:pt x="1341" y="520"/>
                  </a:lnTo>
                  <a:lnTo>
                    <a:pt x="1346" y="520"/>
                  </a:lnTo>
                  <a:lnTo>
                    <a:pt x="1351" y="522"/>
                  </a:lnTo>
                  <a:lnTo>
                    <a:pt x="1348" y="524"/>
                  </a:lnTo>
                  <a:lnTo>
                    <a:pt x="1349" y="526"/>
                  </a:lnTo>
                  <a:lnTo>
                    <a:pt x="1349" y="527"/>
                  </a:lnTo>
                  <a:lnTo>
                    <a:pt x="1349" y="530"/>
                  </a:lnTo>
                  <a:lnTo>
                    <a:pt x="1348" y="532"/>
                  </a:lnTo>
                  <a:lnTo>
                    <a:pt x="1348" y="534"/>
                  </a:lnTo>
                  <a:lnTo>
                    <a:pt x="1351" y="535"/>
                  </a:lnTo>
                  <a:lnTo>
                    <a:pt x="1352" y="537"/>
                  </a:lnTo>
                  <a:lnTo>
                    <a:pt x="1349" y="540"/>
                  </a:lnTo>
                  <a:lnTo>
                    <a:pt x="1346" y="540"/>
                  </a:lnTo>
                  <a:lnTo>
                    <a:pt x="1344" y="538"/>
                  </a:lnTo>
                  <a:lnTo>
                    <a:pt x="1342" y="535"/>
                  </a:lnTo>
                  <a:lnTo>
                    <a:pt x="1339" y="538"/>
                  </a:lnTo>
                  <a:lnTo>
                    <a:pt x="1338" y="536"/>
                  </a:lnTo>
                  <a:lnTo>
                    <a:pt x="1337" y="536"/>
                  </a:lnTo>
                  <a:lnTo>
                    <a:pt x="1333" y="537"/>
                  </a:lnTo>
                  <a:lnTo>
                    <a:pt x="1332" y="540"/>
                  </a:lnTo>
                  <a:lnTo>
                    <a:pt x="1328" y="541"/>
                  </a:lnTo>
                  <a:lnTo>
                    <a:pt x="1327" y="542"/>
                  </a:lnTo>
                  <a:lnTo>
                    <a:pt x="1327" y="541"/>
                  </a:lnTo>
                  <a:lnTo>
                    <a:pt x="1328" y="540"/>
                  </a:lnTo>
                  <a:lnTo>
                    <a:pt x="1322" y="545"/>
                  </a:lnTo>
                  <a:lnTo>
                    <a:pt x="1319" y="546"/>
                  </a:lnTo>
                  <a:lnTo>
                    <a:pt x="1316" y="547"/>
                  </a:lnTo>
                  <a:lnTo>
                    <a:pt x="1314" y="547"/>
                  </a:lnTo>
                  <a:lnTo>
                    <a:pt x="1311" y="547"/>
                  </a:lnTo>
                  <a:lnTo>
                    <a:pt x="1309" y="547"/>
                  </a:lnTo>
                  <a:lnTo>
                    <a:pt x="1309" y="549"/>
                  </a:lnTo>
                  <a:lnTo>
                    <a:pt x="1312" y="548"/>
                  </a:lnTo>
                  <a:lnTo>
                    <a:pt x="1314" y="549"/>
                  </a:lnTo>
                  <a:lnTo>
                    <a:pt x="1315" y="552"/>
                  </a:lnTo>
                  <a:lnTo>
                    <a:pt x="1315" y="556"/>
                  </a:lnTo>
                  <a:lnTo>
                    <a:pt x="1311" y="553"/>
                  </a:lnTo>
                  <a:lnTo>
                    <a:pt x="1310" y="553"/>
                  </a:lnTo>
                  <a:lnTo>
                    <a:pt x="1309" y="556"/>
                  </a:lnTo>
                  <a:lnTo>
                    <a:pt x="1310" y="557"/>
                  </a:lnTo>
                  <a:lnTo>
                    <a:pt x="1310" y="559"/>
                  </a:lnTo>
                  <a:lnTo>
                    <a:pt x="1311" y="561"/>
                  </a:lnTo>
                  <a:lnTo>
                    <a:pt x="1311" y="563"/>
                  </a:lnTo>
                  <a:lnTo>
                    <a:pt x="1310" y="564"/>
                  </a:lnTo>
                  <a:lnTo>
                    <a:pt x="1309" y="565"/>
                  </a:lnTo>
                  <a:lnTo>
                    <a:pt x="1305" y="565"/>
                  </a:lnTo>
                  <a:lnTo>
                    <a:pt x="1304" y="564"/>
                  </a:lnTo>
                  <a:lnTo>
                    <a:pt x="1303" y="563"/>
                  </a:lnTo>
                  <a:lnTo>
                    <a:pt x="1301" y="561"/>
                  </a:lnTo>
                  <a:lnTo>
                    <a:pt x="1300" y="559"/>
                  </a:lnTo>
                  <a:lnTo>
                    <a:pt x="1301" y="562"/>
                  </a:lnTo>
                  <a:lnTo>
                    <a:pt x="1300" y="562"/>
                  </a:lnTo>
                  <a:lnTo>
                    <a:pt x="1298" y="561"/>
                  </a:lnTo>
                  <a:lnTo>
                    <a:pt x="1295" y="561"/>
                  </a:lnTo>
                  <a:lnTo>
                    <a:pt x="1296" y="563"/>
                  </a:lnTo>
                  <a:lnTo>
                    <a:pt x="1299" y="565"/>
                  </a:lnTo>
                  <a:lnTo>
                    <a:pt x="1301" y="568"/>
                  </a:lnTo>
                  <a:lnTo>
                    <a:pt x="1304" y="569"/>
                  </a:lnTo>
                  <a:lnTo>
                    <a:pt x="1300" y="572"/>
                  </a:lnTo>
                  <a:lnTo>
                    <a:pt x="1298" y="577"/>
                  </a:lnTo>
                  <a:lnTo>
                    <a:pt x="1296" y="580"/>
                  </a:lnTo>
                  <a:lnTo>
                    <a:pt x="1294" y="581"/>
                  </a:lnTo>
                  <a:lnTo>
                    <a:pt x="1292" y="581"/>
                  </a:lnTo>
                  <a:lnTo>
                    <a:pt x="1292" y="585"/>
                  </a:lnTo>
                  <a:lnTo>
                    <a:pt x="1290" y="589"/>
                  </a:lnTo>
                  <a:lnTo>
                    <a:pt x="1290" y="593"/>
                  </a:lnTo>
                  <a:lnTo>
                    <a:pt x="1289" y="596"/>
                  </a:lnTo>
                  <a:lnTo>
                    <a:pt x="1288" y="600"/>
                  </a:lnTo>
                  <a:lnTo>
                    <a:pt x="1288" y="604"/>
                  </a:lnTo>
                  <a:lnTo>
                    <a:pt x="1289" y="610"/>
                  </a:lnTo>
                  <a:lnTo>
                    <a:pt x="1293" y="609"/>
                  </a:lnTo>
                  <a:lnTo>
                    <a:pt x="1296" y="610"/>
                  </a:lnTo>
                  <a:lnTo>
                    <a:pt x="1300" y="612"/>
                  </a:lnTo>
                  <a:lnTo>
                    <a:pt x="1303" y="615"/>
                  </a:lnTo>
                  <a:lnTo>
                    <a:pt x="1312" y="620"/>
                  </a:lnTo>
                  <a:lnTo>
                    <a:pt x="1323" y="623"/>
                  </a:lnTo>
                  <a:lnTo>
                    <a:pt x="1327" y="626"/>
                  </a:lnTo>
                  <a:lnTo>
                    <a:pt x="1330" y="631"/>
                  </a:lnTo>
                  <a:lnTo>
                    <a:pt x="1332" y="634"/>
                  </a:lnTo>
                  <a:lnTo>
                    <a:pt x="1335" y="639"/>
                  </a:lnTo>
                  <a:lnTo>
                    <a:pt x="1342" y="649"/>
                  </a:lnTo>
                  <a:lnTo>
                    <a:pt x="1349" y="659"/>
                  </a:lnTo>
                  <a:lnTo>
                    <a:pt x="1355" y="666"/>
                  </a:lnTo>
                  <a:lnTo>
                    <a:pt x="1358" y="670"/>
                  </a:lnTo>
                  <a:lnTo>
                    <a:pt x="1359" y="675"/>
                  </a:lnTo>
                  <a:lnTo>
                    <a:pt x="1360" y="679"/>
                  </a:lnTo>
                  <a:lnTo>
                    <a:pt x="1365" y="681"/>
                  </a:lnTo>
                  <a:lnTo>
                    <a:pt x="1370" y="683"/>
                  </a:lnTo>
                  <a:lnTo>
                    <a:pt x="1375" y="685"/>
                  </a:lnTo>
                  <a:lnTo>
                    <a:pt x="1378" y="686"/>
                  </a:lnTo>
                  <a:lnTo>
                    <a:pt x="1378" y="688"/>
                  </a:lnTo>
                  <a:lnTo>
                    <a:pt x="1379" y="691"/>
                  </a:lnTo>
                  <a:lnTo>
                    <a:pt x="1379" y="693"/>
                  </a:lnTo>
                  <a:lnTo>
                    <a:pt x="1383" y="696"/>
                  </a:lnTo>
                  <a:lnTo>
                    <a:pt x="1386" y="697"/>
                  </a:lnTo>
                  <a:lnTo>
                    <a:pt x="1390" y="698"/>
                  </a:lnTo>
                  <a:lnTo>
                    <a:pt x="1395" y="702"/>
                  </a:lnTo>
                  <a:lnTo>
                    <a:pt x="1397" y="706"/>
                  </a:lnTo>
                  <a:lnTo>
                    <a:pt x="1397" y="709"/>
                  </a:lnTo>
                  <a:lnTo>
                    <a:pt x="1392" y="708"/>
                  </a:lnTo>
                  <a:lnTo>
                    <a:pt x="1387" y="706"/>
                  </a:lnTo>
                  <a:lnTo>
                    <a:pt x="1383" y="703"/>
                  </a:lnTo>
                  <a:lnTo>
                    <a:pt x="1378" y="704"/>
                  </a:lnTo>
                  <a:lnTo>
                    <a:pt x="1373" y="704"/>
                  </a:lnTo>
                  <a:lnTo>
                    <a:pt x="1369" y="703"/>
                  </a:lnTo>
                  <a:lnTo>
                    <a:pt x="1367" y="699"/>
                  </a:lnTo>
                  <a:lnTo>
                    <a:pt x="1362" y="697"/>
                  </a:lnTo>
                  <a:lnTo>
                    <a:pt x="1357" y="697"/>
                  </a:lnTo>
                  <a:lnTo>
                    <a:pt x="1353" y="699"/>
                  </a:lnTo>
                  <a:lnTo>
                    <a:pt x="1349" y="701"/>
                  </a:lnTo>
                  <a:lnTo>
                    <a:pt x="1346" y="701"/>
                  </a:lnTo>
                  <a:lnTo>
                    <a:pt x="1342" y="697"/>
                  </a:lnTo>
                  <a:lnTo>
                    <a:pt x="1338" y="693"/>
                  </a:lnTo>
                  <a:lnTo>
                    <a:pt x="1336" y="691"/>
                  </a:lnTo>
                  <a:lnTo>
                    <a:pt x="1333" y="690"/>
                  </a:lnTo>
                  <a:lnTo>
                    <a:pt x="1328" y="688"/>
                  </a:lnTo>
                  <a:lnTo>
                    <a:pt x="1331" y="691"/>
                  </a:lnTo>
                  <a:lnTo>
                    <a:pt x="1330" y="693"/>
                  </a:lnTo>
                  <a:lnTo>
                    <a:pt x="1332" y="692"/>
                  </a:lnTo>
                  <a:lnTo>
                    <a:pt x="1335" y="693"/>
                  </a:lnTo>
                  <a:lnTo>
                    <a:pt x="1332" y="691"/>
                  </a:lnTo>
                  <a:lnTo>
                    <a:pt x="1335" y="691"/>
                  </a:lnTo>
                  <a:lnTo>
                    <a:pt x="1337" y="693"/>
                  </a:lnTo>
                  <a:lnTo>
                    <a:pt x="1338" y="696"/>
                  </a:lnTo>
                  <a:lnTo>
                    <a:pt x="1337" y="696"/>
                  </a:lnTo>
                  <a:lnTo>
                    <a:pt x="1336" y="696"/>
                  </a:lnTo>
                  <a:lnTo>
                    <a:pt x="1339" y="698"/>
                  </a:lnTo>
                  <a:lnTo>
                    <a:pt x="1343" y="701"/>
                  </a:lnTo>
                  <a:lnTo>
                    <a:pt x="1347" y="703"/>
                  </a:lnTo>
                  <a:lnTo>
                    <a:pt x="1352" y="702"/>
                  </a:lnTo>
                  <a:lnTo>
                    <a:pt x="1354" y="699"/>
                  </a:lnTo>
                  <a:lnTo>
                    <a:pt x="1355" y="699"/>
                  </a:lnTo>
                  <a:lnTo>
                    <a:pt x="1357" y="698"/>
                  </a:lnTo>
                  <a:lnTo>
                    <a:pt x="1362" y="699"/>
                  </a:lnTo>
                  <a:lnTo>
                    <a:pt x="1365" y="702"/>
                  </a:lnTo>
                  <a:lnTo>
                    <a:pt x="1365" y="704"/>
                  </a:lnTo>
                  <a:lnTo>
                    <a:pt x="1367" y="706"/>
                  </a:lnTo>
                  <a:lnTo>
                    <a:pt x="1371" y="708"/>
                  </a:lnTo>
                  <a:lnTo>
                    <a:pt x="1376" y="709"/>
                  </a:lnTo>
                  <a:lnTo>
                    <a:pt x="1381" y="712"/>
                  </a:lnTo>
                  <a:lnTo>
                    <a:pt x="1386" y="715"/>
                  </a:lnTo>
                  <a:lnTo>
                    <a:pt x="1396" y="722"/>
                  </a:lnTo>
                  <a:lnTo>
                    <a:pt x="1400" y="724"/>
                  </a:lnTo>
                  <a:lnTo>
                    <a:pt x="1403" y="728"/>
                  </a:lnTo>
                  <a:lnTo>
                    <a:pt x="1406" y="731"/>
                  </a:lnTo>
                  <a:lnTo>
                    <a:pt x="1407" y="735"/>
                  </a:lnTo>
                  <a:lnTo>
                    <a:pt x="1406" y="736"/>
                  </a:lnTo>
                  <a:lnTo>
                    <a:pt x="1405" y="738"/>
                  </a:lnTo>
                  <a:lnTo>
                    <a:pt x="1402" y="738"/>
                  </a:lnTo>
                  <a:lnTo>
                    <a:pt x="1401" y="738"/>
                  </a:lnTo>
                  <a:lnTo>
                    <a:pt x="1399" y="738"/>
                  </a:lnTo>
                  <a:lnTo>
                    <a:pt x="1396" y="740"/>
                  </a:lnTo>
                  <a:lnTo>
                    <a:pt x="1391" y="744"/>
                  </a:lnTo>
                  <a:lnTo>
                    <a:pt x="1387" y="746"/>
                  </a:lnTo>
                  <a:lnTo>
                    <a:pt x="1385" y="750"/>
                  </a:lnTo>
                  <a:lnTo>
                    <a:pt x="1385" y="752"/>
                  </a:lnTo>
                  <a:lnTo>
                    <a:pt x="1383" y="755"/>
                  </a:lnTo>
                  <a:lnTo>
                    <a:pt x="1379" y="754"/>
                  </a:lnTo>
                  <a:lnTo>
                    <a:pt x="1376" y="752"/>
                  </a:lnTo>
                  <a:lnTo>
                    <a:pt x="1374" y="752"/>
                  </a:lnTo>
                  <a:lnTo>
                    <a:pt x="1369" y="756"/>
                  </a:lnTo>
                  <a:lnTo>
                    <a:pt x="1365" y="758"/>
                  </a:lnTo>
                  <a:lnTo>
                    <a:pt x="1368" y="757"/>
                  </a:lnTo>
                  <a:lnTo>
                    <a:pt x="1370" y="756"/>
                  </a:lnTo>
                  <a:lnTo>
                    <a:pt x="1374" y="754"/>
                  </a:lnTo>
                  <a:lnTo>
                    <a:pt x="1376" y="754"/>
                  </a:lnTo>
                  <a:lnTo>
                    <a:pt x="1378" y="756"/>
                  </a:lnTo>
                  <a:lnTo>
                    <a:pt x="1380" y="760"/>
                  </a:lnTo>
                  <a:lnTo>
                    <a:pt x="1383" y="762"/>
                  </a:lnTo>
                  <a:lnTo>
                    <a:pt x="1385" y="763"/>
                  </a:lnTo>
                  <a:lnTo>
                    <a:pt x="1381" y="761"/>
                  </a:lnTo>
                  <a:lnTo>
                    <a:pt x="1386" y="761"/>
                  </a:lnTo>
                  <a:lnTo>
                    <a:pt x="1390" y="758"/>
                  </a:lnTo>
                  <a:lnTo>
                    <a:pt x="1394" y="757"/>
                  </a:lnTo>
                  <a:lnTo>
                    <a:pt x="1399" y="756"/>
                  </a:lnTo>
                  <a:lnTo>
                    <a:pt x="1403" y="760"/>
                  </a:lnTo>
                  <a:lnTo>
                    <a:pt x="1408" y="765"/>
                  </a:lnTo>
                  <a:lnTo>
                    <a:pt x="1411" y="766"/>
                  </a:lnTo>
                  <a:lnTo>
                    <a:pt x="1416" y="768"/>
                  </a:lnTo>
                  <a:lnTo>
                    <a:pt x="1424" y="770"/>
                  </a:lnTo>
                  <a:lnTo>
                    <a:pt x="1421" y="773"/>
                  </a:lnTo>
                  <a:lnTo>
                    <a:pt x="1417" y="776"/>
                  </a:lnTo>
                  <a:lnTo>
                    <a:pt x="1414" y="781"/>
                  </a:lnTo>
                  <a:lnTo>
                    <a:pt x="1412" y="781"/>
                  </a:lnTo>
                  <a:lnTo>
                    <a:pt x="1408" y="782"/>
                  </a:lnTo>
                  <a:lnTo>
                    <a:pt x="1411" y="786"/>
                  </a:lnTo>
                  <a:lnTo>
                    <a:pt x="1414" y="782"/>
                  </a:lnTo>
                  <a:lnTo>
                    <a:pt x="1417" y="781"/>
                  </a:lnTo>
                  <a:lnTo>
                    <a:pt x="1419" y="782"/>
                  </a:lnTo>
                  <a:lnTo>
                    <a:pt x="1418" y="778"/>
                  </a:lnTo>
                  <a:lnTo>
                    <a:pt x="1419" y="777"/>
                  </a:lnTo>
                  <a:lnTo>
                    <a:pt x="1421" y="778"/>
                  </a:lnTo>
                  <a:lnTo>
                    <a:pt x="1422" y="779"/>
                  </a:lnTo>
                  <a:lnTo>
                    <a:pt x="1423" y="782"/>
                  </a:lnTo>
                  <a:lnTo>
                    <a:pt x="1422" y="783"/>
                  </a:lnTo>
                  <a:lnTo>
                    <a:pt x="1423" y="786"/>
                  </a:lnTo>
                  <a:lnTo>
                    <a:pt x="1423" y="787"/>
                  </a:lnTo>
                  <a:lnTo>
                    <a:pt x="1424" y="789"/>
                  </a:lnTo>
                  <a:lnTo>
                    <a:pt x="1424" y="792"/>
                  </a:lnTo>
                  <a:lnTo>
                    <a:pt x="1423" y="793"/>
                  </a:lnTo>
                  <a:lnTo>
                    <a:pt x="1421" y="789"/>
                  </a:lnTo>
                  <a:lnTo>
                    <a:pt x="1419" y="787"/>
                  </a:lnTo>
                  <a:lnTo>
                    <a:pt x="1419" y="792"/>
                  </a:lnTo>
                  <a:lnTo>
                    <a:pt x="1417" y="792"/>
                  </a:lnTo>
                  <a:lnTo>
                    <a:pt x="1416" y="789"/>
                  </a:lnTo>
                  <a:lnTo>
                    <a:pt x="1416" y="792"/>
                  </a:lnTo>
                  <a:lnTo>
                    <a:pt x="1416" y="792"/>
                  </a:lnTo>
                  <a:lnTo>
                    <a:pt x="1414" y="790"/>
                  </a:lnTo>
                  <a:lnTo>
                    <a:pt x="1414" y="789"/>
                  </a:lnTo>
                  <a:lnTo>
                    <a:pt x="1411" y="795"/>
                  </a:lnTo>
                  <a:lnTo>
                    <a:pt x="1414" y="795"/>
                  </a:lnTo>
                  <a:lnTo>
                    <a:pt x="1417" y="797"/>
                  </a:lnTo>
                  <a:lnTo>
                    <a:pt x="1419" y="799"/>
                  </a:lnTo>
                  <a:lnTo>
                    <a:pt x="1421" y="802"/>
                  </a:lnTo>
                  <a:lnTo>
                    <a:pt x="1418" y="800"/>
                  </a:lnTo>
                  <a:lnTo>
                    <a:pt x="1417" y="802"/>
                  </a:lnTo>
                  <a:lnTo>
                    <a:pt x="1419" y="803"/>
                  </a:lnTo>
                  <a:lnTo>
                    <a:pt x="1421" y="804"/>
                  </a:lnTo>
                  <a:lnTo>
                    <a:pt x="1421" y="805"/>
                  </a:lnTo>
                  <a:lnTo>
                    <a:pt x="1419" y="808"/>
                  </a:lnTo>
                  <a:lnTo>
                    <a:pt x="1416" y="808"/>
                  </a:lnTo>
                  <a:lnTo>
                    <a:pt x="1413" y="808"/>
                  </a:lnTo>
                  <a:lnTo>
                    <a:pt x="1410" y="805"/>
                  </a:lnTo>
                  <a:lnTo>
                    <a:pt x="1406" y="804"/>
                  </a:lnTo>
                  <a:lnTo>
                    <a:pt x="1408" y="806"/>
                  </a:lnTo>
                  <a:lnTo>
                    <a:pt x="1412" y="809"/>
                  </a:lnTo>
                  <a:lnTo>
                    <a:pt x="1413" y="809"/>
                  </a:lnTo>
                  <a:lnTo>
                    <a:pt x="1416" y="809"/>
                  </a:lnTo>
                  <a:lnTo>
                    <a:pt x="1417" y="810"/>
                  </a:lnTo>
                  <a:lnTo>
                    <a:pt x="1418" y="811"/>
                  </a:lnTo>
                  <a:lnTo>
                    <a:pt x="1421" y="814"/>
                  </a:lnTo>
                  <a:lnTo>
                    <a:pt x="1422" y="816"/>
                  </a:lnTo>
                  <a:lnTo>
                    <a:pt x="1423" y="819"/>
                  </a:lnTo>
                  <a:lnTo>
                    <a:pt x="1422" y="820"/>
                  </a:lnTo>
                  <a:lnTo>
                    <a:pt x="1419" y="822"/>
                  </a:lnTo>
                  <a:lnTo>
                    <a:pt x="1418" y="825"/>
                  </a:lnTo>
                  <a:lnTo>
                    <a:pt x="1418" y="826"/>
                  </a:lnTo>
                  <a:lnTo>
                    <a:pt x="1416" y="825"/>
                  </a:lnTo>
                  <a:lnTo>
                    <a:pt x="1414" y="822"/>
                  </a:lnTo>
                  <a:lnTo>
                    <a:pt x="1413" y="820"/>
                  </a:lnTo>
                  <a:lnTo>
                    <a:pt x="1411" y="819"/>
                  </a:lnTo>
                  <a:lnTo>
                    <a:pt x="1410" y="821"/>
                  </a:lnTo>
                  <a:lnTo>
                    <a:pt x="1408" y="821"/>
                  </a:lnTo>
                  <a:lnTo>
                    <a:pt x="1410" y="822"/>
                  </a:lnTo>
                  <a:lnTo>
                    <a:pt x="1410" y="825"/>
                  </a:lnTo>
                  <a:lnTo>
                    <a:pt x="1407" y="829"/>
                  </a:lnTo>
                  <a:lnTo>
                    <a:pt x="1406" y="831"/>
                  </a:lnTo>
                  <a:lnTo>
                    <a:pt x="1403" y="831"/>
                  </a:lnTo>
                  <a:lnTo>
                    <a:pt x="1400" y="831"/>
                  </a:lnTo>
                  <a:lnTo>
                    <a:pt x="1396" y="827"/>
                  </a:lnTo>
                  <a:lnTo>
                    <a:pt x="1399" y="830"/>
                  </a:lnTo>
                  <a:lnTo>
                    <a:pt x="1402" y="831"/>
                  </a:lnTo>
                  <a:lnTo>
                    <a:pt x="1405" y="833"/>
                  </a:lnTo>
                  <a:lnTo>
                    <a:pt x="1405" y="836"/>
                  </a:lnTo>
                  <a:lnTo>
                    <a:pt x="1405" y="840"/>
                  </a:lnTo>
                  <a:lnTo>
                    <a:pt x="1403" y="843"/>
                  </a:lnTo>
                  <a:lnTo>
                    <a:pt x="1403" y="847"/>
                  </a:lnTo>
                  <a:lnTo>
                    <a:pt x="1405" y="849"/>
                  </a:lnTo>
                  <a:lnTo>
                    <a:pt x="1403" y="852"/>
                  </a:lnTo>
                  <a:lnTo>
                    <a:pt x="1403" y="856"/>
                  </a:lnTo>
                  <a:lnTo>
                    <a:pt x="1402" y="858"/>
                  </a:lnTo>
                  <a:lnTo>
                    <a:pt x="1401" y="858"/>
                  </a:lnTo>
                  <a:lnTo>
                    <a:pt x="1401" y="857"/>
                  </a:lnTo>
                  <a:lnTo>
                    <a:pt x="1401" y="859"/>
                  </a:lnTo>
                  <a:lnTo>
                    <a:pt x="1395" y="854"/>
                  </a:lnTo>
                  <a:lnTo>
                    <a:pt x="1396" y="856"/>
                  </a:lnTo>
                  <a:lnTo>
                    <a:pt x="1399" y="859"/>
                  </a:lnTo>
                  <a:lnTo>
                    <a:pt x="1400" y="861"/>
                  </a:lnTo>
                  <a:lnTo>
                    <a:pt x="1399" y="862"/>
                  </a:lnTo>
                  <a:lnTo>
                    <a:pt x="1396" y="861"/>
                  </a:lnTo>
                  <a:lnTo>
                    <a:pt x="1397" y="863"/>
                  </a:lnTo>
                  <a:lnTo>
                    <a:pt x="1396" y="865"/>
                  </a:lnTo>
                  <a:lnTo>
                    <a:pt x="1392" y="868"/>
                  </a:lnTo>
                  <a:lnTo>
                    <a:pt x="1395" y="872"/>
                  </a:lnTo>
                  <a:lnTo>
                    <a:pt x="1396" y="877"/>
                  </a:lnTo>
                  <a:lnTo>
                    <a:pt x="1394" y="879"/>
                  </a:lnTo>
                  <a:lnTo>
                    <a:pt x="1389" y="879"/>
                  </a:lnTo>
                  <a:lnTo>
                    <a:pt x="1392" y="875"/>
                  </a:lnTo>
                  <a:lnTo>
                    <a:pt x="1391" y="872"/>
                  </a:lnTo>
                  <a:lnTo>
                    <a:pt x="1389" y="875"/>
                  </a:lnTo>
                  <a:lnTo>
                    <a:pt x="1386" y="873"/>
                  </a:lnTo>
                  <a:lnTo>
                    <a:pt x="1385" y="870"/>
                  </a:lnTo>
                  <a:lnTo>
                    <a:pt x="1383" y="872"/>
                  </a:lnTo>
                  <a:lnTo>
                    <a:pt x="1379" y="872"/>
                  </a:lnTo>
                  <a:lnTo>
                    <a:pt x="1381" y="874"/>
                  </a:lnTo>
                  <a:lnTo>
                    <a:pt x="1381" y="878"/>
                  </a:lnTo>
                  <a:lnTo>
                    <a:pt x="1385" y="878"/>
                  </a:lnTo>
                  <a:lnTo>
                    <a:pt x="1386" y="880"/>
                  </a:lnTo>
                  <a:lnTo>
                    <a:pt x="1387" y="881"/>
                  </a:lnTo>
                  <a:lnTo>
                    <a:pt x="1384" y="883"/>
                  </a:lnTo>
                  <a:lnTo>
                    <a:pt x="1385" y="885"/>
                  </a:lnTo>
                  <a:lnTo>
                    <a:pt x="1386" y="886"/>
                  </a:lnTo>
                  <a:lnTo>
                    <a:pt x="1389" y="886"/>
                  </a:lnTo>
                  <a:lnTo>
                    <a:pt x="1390" y="884"/>
                  </a:lnTo>
                  <a:lnTo>
                    <a:pt x="1391" y="886"/>
                  </a:lnTo>
                  <a:lnTo>
                    <a:pt x="1391" y="888"/>
                  </a:lnTo>
                  <a:lnTo>
                    <a:pt x="1387" y="889"/>
                  </a:lnTo>
                  <a:lnTo>
                    <a:pt x="1385" y="894"/>
                  </a:lnTo>
                  <a:lnTo>
                    <a:pt x="1383" y="899"/>
                  </a:lnTo>
                  <a:lnTo>
                    <a:pt x="1378" y="895"/>
                  </a:lnTo>
                  <a:lnTo>
                    <a:pt x="1371" y="892"/>
                  </a:lnTo>
                  <a:lnTo>
                    <a:pt x="1373" y="895"/>
                  </a:lnTo>
                  <a:lnTo>
                    <a:pt x="1375" y="897"/>
                  </a:lnTo>
                  <a:lnTo>
                    <a:pt x="1378" y="899"/>
                  </a:lnTo>
                  <a:lnTo>
                    <a:pt x="1380" y="899"/>
                  </a:lnTo>
                  <a:lnTo>
                    <a:pt x="1383" y="897"/>
                  </a:lnTo>
                  <a:lnTo>
                    <a:pt x="1385" y="897"/>
                  </a:lnTo>
                  <a:lnTo>
                    <a:pt x="1387" y="897"/>
                  </a:lnTo>
                  <a:lnTo>
                    <a:pt x="1389" y="899"/>
                  </a:lnTo>
                  <a:lnTo>
                    <a:pt x="1387" y="901"/>
                  </a:lnTo>
                  <a:lnTo>
                    <a:pt x="1387" y="902"/>
                  </a:lnTo>
                  <a:lnTo>
                    <a:pt x="1386" y="907"/>
                  </a:lnTo>
                  <a:lnTo>
                    <a:pt x="1387" y="911"/>
                  </a:lnTo>
                  <a:lnTo>
                    <a:pt x="1389" y="912"/>
                  </a:lnTo>
                  <a:lnTo>
                    <a:pt x="1391" y="915"/>
                  </a:lnTo>
                  <a:lnTo>
                    <a:pt x="1391" y="918"/>
                  </a:lnTo>
                  <a:lnTo>
                    <a:pt x="1390" y="916"/>
                  </a:lnTo>
                  <a:lnTo>
                    <a:pt x="1390" y="915"/>
                  </a:lnTo>
                  <a:lnTo>
                    <a:pt x="1389" y="916"/>
                  </a:lnTo>
                  <a:lnTo>
                    <a:pt x="1387" y="918"/>
                  </a:lnTo>
                  <a:lnTo>
                    <a:pt x="1385" y="915"/>
                  </a:lnTo>
                  <a:lnTo>
                    <a:pt x="1381" y="912"/>
                  </a:lnTo>
                  <a:lnTo>
                    <a:pt x="1380" y="915"/>
                  </a:lnTo>
                  <a:lnTo>
                    <a:pt x="1378" y="917"/>
                  </a:lnTo>
                  <a:lnTo>
                    <a:pt x="1381" y="920"/>
                  </a:lnTo>
                  <a:lnTo>
                    <a:pt x="1383" y="921"/>
                  </a:lnTo>
                  <a:lnTo>
                    <a:pt x="1384" y="922"/>
                  </a:lnTo>
                  <a:lnTo>
                    <a:pt x="1383" y="924"/>
                  </a:lnTo>
                  <a:lnTo>
                    <a:pt x="1380" y="924"/>
                  </a:lnTo>
                  <a:lnTo>
                    <a:pt x="1379" y="924"/>
                  </a:lnTo>
                  <a:lnTo>
                    <a:pt x="1379" y="924"/>
                  </a:lnTo>
                  <a:lnTo>
                    <a:pt x="1379" y="927"/>
                  </a:lnTo>
                  <a:lnTo>
                    <a:pt x="1378" y="924"/>
                  </a:lnTo>
                  <a:lnTo>
                    <a:pt x="1376" y="922"/>
                  </a:lnTo>
                  <a:lnTo>
                    <a:pt x="1374" y="922"/>
                  </a:lnTo>
                  <a:lnTo>
                    <a:pt x="1371" y="923"/>
                  </a:lnTo>
                  <a:lnTo>
                    <a:pt x="1374" y="924"/>
                  </a:lnTo>
                  <a:lnTo>
                    <a:pt x="1374" y="927"/>
                  </a:lnTo>
                  <a:lnTo>
                    <a:pt x="1375" y="929"/>
                  </a:lnTo>
                  <a:lnTo>
                    <a:pt x="1376" y="931"/>
                  </a:lnTo>
                  <a:lnTo>
                    <a:pt x="1375" y="933"/>
                  </a:lnTo>
                  <a:lnTo>
                    <a:pt x="1373" y="934"/>
                  </a:lnTo>
                  <a:lnTo>
                    <a:pt x="1370" y="934"/>
                  </a:lnTo>
                  <a:lnTo>
                    <a:pt x="1369" y="933"/>
                  </a:lnTo>
                  <a:lnTo>
                    <a:pt x="1368" y="934"/>
                  </a:lnTo>
                  <a:lnTo>
                    <a:pt x="1368" y="936"/>
                  </a:lnTo>
                  <a:lnTo>
                    <a:pt x="1370" y="937"/>
                  </a:lnTo>
                  <a:lnTo>
                    <a:pt x="1371" y="939"/>
                  </a:lnTo>
                  <a:lnTo>
                    <a:pt x="1371" y="942"/>
                  </a:lnTo>
                  <a:lnTo>
                    <a:pt x="1369" y="947"/>
                  </a:lnTo>
                  <a:lnTo>
                    <a:pt x="1364" y="942"/>
                  </a:lnTo>
                  <a:lnTo>
                    <a:pt x="1363" y="944"/>
                  </a:lnTo>
                  <a:lnTo>
                    <a:pt x="1360" y="945"/>
                  </a:lnTo>
                  <a:lnTo>
                    <a:pt x="1358" y="945"/>
                  </a:lnTo>
                  <a:lnTo>
                    <a:pt x="1357" y="943"/>
                  </a:lnTo>
                  <a:lnTo>
                    <a:pt x="1354" y="944"/>
                  </a:lnTo>
                  <a:lnTo>
                    <a:pt x="1352" y="945"/>
                  </a:lnTo>
                  <a:lnTo>
                    <a:pt x="1352" y="947"/>
                  </a:lnTo>
                  <a:lnTo>
                    <a:pt x="1352" y="948"/>
                  </a:lnTo>
                  <a:lnTo>
                    <a:pt x="1346" y="948"/>
                  </a:lnTo>
                  <a:lnTo>
                    <a:pt x="1349" y="950"/>
                  </a:lnTo>
                  <a:lnTo>
                    <a:pt x="1353" y="950"/>
                  </a:lnTo>
                  <a:lnTo>
                    <a:pt x="1354" y="953"/>
                  </a:lnTo>
                  <a:lnTo>
                    <a:pt x="1355" y="954"/>
                  </a:lnTo>
                  <a:lnTo>
                    <a:pt x="1354" y="955"/>
                  </a:lnTo>
                  <a:lnTo>
                    <a:pt x="1352" y="956"/>
                  </a:lnTo>
                  <a:lnTo>
                    <a:pt x="1351" y="959"/>
                  </a:lnTo>
                  <a:lnTo>
                    <a:pt x="1351" y="960"/>
                  </a:lnTo>
                  <a:lnTo>
                    <a:pt x="1349" y="963"/>
                  </a:lnTo>
                  <a:lnTo>
                    <a:pt x="1348" y="965"/>
                  </a:lnTo>
                  <a:lnTo>
                    <a:pt x="1348" y="961"/>
                  </a:lnTo>
                  <a:lnTo>
                    <a:pt x="1346" y="961"/>
                  </a:lnTo>
                  <a:lnTo>
                    <a:pt x="1346" y="966"/>
                  </a:lnTo>
                  <a:lnTo>
                    <a:pt x="1344" y="970"/>
                  </a:lnTo>
                  <a:lnTo>
                    <a:pt x="1343" y="967"/>
                  </a:lnTo>
                  <a:lnTo>
                    <a:pt x="1341" y="967"/>
                  </a:lnTo>
                  <a:lnTo>
                    <a:pt x="1338" y="969"/>
                  </a:lnTo>
                  <a:lnTo>
                    <a:pt x="1336" y="970"/>
                  </a:lnTo>
                  <a:lnTo>
                    <a:pt x="1335" y="972"/>
                  </a:lnTo>
                  <a:lnTo>
                    <a:pt x="1333" y="975"/>
                  </a:lnTo>
                  <a:lnTo>
                    <a:pt x="1332" y="977"/>
                  </a:lnTo>
                  <a:lnTo>
                    <a:pt x="1330" y="977"/>
                  </a:lnTo>
                  <a:lnTo>
                    <a:pt x="1328" y="976"/>
                  </a:lnTo>
                  <a:lnTo>
                    <a:pt x="1327" y="975"/>
                  </a:lnTo>
                  <a:lnTo>
                    <a:pt x="1326" y="976"/>
                  </a:lnTo>
                  <a:lnTo>
                    <a:pt x="1325" y="979"/>
                  </a:lnTo>
                  <a:lnTo>
                    <a:pt x="1325" y="982"/>
                  </a:lnTo>
                  <a:lnTo>
                    <a:pt x="1322" y="983"/>
                  </a:lnTo>
                  <a:lnTo>
                    <a:pt x="1317" y="985"/>
                  </a:lnTo>
                  <a:lnTo>
                    <a:pt x="1322" y="986"/>
                  </a:lnTo>
                  <a:lnTo>
                    <a:pt x="1323" y="987"/>
                  </a:lnTo>
                  <a:lnTo>
                    <a:pt x="1325" y="990"/>
                  </a:lnTo>
                  <a:lnTo>
                    <a:pt x="1322" y="988"/>
                  </a:lnTo>
                  <a:lnTo>
                    <a:pt x="1321" y="988"/>
                  </a:lnTo>
                  <a:lnTo>
                    <a:pt x="1321" y="990"/>
                  </a:lnTo>
                  <a:lnTo>
                    <a:pt x="1319" y="990"/>
                  </a:lnTo>
                  <a:lnTo>
                    <a:pt x="1319" y="992"/>
                  </a:lnTo>
                  <a:lnTo>
                    <a:pt x="1319" y="995"/>
                  </a:lnTo>
                  <a:lnTo>
                    <a:pt x="1317" y="997"/>
                  </a:lnTo>
                  <a:lnTo>
                    <a:pt x="1315" y="998"/>
                  </a:lnTo>
                  <a:lnTo>
                    <a:pt x="1310" y="999"/>
                  </a:lnTo>
                  <a:lnTo>
                    <a:pt x="1305" y="998"/>
                  </a:lnTo>
                  <a:lnTo>
                    <a:pt x="1305" y="999"/>
                  </a:lnTo>
                  <a:lnTo>
                    <a:pt x="1305" y="1002"/>
                  </a:lnTo>
                  <a:lnTo>
                    <a:pt x="1301" y="1003"/>
                  </a:lnTo>
                  <a:lnTo>
                    <a:pt x="1296" y="1002"/>
                  </a:lnTo>
                  <a:lnTo>
                    <a:pt x="1296" y="1001"/>
                  </a:lnTo>
                  <a:lnTo>
                    <a:pt x="1296" y="998"/>
                  </a:lnTo>
                  <a:lnTo>
                    <a:pt x="1295" y="999"/>
                  </a:lnTo>
                  <a:lnTo>
                    <a:pt x="1293" y="999"/>
                  </a:lnTo>
                  <a:lnTo>
                    <a:pt x="1288" y="998"/>
                  </a:lnTo>
                  <a:lnTo>
                    <a:pt x="1289" y="1001"/>
                  </a:lnTo>
                  <a:lnTo>
                    <a:pt x="1292" y="1002"/>
                  </a:lnTo>
                  <a:lnTo>
                    <a:pt x="1294" y="1004"/>
                  </a:lnTo>
                  <a:lnTo>
                    <a:pt x="1294" y="1007"/>
                  </a:lnTo>
                  <a:lnTo>
                    <a:pt x="1293" y="1008"/>
                  </a:lnTo>
                  <a:lnTo>
                    <a:pt x="1292" y="1008"/>
                  </a:lnTo>
                  <a:lnTo>
                    <a:pt x="1289" y="1007"/>
                  </a:lnTo>
                  <a:lnTo>
                    <a:pt x="1285" y="1004"/>
                  </a:lnTo>
                  <a:lnTo>
                    <a:pt x="1284" y="1003"/>
                  </a:lnTo>
                  <a:lnTo>
                    <a:pt x="1283" y="1001"/>
                  </a:lnTo>
                  <a:lnTo>
                    <a:pt x="1282" y="1003"/>
                  </a:lnTo>
                  <a:lnTo>
                    <a:pt x="1278" y="1004"/>
                  </a:lnTo>
                  <a:lnTo>
                    <a:pt x="1276" y="1006"/>
                  </a:lnTo>
                  <a:lnTo>
                    <a:pt x="1273" y="1006"/>
                  </a:lnTo>
                  <a:lnTo>
                    <a:pt x="1276" y="1007"/>
                  </a:lnTo>
                  <a:lnTo>
                    <a:pt x="1276" y="1008"/>
                  </a:lnTo>
                  <a:lnTo>
                    <a:pt x="1274" y="1009"/>
                  </a:lnTo>
                  <a:lnTo>
                    <a:pt x="1272" y="1011"/>
                  </a:lnTo>
                  <a:lnTo>
                    <a:pt x="1271" y="1009"/>
                  </a:lnTo>
                  <a:lnTo>
                    <a:pt x="1269" y="1007"/>
                  </a:lnTo>
                  <a:lnTo>
                    <a:pt x="1271" y="1003"/>
                  </a:lnTo>
                  <a:lnTo>
                    <a:pt x="1267" y="1004"/>
                  </a:lnTo>
                  <a:lnTo>
                    <a:pt x="1263" y="1007"/>
                  </a:lnTo>
                  <a:lnTo>
                    <a:pt x="1264" y="1008"/>
                  </a:lnTo>
                  <a:lnTo>
                    <a:pt x="1264" y="1009"/>
                  </a:lnTo>
                  <a:lnTo>
                    <a:pt x="1264" y="1012"/>
                  </a:lnTo>
                  <a:lnTo>
                    <a:pt x="1267" y="1013"/>
                  </a:lnTo>
                  <a:lnTo>
                    <a:pt x="1264" y="1014"/>
                  </a:lnTo>
                  <a:lnTo>
                    <a:pt x="1261" y="1012"/>
                  </a:lnTo>
                  <a:lnTo>
                    <a:pt x="1256" y="1011"/>
                  </a:lnTo>
                  <a:lnTo>
                    <a:pt x="1250" y="1011"/>
                  </a:lnTo>
                  <a:lnTo>
                    <a:pt x="1246" y="1014"/>
                  </a:lnTo>
                  <a:lnTo>
                    <a:pt x="1244" y="1009"/>
                  </a:lnTo>
                  <a:lnTo>
                    <a:pt x="1240" y="1004"/>
                  </a:lnTo>
                  <a:lnTo>
                    <a:pt x="1237" y="1001"/>
                  </a:lnTo>
                  <a:lnTo>
                    <a:pt x="1236" y="996"/>
                  </a:lnTo>
                  <a:lnTo>
                    <a:pt x="1236" y="998"/>
                  </a:lnTo>
                  <a:lnTo>
                    <a:pt x="1235" y="998"/>
                  </a:lnTo>
                  <a:lnTo>
                    <a:pt x="1235" y="997"/>
                  </a:lnTo>
                  <a:lnTo>
                    <a:pt x="1232" y="996"/>
                  </a:lnTo>
                  <a:lnTo>
                    <a:pt x="1236" y="993"/>
                  </a:lnTo>
                  <a:lnTo>
                    <a:pt x="1241" y="992"/>
                  </a:lnTo>
                  <a:lnTo>
                    <a:pt x="1239" y="992"/>
                  </a:lnTo>
                  <a:lnTo>
                    <a:pt x="1235" y="993"/>
                  </a:lnTo>
                  <a:lnTo>
                    <a:pt x="1232" y="993"/>
                  </a:lnTo>
                  <a:lnTo>
                    <a:pt x="1229" y="993"/>
                  </a:lnTo>
                  <a:lnTo>
                    <a:pt x="1231" y="996"/>
                  </a:lnTo>
                  <a:lnTo>
                    <a:pt x="1231" y="998"/>
                  </a:lnTo>
                  <a:lnTo>
                    <a:pt x="1229" y="999"/>
                  </a:lnTo>
                  <a:lnTo>
                    <a:pt x="1225" y="999"/>
                  </a:lnTo>
                  <a:lnTo>
                    <a:pt x="1226" y="999"/>
                  </a:lnTo>
                  <a:lnTo>
                    <a:pt x="1229" y="1001"/>
                  </a:lnTo>
                  <a:lnTo>
                    <a:pt x="1231" y="1003"/>
                  </a:lnTo>
                  <a:lnTo>
                    <a:pt x="1232" y="1004"/>
                  </a:lnTo>
                  <a:lnTo>
                    <a:pt x="1230" y="1004"/>
                  </a:lnTo>
                  <a:lnTo>
                    <a:pt x="1234" y="1007"/>
                  </a:lnTo>
                  <a:lnTo>
                    <a:pt x="1237" y="1012"/>
                  </a:lnTo>
                  <a:lnTo>
                    <a:pt x="1239" y="1018"/>
                  </a:lnTo>
                  <a:lnTo>
                    <a:pt x="1239" y="1022"/>
                  </a:lnTo>
                  <a:lnTo>
                    <a:pt x="1237" y="1023"/>
                  </a:lnTo>
                  <a:lnTo>
                    <a:pt x="1235" y="1023"/>
                  </a:lnTo>
                  <a:lnTo>
                    <a:pt x="1231" y="1019"/>
                  </a:lnTo>
                  <a:lnTo>
                    <a:pt x="1228" y="1014"/>
                  </a:lnTo>
                  <a:lnTo>
                    <a:pt x="1226" y="1012"/>
                  </a:lnTo>
                  <a:lnTo>
                    <a:pt x="1225" y="1011"/>
                  </a:lnTo>
                  <a:lnTo>
                    <a:pt x="1226" y="1014"/>
                  </a:lnTo>
                  <a:lnTo>
                    <a:pt x="1229" y="1018"/>
                  </a:lnTo>
                  <a:lnTo>
                    <a:pt x="1231" y="1020"/>
                  </a:lnTo>
                  <a:lnTo>
                    <a:pt x="1234" y="1024"/>
                  </a:lnTo>
                  <a:lnTo>
                    <a:pt x="1231" y="1025"/>
                  </a:lnTo>
                  <a:lnTo>
                    <a:pt x="1230" y="1028"/>
                  </a:lnTo>
                  <a:lnTo>
                    <a:pt x="1228" y="1025"/>
                  </a:lnTo>
                  <a:lnTo>
                    <a:pt x="1226" y="1023"/>
                  </a:lnTo>
                  <a:lnTo>
                    <a:pt x="1224" y="1024"/>
                  </a:lnTo>
                  <a:lnTo>
                    <a:pt x="1224" y="1028"/>
                  </a:lnTo>
                  <a:lnTo>
                    <a:pt x="1224" y="1031"/>
                  </a:lnTo>
                  <a:lnTo>
                    <a:pt x="1223" y="1034"/>
                  </a:lnTo>
                  <a:lnTo>
                    <a:pt x="1220" y="1031"/>
                  </a:lnTo>
                  <a:lnTo>
                    <a:pt x="1218" y="1031"/>
                  </a:lnTo>
                  <a:lnTo>
                    <a:pt x="1215" y="1034"/>
                  </a:lnTo>
                  <a:lnTo>
                    <a:pt x="1214" y="1036"/>
                  </a:lnTo>
                  <a:lnTo>
                    <a:pt x="1212" y="1036"/>
                  </a:lnTo>
                  <a:lnTo>
                    <a:pt x="1210" y="1035"/>
                  </a:lnTo>
                  <a:lnTo>
                    <a:pt x="1209" y="1033"/>
                  </a:lnTo>
                  <a:lnTo>
                    <a:pt x="1209" y="1030"/>
                  </a:lnTo>
                  <a:lnTo>
                    <a:pt x="1207" y="1030"/>
                  </a:lnTo>
                  <a:lnTo>
                    <a:pt x="1205" y="1028"/>
                  </a:lnTo>
                  <a:lnTo>
                    <a:pt x="1207" y="1033"/>
                  </a:lnTo>
                  <a:lnTo>
                    <a:pt x="1207" y="1035"/>
                  </a:lnTo>
                  <a:lnTo>
                    <a:pt x="1207" y="1038"/>
                  </a:lnTo>
                  <a:lnTo>
                    <a:pt x="1204" y="1039"/>
                  </a:lnTo>
                  <a:lnTo>
                    <a:pt x="1201" y="1038"/>
                  </a:lnTo>
                  <a:lnTo>
                    <a:pt x="1196" y="1035"/>
                  </a:lnTo>
                  <a:lnTo>
                    <a:pt x="1193" y="1034"/>
                  </a:lnTo>
                  <a:lnTo>
                    <a:pt x="1194" y="1036"/>
                  </a:lnTo>
                  <a:lnTo>
                    <a:pt x="1193" y="1038"/>
                  </a:lnTo>
                  <a:lnTo>
                    <a:pt x="1191" y="1038"/>
                  </a:lnTo>
                  <a:lnTo>
                    <a:pt x="1188" y="1036"/>
                  </a:lnTo>
                  <a:lnTo>
                    <a:pt x="1189" y="1038"/>
                  </a:lnTo>
                  <a:lnTo>
                    <a:pt x="1189" y="1040"/>
                  </a:lnTo>
                  <a:lnTo>
                    <a:pt x="1188" y="1042"/>
                  </a:lnTo>
                  <a:lnTo>
                    <a:pt x="1185" y="1045"/>
                  </a:lnTo>
                  <a:lnTo>
                    <a:pt x="1183" y="1045"/>
                  </a:lnTo>
                  <a:lnTo>
                    <a:pt x="1181" y="1042"/>
                  </a:lnTo>
                  <a:lnTo>
                    <a:pt x="1180" y="1046"/>
                  </a:lnTo>
                  <a:lnTo>
                    <a:pt x="1177" y="1047"/>
                  </a:lnTo>
                  <a:lnTo>
                    <a:pt x="1177" y="1046"/>
                  </a:lnTo>
                  <a:lnTo>
                    <a:pt x="1176" y="1046"/>
                  </a:lnTo>
                  <a:lnTo>
                    <a:pt x="1171" y="1047"/>
                  </a:lnTo>
                  <a:lnTo>
                    <a:pt x="1165" y="1049"/>
                  </a:lnTo>
                  <a:lnTo>
                    <a:pt x="1160" y="1052"/>
                  </a:lnTo>
                  <a:lnTo>
                    <a:pt x="1162" y="1047"/>
                  </a:lnTo>
                  <a:lnTo>
                    <a:pt x="1160" y="1051"/>
                  </a:lnTo>
                  <a:lnTo>
                    <a:pt x="1160" y="1052"/>
                  </a:lnTo>
                  <a:lnTo>
                    <a:pt x="1160" y="1055"/>
                  </a:lnTo>
                  <a:lnTo>
                    <a:pt x="1157" y="1055"/>
                  </a:lnTo>
                  <a:lnTo>
                    <a:pt x="1156" y="1054"/>
                  </a:lnTo>
                  <a:lnTo>
                    <a:pt x="1155" y="1051"/>
                  </a:lnTo>
                  <a:lnTo>
                    <a:pt x="1153" y="1050"/>
                  </a:lnTo>
                  <a:lnTo>
                    <a:pt x="1153" y="1052"/>
                  </a:lnTo>
                  <a:lnTo>
                    <a:pt x="1154" y="1054"/>
                  </a:lnTo>
                  <a:lnTo>
                    <a:pt x="1154" y="1056"/>
                  </a:lnTo>
                  <a:lnTo>
                    <a:pt x="1153" y="1057"/>
                  </a:lnTo>
                  <a:lnTo>
                    <a:pt x="1149" y="1061"/>
                  </a:lnTo>
                  <a:lnTo>
                    <a:pt x="1148" y="1063"/>
                  </a:lnTo>
                  <a:lnTo>
                    <a:pt x="1149" y="1065"/>
                  </a:lnTo>
                  <a:lnTo>
                    <a:pt x="1151" y="1067"/>
                  </a:lnTo>
                  <a:lnTo>
                    <a:pt x="1154" y="1068"/>
                  </a:lnTo>
                  <a:lnTo>
                    <a:pt x="1155" y="1070"/>
                  </a:lnTo>
                  <a:lnTo>
                    <a:pt x="1156" y="1071"/>
                  </a:lnTo>
                  <a:lnTo>
                    <a:pt x="1155" y="1071"/>
                  </a:lnTo>
                  <a:lnTo>
                    <a:pt x="1154" y="1068"/>
                  </a:lnTo>
                  <a:lnTo>
                    <a:pt x="1155" y="1072"/>
                  </a:lnTo>
                  <a:lnTo>
                    <a:pt x="1157" y="1074"/>
                  </a:lnTo>
                  <a:lnTo>
                    <a:pt x="1160" y="1077"/>
                  </a:lnTo>
                  <a:lnTo>
                    <a:pt x="1161" y="1081"/>
                  </a:lnTo>
                  <a:lnTo>
                    <a:pt x="1159" y="1084"/>
                  </a:lnTo>
                  <a:lnTo>
                    <a:pt x="1154" y="1085"/>
                  </a:lnTo>
                  <a:lnTo>
                    <a:pt x="1149" y="1087"/>
                  </a:lnTo>
                  <a:lnTo>
                    <a:pt x="1145" y="1087"/>
                  </a:lnTo>
                  <a:lnTo>
                    <a:pt x="1144" y="1084"/>
                  </a:lnTo>
                  <a:lnTo>
                    <a:pt x="1144" y="1083"/>
                  </a:lnTo>
                  <a:lnTo>
                    <a:pt x="1144" y="1082"/>
                  </a:lnTo>
                  <a:lnTo>
                    <a:pt x="1146" y="1082"/>
                  </a:lnTo>
                  <a:lnTo>
                    <a:pt x="1145" y="1079"/>
                  </a:lnTo>
                  <a:lnTo>
                    <a:pt x="1141" y="1078"/>
                  </a:lnTo>
                  <a:lnTo>
                    <a:pt x="1140" y="1076"/>
                  </a:lnTo>
                  <a:lnTo>
                    <a:pt x="1140" y="1072"/>
                  </a:lnTo>
                  <a:lnTo>
                    <a:pt x="1139" y="1072"/>
                  </a:lnTo>
                  <a:lnTo>
                    <a:pt x="1138" y="1070"/>
                  </a:lnTo>
                  <a:lnTo>
                    <a:pt x="1138" y="1068"/>
                  </a:lnTo>
                  <a:lnTo>
                    <a:pt x="1135" y="1067"/>
                  </a:lnTo>
                  <a:lnTo>
                    <a:pt x="1134" y="1066"/>
                  </a:lnTo>
                  <a:lnTo>
                    <a:pt x="1134" y="1062"/>
                  </a:lnTo>
                  <a:lnTo>
                    <a:pt x="1134" y="1060"/>
                  </a:lnTo>
                  <a:lnTo>
                    <a:pt x="1134" y="1057"/>
                  </a:lnTo>
                  <a:lnTo>
                    <a:pt x="1135" y="1056"/>
                  </a:lnTo>
                  <a:lnTo>
                    <a:pt x="1135" y="1054"/>
                  </a:lnTo>
                  <a:lnTo>
                    <a:pt x="1137" y="1052"/>
                  </a:lnTo>
                  <a:lnTo>
                    <a:pt x="1138" y="1050"/>
                  </a:lnTo>
                  <a:lnTo>
                    <a:pt x="1139" y="1049"/>
                  </a:lnTo>
                  <a:lnTo>
                    <a:pt x="1139" y="1049"/>
                  </a:lnTo>
                  <a:lnTo>
                    <a:pt x="1138" y="1046"/>
                  </a:lnTo>
                  <a:lnTo>
                    <a:pt x="1135" y="1045"/>
                  </a:lnTo>
                  <a:lnTo>
                    <a:pt x="1133" y="1042"/>
                  </a:lnTo>
                  <a:lnTo>
                    <a:pt x="1134" y="1046"/>
                  </a:lnTo>
                  <a:lnTo>
                    <a:pt x="1132" y="1045"/>
                  </a:lnTo>
                  <a:lnTo>
                    <a:pt x="1129" y="1044"/>
                  </a:lnTo>
                  <a:lnTo>
                    <a:pt x="1128" y="1040"/>
                  </a:lnTo>
                  <a:lnTo>
                    <a:pt x="1127" y="1038"/>
                  </a:lnTo>
                  <a:lnTo>
                    <a:pt x="1126" y="1041"/>
                  </a:lnTo>
                  <a:lnTo>
                    <a:pt x="1128" y="1044"/>
                  </a:lnTo>
                  <a:lnTo>
                    <a:pt x="1127" y="1045"/>
                  </a:lnTo>
                  <a:lnTo>
                    <a:pt x="1124" y="1047"/>
                  </a:lnTo>
                  <a:lnTo>
                    <a:pt x="1121" y="1047"/>
                  </a:lnTo>
                  <a:lnTo>
                    <a:pt x="1119" y="1046"/>
                  </a:lnTo>
                  <a:lnTo>
                    <a:pt x="1118" y="1049"/>
                  </a:lnTo>
                  <a:lnTo>
                    <a:pt x="1117" y="1049"/>
                  </a:lnTo>
                  <a:lnTo>
                    <a:pt x="1116" y="1047"/>
                  </a:lnTo>
                  <a:lnTo>
                    <a:pt x="1114" y="1044"/>
                  </a:lnTo>
                  <a:lnTo>
                    <a:pt x="1113" y="1041"/>
                  </a:lnTo>
                  <a:lnTo>
                    <a:pt x="1111" y="1041"/>
                  </a:lnTo>
                  <a:lnTo>
                    <a:pt x="1108" y="1040"/>
                  </a:lnTo>
                  <a:lnTo>
                    <a:pt x="1107" y="1040"/>
                  </a:lnTo>
                  <a:lnTo>
                    <a:pt x="1108" y="1036"/>
                  </a:lnTo>
                  <a:lnTo>
                    <a:pt x="1106" y="1036"/>
                  </a:lnTo>
                  <a:lnTo>
                    <a:pt x="1106" y="1039"/>
                  </a:lnTo>
                  <a:lnTo>
                    <a:pt x="1107" y="1041"/>
                  </a:lnTo>
                  <a:lnTo>
                    <a:pt x="1105" y="1040"/>
                  </a:lnTo>
                  <a:lnTo>
                    <a:pt x="1103" y="1038"/>
                  </a:lnTo>
                  <a:lnTo>
                    <a:pt x="1101" y="1036"/>
                  </a:lnTo>
                  <a:lnTo>
                    <a:pt x="1098" y="1035"/>
                  </a:lnTo>
                  <a:lnTo>
                    <a:pt x="1100" y="1033"/>
                  </a:lnTo>
                  <a:lnTo>
                    <a:pt x="1097" y="1031"/>
                  </a:lnTo>
                  <a:lnTo>
                    <a:pt x="1096" y="1034"/>
                  </a:lnTo>
                  <a:lnTo>
                    <a:pt x="1096" y="1034"/>
                  </a:lnTo>
                  <a:lnTo>
                    <a:pt x="1095" y="1031"/>
                  </a:lnTo>
                  <a:lnTo>
                    <a:pt x="1096" y="1035"/>
                  </a:lnTo>
                  <a:lnTo>
                    <a:pt x="1097" y="1038"/>
                  </a:lnTo>
                  <a:lnTo>
                    <a:pt x="1098" y="1040"/>
                  </a:lnTo>
                  <a:lnTo>
                    <a:pt x="1098" y="1042"/>
                  </a:lnTo>
                  <a:lnTo>
                    <a:pt x="1097" y="1042"/>
                  </a:lnTo>
                  <a:lnTo>
                    <a:pt x="1095" y="1042"/>
                  </a:lnTo>
                  <a:lnTo>
                    <a:pt x="1094" y="1040"/>
                  </a:lnTo>
                  <a:lnTo>
                    <a:pt x="1091" y="1040"/>
                  </a:lnTo>
                  <a:lnTo>
                    <a:pt x="1092" y="1044"/>
                  </a:lnTo>
                  <a:lnTo>
                    <a:pt x="1090" y="1046"/>
                  </a:lnTo>
                  <a:lnTo>
                    <a:pt x="1089" y="1044"/>
                  </a:lnTo>
                  <a:lnTo>
                    <a:pt x="1086" y="1042"/>
                  </a:lnTo>
                  <a:lnTo>
                    <a:pt x="1082" y="1042"/>
                  </a:lnTo>
                  <a:lnTo>
                    <a:pt x="1080" y="1041"/>
                  </a:lnTo>
                  <a:lnTo>
                    <a:pt x="1075" y="1041"/>
                  </a:lnTo>
                  <a:lnTo>
                    <a:pt x="1071" y="1042"/>
                  </a:lnTo>
                  <a:lnTo>
                    <a:pt x="1069" y="1042"/>
                  </a:lnTo>
                  <a:lnTo>
                    <a:pt x="1068" y="1040"/>
                  </a:lnTo>
                  <a:lnTo>
                    <a:pt x="1065" y="1042"/>
                  </a:lnTo>
                  <a:lnTo>
                    <a:pt x="1063" y="1040"/>
                  </a:lnTo>
                  <a:lnTo>
                    <a:pt x="1060" y="1039"/>
                  </a:lnTo>
                  <a:lnTo>
                    <a:pt x="1055" y="1036"/>
                  </a:lnTo>
                  <a:lnTo>
                    <a:pt x="1054" y="1035"/>
                  </a:lnTo>
                  <a:lnTo>
                    <a:pt x="1054" y="1033"/>
                  </a:lnTo>
                  <a:lnTo>
                    <a:pt x="1053" y="1031"/>
                  </a:lnTo>
                  <a:lnTo>
                    <a:pt x="1050" y="1030"/>
                  </a:lnTo>
                  <a:lnTo>
                    <a:pt x="1048" y="1029"/>
                  </a:lnTo>
                  <a:lnTo>
                    <a:pt x="1044" y="1030"/>
                  </a:lnTo>
                  <a:lnTo>
                    <a:pt x="1041" y="1020"/>
                  </a:lnTo>
                  <a:lnTo>
                    <a:pt x="1038" y="1015"/>
                  </a:lnTo>
                  <a:lnTo>
                    <a:pt x="1038" y="1009"/>
                  </a:lnTo>
                  <a:lnTo>
                    <a:pt x="1041" y="1009"/>
                  </a:lnTo>
                  <a:lnTo>
                    <a:pt x="1042" y="1008"/>
                  </a:lnTo>
                  <a:lnTo>
                    <a:pt x="1041" y="1004"/>
                  </a:lnTo>
                  <a:lnTo>
                    <a:pt x="1038" y="1001"/>
                  </a:lnTo>
                  <a:lnTo>
                    <a:pt x="1036" y="999"/>
                  </a:lnTo>
                  <a:lnTo>
                    <a:pt x="1032" y="1001"/>
                  </a:lnTo>
                  <a:lnTo>
                    <a:pt x="1030" y="1001"/>
                  </a:lnTo>
                  <a:lnTo>
                    <a:pt x="1027" y="1001"/>
                  </a:lnTo>
                  <a:lnTo>
                    <a:pt x="1023" y="997"/>
                  </a:lnTo>
                  <a:lnTo>
                    <a:pt x="1021" y="997"/>
                  </a:lnTo>
                  <a:lnTo>
                    <a:pt x="1020" y="997"/>
                  </a:lnTo>
                  <a:lnTo>
                    <a:pt x="1017" y="998"/>
                  </a:lnTo>
                  <a:lnTo>
                    <a:pt x="1014" y="997"/>
                  </a:lnTo>
                  <a:lnTo>
                    <a:pt x="1009" y="995"/>
                  </a:lnTo>
                  <a:lnTo>
                    <a:pt x="1005" y="992"/>
                  </a:lnTo>
                  <a:lnTo>
                    <a:pt x="998" y="983"/>
                  </a:lnTo>
                  <a:lnTo>
                    <a:pt x="996" y="986"/>
                  </a:lnTo>
                  <a:lnTo>
                    <a:pt x="993" y="988"/>
                  </a:lnTo>
                  <a:lnTo>
                    <a:pt x="987" y="992"/>
                  </a:lnTo>
                  <a:lnTo>
                    <a:pt x="987" y="993"/>
                  </a:lnTo>
                  <a:lnTo>
                    <a:pt x="987" y="996"/>
                  </a:lnTo>
                  <a:lnTo>
                    <a:pt x="987" y="998"/>
                  </a:lnTo>
                  <a:lnTo>
                    <a:pt x="985" y="1001"/>
                  </a:lnTo>
                  <a:lnTo>
                    <a:pt x="983" y="1003"/>
                  </a:lnTo>
                  <a:lnTo>
                    <a:pt x="977" y="1004"/>
                  </a:lnTo>
                  <a:lnTo>
                    <a:pt x="972" y="1006"/>
                  </a:lnTo>
                  <a:lnTo>
                    <a:pt x="971" y="1004"/>
                  </a:lnTo>
                  <a:lnTo>
                    <a:pt x="971" y="1002"/>
                  </a:lnTo>
                  <a:lnTo>
                    <a:pt x="968" y="1003"/>
                  </a:lnTo>
                  <a:lnTo>
                    <a:pt x="966" y="1008"/>
                  </a:lnTo>
                  <a:lnTo>
                    <a:pt x="964" y="1012"/>
                  </a:lnTo>
                  <a:lnTo>
                    <a:pt x="963" y="1013"/>
                  </a:lnTo>
                  <a:lnTo>
                    <a:pt x="959" y="1009"/>
                  </a:lnTo>
                  <a:lnTo>
                    <a:pt x="956" y="1007"/>
                  </a:lnTo>
                  <a:lnTo>
                    <a:pt x="953" y="1004"/>
                  </a:lnTo>
                  <a:lnTo>
                    <a:pt x="952" y="1006"/>
                  </a:lnTo>
                  <a:lnTo>
                    <a:pt x="952" y="1008"/>
                  </a:lnTo>
                  <a:lnTo>
                    <a:pt x="951" y="1011"/>
                  </a:lnTo>
                  <a:lnTo>
                    <a:pt x="947" y="1007"/>
                  </a:lnTo>
                  <a:lnTo>
                    <a:pt x="945" y="1006"/>
                  </a:lnTo>
                  <a:lnTo>
                    <a:pt x="944" y="1007"/>
                  </a:lnTo>
                  <a:lnTo>
                    <a:pt x="940" y="1011"/>
                  </a:lnTo>
                  <a:lnTo>
                    <a:pt x="939" y="1013"/>
                  </a:lnTo>
                  <a:lnTo>
                    <a:pt x="937" y="1013"/>
                  </a:lnTo>
                  <a:lnTo>
                    <a:pt x="934" y="1013"/>
                  </a:lnTo>
                  <a:lnTo>
                    <a:pt x="930" y="1009"/>
                  </a:lnTo>
                  <a:lnTo>
                    <a:pt x="928" y="1007"/>
                  </a:lnTo>
                  <a:lnTo>
                    <a:pt x="925" y="1006"/>
                  </a:lnTo>
                  <a:lnTo>
                    <a:pt x="923" y="1004"/>
                  </a:lnTo>
                  <a:lnTo>
                    <a:pt x="920" y="1007"/>
                  </a:lnTo>
                  <a:lnTo>
                    <a:pt x="918" y="1011"/>
                  </a:lnTo>
                  <a:lnTo>
                    <a:pt x="915" y="1015"/>
                  </a:lnTo>
                  <a:lnTo>
                    <a:pt x="914" y="1017"/>
                  </a:lnTo>
                  <a:lnTo>
                    <a:pt x="913" y="1015"/>
                  </a:lnTo>
                  <a:lnTo>
                    <a:pt x="910" y="1015"/>
                  </a:lnTo>
                  <a:lnTo>
                    <a:pt x="909" y="1014"/>
                  </a:lnTo>
                  <a:lnTo>
                    <a:pt x="904" y="1015"/>
                  </a:lnTo>
                  <a:lnTo>
                    <a:pt x="903" y="1015"/>
                  </a:lnTo>
                  <a:lnTo>
                    <a:pt x="903" y="1014"/>
                  </a:lnTo>
                  <a:lnTo>
                    <a:pt x="902" y="1013"/>
                  </a:lnTo>
                  <a:lnTo>
                    <a:pt x="899" y="1013"/>
                  </a:lnTo>
                  <a:lnTo>
                    <a:pt x="898" y="1015"/>
                  </a:lnTo>
                  <a:lnTo>
                    <a:pt x="897" y="1020"/>
                  </a:lnTo>
                  <a:lnTo>
                    <a:pt x="898" y="1025"/>
                  </a:lnTo>
                  <a:lnTo>
                    <a:pt x="899" y="1029"/>
                  </a:lnTo>
                  <a:lnTo>
                    <a:pt x="903" y="1034"/>
                  </a:lnTo>
                  <a:lnTo>
                    <a:pt x="905" y="1039"/>
                  </a:lnTo>
                  <a:lnTo>
                    <a:pt x="907" y="1042"/>
                  </a:lnTo>
                  <a:lnTo>
                    <a:pt x="907" y="1045"/>
                  </a:lnTo>
                  <a:lnTo>
                    <a:pt x="905" y="1047"/>
                  </a:lnTo>
                  <a:lnTo>
                    <a:pt x="907" y="1050"/>
                  </a:lnTo>
                  <a:lnTo>
                    <a:pt x="908" y="1052"/>
                  </a:lnTo>
                  <a:lnTo>
                    <a:pt x="909" y="1055"/>
                  </a:lnTo>
                  <a:lnTo>
                    <a:pt x="908" y="1056"/>
                  </a:lnTo>
                  <a:lnTo>
                    <a:pt x="907" y="1057"/>
                  </a:lnTo>
                  <a:lnTo>
                    <a:pt x="904" y="1056"/>
                  </a:lnTo>
                  <a:lnTo>
                    <a:pt x="902" y="1055"/>
                  </a:lnTo>
                  <a:lnTo>
                    <a:pt x="899" y="1055"/>
                  </a:lnTo>
                  <a:lnTo>
                    <a:pt x="896" y="1055"/>
                  </a:lnTo>
                  <a:lnTo>
                    <a:pt x="894" y="1055"/>
                  </a:lnTo>
                  <a:lnTo>
                    <a:pt x="893" y="1054"/>
                  </a:lnTo>
                  <a:lnTo>
                    <a:pt x="891" y="1051"/>
                  </a:lnTo>
                  <a:lnTo>
                    <a:pt x="888" y="1044"/>
                  </a:lnTo>
                  <a:lnTo>
                    <a:pt x="886" y="1036"/>
                  </a:lnTo>
                  <a:lnTo>
                    <a:pt x="882" y="1040"/>
                  </a:lnTo>
                  <a:lnTo>
                    <a:pt x="877" y="1044"/>
                  </a:lnTo>
                  <a:lnTo>
                    <a:pt x="872" y="1046"/>
                  </a:lnTo>
                  <a:lnTo>
                    <a:pt x="870" y="1046"/>
                  </a:lnTo>
                  <a:lnTo>
                    <a:pt x="867" y="1046"/>
                  </a:lnTo>
                  <a:lnTo>
                    <a:pt x="866" y="1045"/>
                  </a:lnTo>
                  <a:lnTo>
                    <a:pt x="864" y="1046"/>
                  </a:lnTo>
                  <a:lnTo>
                    <a:pt x="862" y="1047"/>
                  </a:lnTo>
                  <a:lnTo>
                    <a:pt x="861" y="1047"/>
                  </a:lnTo>
                  <a:lnTo>
                    <a:pt x="860" y="1046"/>
                  </a:lnTo>
                  <a:lnTo>
                    <a:pt x="859" y="1045"/>
                  </a:lnTo>
                  <a:lnTo>
                    <a:pt x="859" y="1041"/>
                  </a:lnTo>
                  <a:lnTo>
                    <a:pt x="859" y="1040"/>
                  </a:lnTo>
                  <a:lnTo>
                    <a:pt x="856" y="1040"/>
                  </a:lnTo>
                  <a:lnTo>
                    <a:pt x="855" y="1039"/>
                  </a:lnTo>
                  <a:lnTo>
                    <a:pt x="854" y="1035"/>
                  </a:lnTo>
                  <a:lnTo>
                    <a:pt x="854" y="1031"/>
                  </a:lnTo>
                  <a:lnTo>
                    <a:pt x="851" y="1028"/>
                  </a:lnTo>
                  <a:lnTo>
                    <a:pt x="843" y="1025"/>
                  </a:lnTo>
                  <a:lnTo>
                    <a:pt x="833" y="1026"/>
                  </a:lnTo>
                  <a:lnTo>
                    <a:pt x="832" y="1026"/>
                  </a:lnTo>
                  <a:lnTo>
                    <a:pt x="830" y="1025"/>
                  </a:lnTo>
                  <a:lnTo>
                    <a:pt x="829" y="1022"/>
                  </a:lnTo>
                  <a:lnTo>
                    <a:pt x="832" y="1017"/>
                  </a:lnTo>
                  <a:lnTo>
                    <a:pt x="832" y="1014"/>
                  </a:lnTo>
                  <a:lnTo>
                    <a:pt x="832" y="1009"/>
                  </a:lnTo>
                  <a:lnTo>
                    <a:pt x="832" y="1004"/>
                  </a:lnTo>
                  <a:lnTo>
                    <a:pt x="832" y="1001"/>
                  </a:lnTo>
                  <a:lnTo>
                    <a:pt x="835" y="999"/>
                  </a:lnTo>
                  <a:lnTo>
                    <a:pt x="834" y="996"/>
                  </a:lnTo>
                  <a:lnTo>
                    <a:pt x="832" y="993"/>
                  </a:lnTo>
                  <a:lnTo>
                    <a:pt x="824" y="993"/>
                  </a:lnTo>
                  <a:lnTo>
                    <a:pt x="821" y="992"/>
                  </a:lnTo>
                  <a:lnTo>
                    <a:pt x="818" y="990"/>
                  </a:lnTo>
                  <a:lnTo>
                    <a:pt x="817" y="986"/>
                  </a:lnTo>
                  <a:lnTo>
                    <a:pt x="814" y="982"/>
                  </a:lnTo>
                  <a:lnTo>
                    <a:pt x="813" y="980"/>
                  </a:lnTo>
                  <a:lnTo>
                    <a:pt x="812" y="979"/>
                  </a:lnTo>
                  <a:lnTo>
                    <a:pt x="813" y="976"/>
                  </a:lnTo>
                  <a:lnTo>
                    <a:pt x="812" y="974"/>
                  </a:lnTo>
                  <a:lnTo>
                    <a:pt x="809" y="971"/>
                  </a:lnTo>
                  <a:lnTo>
                    <a:pt x="808" y="969"/>
                  </a:lnTo>
                  <a:lnTo>
                    <a:pt x="807" y="966"/>
                  </a:lnTo>
                  <a:lnTo>
                    <a:pt x="809" y="964"/>
                  </a:lnTo>
                  <a:lnTo>
                    <a:pt x="811" y="961"/>
                  </a:lnTo>
                  <a:lnTo>
                    <a:pt x="811" y="958"/>
                  </a:lnTo>
                  <a:lnTo>
                    <a:pt x="806" y="960"/>
                  </a:lnTo>
                  <a:lnTo>
                    <a:pt x="800" y="960"/>
                  </a:lnTo>
                  <a:lnTo>
                    <a:pt x="795" y="959"/>
                  </a:lnTo>
                  <a:lnTo>
                    <a:pt x="789" y="960"/>
                  </a:lnTo>
                  <a:lnTo>
                    <a:pt x="786" y="963"/>
                  </a:lnTo>
                  <a:lnTo>
                    <a:pt x="782" y="965"/>
                  </a:lnTo>
                  <a:lnTo>
                    <a:pt x="779" y="967"/>
                  </a:lnTo>
                  <a:lnTo>
                    <a:pt x="776" y="967"/>
                  </a:lnTo>
                  <a:lnTo>
                    <a:pt x="775" y="965"/>
                  </a:lnTo>
                  <a:lnTo>
                    <a:pt x="775" y="964"/>
                  </a:lnTo>
                  <a:lnTo>
                    <a:pt x="777" y="959"/>
                  </a:lnTo>
                  <a:lnTo>
                    <a:pt x="777" y="954"/>
                  </a:lnTo>
                  <a:lnTo>
                    <a:pt x="775" y="950"/>
                  </a:lnTo>
                  <a:lnTo>
                    <a:pt x="774" y="948"/>
                  </a:lnTo>
                  <a:lnTo>
                    <a:pt x="773" y="947"/>
                  </a:lnTo>
                  <a:lnTo>
                    <a:pt x="771" y="945"/>
                  </a:lnTo>
                  <a:lnTo>
                    <a:pt x="771" y="942"/>
                  </a:lnTo>
                  <a:lnTo>
                    <a:pt x="771" y="938"/>
                  </a:lnTo>
                  <a:lnTo>
                    <a:pt x="776" y="936"/>
                  </a:lnTo>
                  <a:lnTo>
                    <a:pt x="775" y="932"/>
                  </a:lnTo>
                  <a:lnTo>
                    <a:pt x="775" y="929"/>
                  </a:lnTo>
                  <a:lnTo>
                    <a:pt x="775" y="922"/>
                  </a:lnTo>
                  <a:lnTo>
                    <a:pt x="777" y="923"/>
                  </a:lnTo>
                  <a:lnTo>
                    <a:pt x="779" y="923"/>
                  </a:lnTo>
                  <a:lnTo>
                    <a:pt x="781" y="920"/>
                  </a:lnTo>
                  <a:lnTo>
                    <a:pt x="782" y="915"/>
                  </a:lnTo>
                  <a:lnTo>
                    <a:pt x="782" y="912"/>
                  </a:lnTo>
                  <a:lnTo>
                    <a:pt x="782" y="911"/>
                  </a:lnTo>
                  <a:lnTo>
                    <a:pt x="785" y="911"/>
                  </a:lnTo>
                  <a:lnTo>
                    <a:pt x="787" y="911"/>
                  </a:lnTo>
                  <a:lnTo>
                    <a:pt x="789" y="908"/>
                  </a:lnTo>
                  <a:lnTo>
                    <a:pt x="789" y="906"/>
                  </a:lnTo>
                  <a:lnTo>
                    <a:pt x="791" y="902"/>
                  </a:lnTo>
                  <a:lnTo>
                    <a:pt x="793" y="902"/>
                  </a:lnTo>
                  <a:lnTo>
                    <a:pt x="796" y="904"/>
                  </a:lnTo>
                  <a:lnTo>
                    <a:pt x="796" y="902"/>
                  </a:lnTo>
                  <a:lnTo>
                    <a:pt x="796" y="900"/>
                  </a:lnTo>
                  <a:lnTo>
                    <a:pt x="795" y="897"/>
                  </a:lnTo>
                  <a:lnTo>
                    <a:pt x="792" y="896"/>
                  </a:lnTo>
                  <a:lnTo>
                    <a:pt x="791" y="894"/>
                  </a:lnTo>
                  <a:lnTo>
                    <a:pt x="793" y="894"/>
                  </a:lnTo>
                  <a:lnTo>
                    <a:pt x="795" y="890"/>
                  </a:lnTo>
                  <a:lnTo>
                    <a:pt x="795" y="886"/>
                  </a:lnTo>
                  <a:lnTo>
                    <a:pt x="793" y="883"/>
                  </a:lnTo>
                  <a:lnTo>
                    <a:pt x="793" y="874"/>
                  </a:lnTo>
                  <a:lnTo>
                    <a:pt x="791" y="864"/>
                  </a:lnTo>
                  <a:lnTo>
                    <a:pt x="789" y="857"/>
                  </a:lnTo>
                  <a:lnTo>
                    <a:pt x="786" y="851"/>
                  </a:lnTo>
                  <a:lnTo>
                    <a:pt x="782" y="846"/>
                  </a:lnTo>
                  <a:lnTo>
                    <a:pt x="776" y="842"/>
                  </a:lnTo>
                  <a:lnTo>
                    <a:pt x="777" y="845"/>
                  </a:lnTo>
                  <a:lnTo>
                    <a:pt x="775" y="846"/>
                  </a:lnTo>
                  <a:lnTo>
                    <a:pt x="771" y="841"/>
                  </a:lnTo>
                  <a:lnTo>
                    <a:pt x="768" y="833"/>
                  </a:lnTo>
                  <a:lnTo>
                    <a:pt x="766" y="829"/>
                  </a:lnTo>
                  <a:lnTo>
                    <a:pt x="764" y="825"/>
                  </a:lnTo>
                  <a:lnTo>
                    <a:pt x="754" y="819"/>
                  </a:lnTo>
                  <a:lnTo>
                    <a:pt x="750" y="816"/>
                  </a:lnTo>
                  <a:lnTo>
                    <a:pt x="747" y="814"/>
                  </a:lnTo>
                  <a:lnTo>
                    <a:pt x="746" y="819"/>
                  </a:lnTo>
                  <a:lnTo>
                    <a:pt x="744" y="821"/>
                  </a:lnTo>
                  <a:lnTo>
                    <a:pt x="744" y="824"/>
                  </a:lnTo>
                  <a:lnTo>
                    <a:pt x="743" y="825"/>
                  </a:lnTo>
                  <a:lnTo>
                    <a:pt x="742" y="825"/>
                  </a:lnTo>
                  <a:lnTo>
                    <a:pt x="742" y="824"/>
                  </a:lnTo>
                  <a:lnTo>
                    <a:pt x="739" y="821"/>
                  </a:lnTo>
                  <a:lnTo>
                    <a:pt x="738" y="820"/>
                  </a:lnTo>
                  <a:lnTo>
                    <a:pt x="736" y="820"/>
                  </a:lnTo>
                  <a:lnTo>
                    <a:pt x="733" y="820"/>
                  </a:lnTo>
                  <a:lnTo>
                    <a:pt x="731" y="820"/>
                  </a:lnTo>
                  <a:lnTo>
                    <a:pt x="726" y="817"/>
                  </a:lnTo>
                  <a:lnTo>
                    <a:pt x="721" y="816"/>
                  </a:lnTo>
                  <a:lnTo>
                    <a:pt x="720" y="816"/>
                  </a:lnTo>
                  <a:lnTo>
                    <a:pt x="717" y="817"/>
                  </a:lnTo>
                  <a:lnTo>
                    <a:pt x="716" y="819"/>
                  </a:lnTo>
                  <a:lnTo>
                    <a:pt x="714" y="819"/>
                  </a:lnTo>
                  <a:lnTo>
                    <a:pt x="712" y="817"/>
                  </a:lnTo>
                  <a:lnTo>
                    <a:pt x="712" y="816"/>
                  </a:lnTo>
                  <a:lnTo>
                    <a:pt x="714" y="813"/>
                  </a:lnTo>
                  <a:lnTo>
                    <a:pt x="716" y="810"/>
                  </a:lnTo>
                  <a:lnTo>
                    <a:pt x="717" y="806"/>
                  </a:lnTo>
                  <a:lnTo>
                    <a:pt x="717" y="804"/>
                  </a:lnTo>
                  <a:lnTo>
                    <a:pt x="715" y="802"/>
                  </a:lnTo>
                  <a:lnTo>
                    <a:pt x="714" y="799"/>
                  </a:lnTo>
                  <a:lnTo>
                    <a:pt x="714" y="795"/>
                  </a:lnTo>
                  <a:lnTo>
                    <a:pt x="710" y="798"/>
                  </a:lnTo>
                  <a:lnTo>
                    <a:pt x="707" y="799"/>
                  </a:lnTo>
                  <a:lnTo>
                    <a:pt x="705" y="799"/>
                  </a:lnTo>
                  <a:lnTo>
                    <a:pt x="702" y="798"/>
                  </a:lnTo>
                  <a:lnTo>
                    <a:pt x="704" y="795"/>
                  </a:lnTo>
                  <a:lnTo>
                    <a:pt x="706" y="793"/>
                  </a:lnTo>
                  <a:lnTo>
                    <a:pt x="709" y="792"/>
                  </a:lnTo>
                  <a:lnTo>
                    <a:pt x="704" y="788"/>
                  </a:lnTo>
                  <a:lnTo>
                    <a:pt x="700" y="784"/>
                  </a:lnTo>
                  <a:lnTo>
                    <a:pt x="696" y="784"/>
                  </a:lnTo>
                  <a:lnTo>
                    <a:pt x="693" y="786"/>
                  </a:lnTo>
                  <a:lnTo>
                    <a:pt x="689" y="788"/>
                  </a:lnTo>
                  <a:lnTo>
                    <a:pt x="686" y="789"/>
                  </a:lnTo>
                  <a:lnTo>
                    <a:pt x="685" y="793"/>
                  </a:lnTo>
                  <a:lnTo>
                    <a:pt x="683" y="797"/>
                  </a:lnTo>
                  <a:lnTo>
                    <a:pt x="679" y="797"/>
                  </a:lnTo>
                  <a:lnTo>
                    <a:pt x="677" y="795"/>
                  </a:lnTo>
                  <a:lnTo>
                    <a:pt x="674" y="794"/>
                  </a:lnTo>
                  <a:lnTo>
                    <a:pt x="672" y="793"/>
                  </a:lnTo>
                  <a:lnTo>
                    <a:pt x="671" y="793"/>
                  </a:lnTo>
                  <a:lnTo>
                    <a:pt x="671" y="794"/>
                  </a:lnTo>
                  <a:lnTo>
                    <a:pt x="667" y="792"/>
                  </a:lnTo>
                  <a:lnTo>
                    <a:pt x="662" y="789"/>
                  </a:lnTo>
                  <a:lnTo>
                    <a:pt x="659" y="789"/>
                  </a:lnTo>
                  <a:lnTo>
                    <a:pt x="657" y="789"/>
                  </a:lnTo>
                  <a:lnTo>
                    <a:pt x="653" y="793"/>
                  </a:lnTo>
                  <a:lnTo>
                    <a:pt x="647" y="798"/>
                  </a:lnTo>
                  <a:lnTo>
                    <a:pt x="643" y="804"/>
                  </a:lnTo>
                  <a:lnTo>
                    <a:pt x="640" y="806"/>
                  </a:lnTo>
                  <a:lnTo>
                    <a:pt x="637" y="808"/>
                  </a:lnTo>
                  <a:lnTo>
                    <a:pt x="630" y="809"/>
                  </a:lnTo>
                  <a:lnTo>
                    <a:pt x="626" y="810"/>
                  </a:lnTo>
                  <a:lnTo>
                    <a:pt x="625" y="813"/>
                  </a:lnTo>
                  <a:lnTo>
                    <a:pt x="624" y="815"/>
                  </a:lnTo>
                  <a:lnTo>
                    <a:pt x="623" y="819"/>
                  </a:lnTo>
                  <a:lnTo>
                    <a:pt x="620" y="821"/>
                  </a:lnTo>
                  <a:lnTo>
                    <a:pt x="618" y="822"/>
                  </a:lnTo>
                  <a:lnTo>
                    <a:pt x="615" y="825"/>
                  </a:lnTo>
                  <a:lnTo>
                    <a:pt x="613" y="827"/>
                  </a:lnTo>
                  <a:lnTo>
                    <a:pt x="611" y="835"/>
                  </a:lnTo>
                  <a:lnTo>
                    <a:pt x="609" y="836"/>
                  </a:lnTo>
                  <a:lnTo>
                    <a:pt x="604" y="837"/>
                  </a:lnTo>
                  <a:lnTo>
                    <a:pt x="598" y="840"/>
                  </a:lnTo>
                  <a:lnTo>
                    <a:pt x="594" y="840"/>
                  </a:lnTo>
                  <a:lnTo>
                    <a:pt x="591" y="840"/>
                  </a:lnTo>
                  <a:lnTo>
                    <a:pt x="588" y="840"/>
                  </a:lnTo>
                  <a:lnTo>
                    <a:pt x="586" y="840"/>
                  </a:lnTo>
                  <a:lnTo>
                    <a:pt x="584" y="838"/>
                  </a:lnTo>
                  <a:lnTo>
                    <a:pt x="584" y="835"/>
                  </a:lnTo>
                  <a:lnTo>
                    <a:pt x="583" y="833"/>
                  </a:lnTo>
                  <a:lnTo>
                    <a:pt x="581" y="831"/>
                  </a:lnTo>
                  <a:lnTo>
                    <a:pt x="577" y="830"/>
                  </a:lnTo>
                  <a:lnTo>
                    <a:pt x="573" y="830"/>
                  </a:lnTo>
                  <a:lnTo>
                    <a:pt x="571" y="831"/>
                  </a:lnTo>
                  <a:lnTo>
                    <a:pt x="570" y="832"/>
                  </a:lnTo>
                  <a:lnTo>
                    <a:pt x="567" y="833"/>
                  </a:lnTo>
                  <a:lnTo>
                    <a:pt x="564" y="831"/>
                  </a:lnTo>
                  <a:lnTo>
                    <a:pt x="559" y="831"/>
                  </a:lnTo>
                  <a:lnTo>
                    <a:pt x="554" y="831"/>
                  </a:lnTo>
                  <a:lnTo>
                    <a:pt x="549" y="830"/>
                  </a:lnTo>
                  <a:lnTo>
                    <a:pt x="546" y="827"/>
                  </a:lnTo>
                  <a:lnTo>
                    <a:pt x="546" y="826"/>
                  </a:lnTo>
                  <a:lnTo>
                    <a:pt x="546" y="824"/>
                  </a:lnTo>
                  <a:lnTo>
                    <a:pt x="544" y="822"/>
                  </a:lnTo>
                  <a:lnTo>
                    <a:pt x="536" y="822"/>
                  </a:lnTo>
                  <a:lnTo>
                    <a:pt x="529" y="825"/>
                  </a:lnTo>
                  <a:lnTo>
                    <a:pt x="525" y="829"/>
                  </a:lnTo>
                  <a:lnTo>
                    <a:pt x="523" y="832"/>
                  </a:lnTo>
                  <a:lnTo>
                    <a:pt x="518" y="842"/>
                  </a:lnTo>
                  <a:lnTo>
                    <a:pt x="514" y="848"/>
                  </a:lnTo>
                  <a:lnTo>
                    <a:pt x="512" y="851"/>
                  </a:lnTo>
                  <a:lnTo>
                    <a:pt x="511" y="854"/>
                  </a:lnTo>
                  <a:lnTo>
                    <a:pt x="508" y="852"/>
                  </a:lnTo>
                  <a:lnTo>
                    <a:pt x="506" y="849"/>
                  </a:lnTo>
                  <a:lnTo>
                    <a:pt x="506" y="843"/>
                  </a:lnTo>
                  <a:lnTo>
                    <a:pt x="506" y="838"/>
                  </a:lnTo>
                  <a:lnTo>
                    <a:pt x="506" y="835"/>
                  </a:lnTo>
                  <a:lnTo>
                    <a:pt x="504" y="831"/>
                  </a:lnTo>
                  <a:lnTo>
                    <a:pt x="502" y="830"/>
                  </a:lnTo>
                  <a:lnTo>
                    <a:pt x="497" y="830"/>
                  </a:lnTo>
                  <a:lnTo>
                    <a:pt x="491" y="831"/>
                  </a:lnTo>
                  <a:lnTo>
                    <a:pt x="486" y="832"/>
                  </a:lnTo>
                  <a:lnTo>
                    <a:pt x="486" y="836"/>
                  </a:lnTo>
                  <a:lnTo>
                    <a:pt x="481" y="835"/>
                  </a:lnTo>
                  <a:lnTo>
                    <a:pt x="476" y="836"/>
                  </a:lnTo>
                  <a:lnTo>
                    <a:pt x="465" y="836"/>
                  </a:lnTo>
                  <a:lnTo>
                    <a:pt x="457" y="835"/>
                  </a:lnTo>
                  <a:lnTo>
                    <a:pt x="449" y="831"/>
                  </a:lnTo>
                  <a:lnTo>
                    <a:pt x="445" y="830"/>
                  </a:lnTo>
                  <a:lnTo>
                    <a:pt x="444" y="829"/>
                  </a:lnTo>
                  <a:lnTo>
                    <a:pt x="442" y="829"/>
                  </a:lnTo>
                  <a:lnTo>
                    <a:pt x="441" y="830"/>
                  </a:lnTo>
                  <a:lnTo>
                    <a:pt x="441" y="831"/>
                  </a:lnTo>
                  <a:lnTo>
                    <a:pt x="441" y="832"/>
                  </a:lnTo>
                  <a:lnTo>
                    <a:pt x="439" y="833"/>
                  </a:lnTo>
                  <a:lnTo>
                    <a:pt x="436" y="833"/>
                  </a:lnTo>
                  <a:lnTo>
                    <a:pt x="433" y="831"/>
                  </a:lnTo>
                  <a:lnTo>
                    <a:pt x="431" y="829"/>
                  </a:lnTo>
                  <a:lnTo>
                    <a:pt x="429" y="826"/>
                  </a:lnTo>
                  <a:lnTo>
                    <a:pt x="428" y="829"/>
                  </a:lnTo>
                  <a:lnTo>
                    <a:pt x="428" y="831"/>
                  </a:lnTo>
                  <a:lnTo>
                    <a:pt x="427" y="835"/>
                  </a:lnTo>
                  <a:lnTo>
                    <a:pt x="426" y="835"/>
                  </a:lnTo>
                  <a:lnTo>
                    <a:pt x="426" y="833"/>
                  </a:lnTo>
                  <a:lnTo>
                    <a:pt x="420" y="827"/>
                  </a:lnTo>
                  <a:lnTo>
                    <a:pt x="416" y="824"/>
                  </a:lnTo>
                  <a:lnTo>
                    <a:pt x="415" y="820"/>
                  </a:lnTo>
                  <a:lnTo>
                    <a:pt x="413" y="821"/>
                  </a:lnTo>
                  <a:lnTo>
                    <a:pt x="411" y="822"/>
                  </a:lnTo>
                  <a:lnTo>
                    <a:pt x="406" y="822"/>
                  </a:lnTo>
                  <a:lnTo>
                    <a:pt x="400" y="821"/>
                  </a:lnTo>
                  <a:lnTo>
                    <a:pt x="399" y="820"/>
                  </a:lnTo>
                  <a:lnTo>
                    <a:pt x="397" y="819"/>
                  </a:lnTo>
                  <a:lnTo>
                    <a:pt x="397" y="815"/>
                  </a:lnTo>
                  <a:lnTo>
                    <a:pt x="399" y="813"/>
                  </a:lnTo>
                  <a:lnTo>
                    <a:pt x="397" y="811"/>
                  </a:lnTo>
                  <a:lnTo>
                    <a:pt x="395" y="811"/>
                  </a:lnTo>
                  <a:lnTo>
                    <a:pt x="393" y="811"/>
                  </a:lnTo>
                  <a:lnTo>
                    <a:pt x="390" y="813"/>
                  </a:lnTo>
                  <a:lnTo>
                    <a:pt x="388" y="811"/>
                  </a:lnTo>
                  <a:lnTo>
                    <a:pt x="383" y="809"/>
                  </a:lnTo>
                  <a:lnTo>
                    <a:pt x="378" y="806"/>
                  </a:lnTo>
                  <a:lnTo>
                    <a:pt x="373" y="804"/>
                  </a:lnTo>
                  <a:lnTo>
                    <a:pt x="369" y="799"/>
                  </a:lnTo>
                  <a:lnTo>
                    <a:pt x="367" y="794"/>
                  </a:lnTo>
                  <a:lnTo>
                    <a:pt x="363" y="790"/>
                  </a:lnTo>
                  <a:lnTo>
                    <a:pt x="358" y="789"/>
                  </a:lnTo>
                  <a:lnTo>
                    <a:pt x="356" y="790"/>
                  </a:lnTo>
                  <a:lnTo>
                    <a:pt x="353" y="792"/>
                  </a:lnTo>
                  <a:lnTo>
                    <a:pt x="352" y="793"/>
                  </a:lnTo>
                  <a:lnTo>
                    <a:pt x="350" y="792"/>
                  </a:lnTo>
                  <a:lnTo>
                    <a:pt x="346" y="789"/>
                  </a:lnTo>
                  <a:lnTo>
                    <a:pt x="342" y="784"/>
                  </a:lnTo>
                  <a:lnTo>
                    <a:pt x="341" y="782"/>
                  </a:lnTo>
                  <a:lnTo>
                    <a:pt x="337" y="779"/>
                  </a:lnTo>
                  <a:lnTo>
                    <a:pt x="332" y="777"/>
                  </a:lnTo>
                  <a:lnTo>
                    <a:pt x="324" y="773"/>
                  </a:lnTo>
                  <a:lnTo>
                    <a:pt x="311" y="765"/>
                  </a:lnTo>
                  <a:lnTo>
                    <a:pt x="300" y="755"/>
                  </a:lnTo>
                  <a:lnTo>
                    <a:pt x="295" y="754"/>
                  </a:lnTo>
                  <a:lnTo>
                    <a:pt x="289" y="752"/>
                  </a:lnTo>
                  <a:lnTo>
                    <a:pt x="287" y="752"/>
                  </a:lnTo>
                  <a:lnTo>
                    <a:pt x="286" y="754"/>
                  </a:lnTo>
                  <a:lnTo>
                    <a:pt x="284" y="755"/>
                  </a:lnTo>
                  <a:lnTo>
                    <a:pt x="282" y="754"/>
                  </a:lnTo>
                  <a:lnTo>
                    <a:pt x="282" y="760"/>
                  </a:lnTo>
                  <a:lnTo>
                    <a:pt x="279" y="762"/>
                  </a:lnTo>
                  <a:lnTo>
                    <a:pt x="276" y="762"/>
                  </a:lnTo>
                  <a:lnTo>
                    <a:pt x="272" y="758"/>
                  </a:lnTo>
                  <a:lnTo>
                    <a:pt x="263" y="752"/>
                  </a:lnTo>
                  <a:lnTo>
                    <a:pt x="252" y="749"/>
                  </a:lnTo>
                  <a:lnTo>
                    <a:pt x="250" y="747"/>
                  </a:lnTo>
                  <a:lnTo>
                    <a:pt x="246" y="746"/>
                  </a:lnTo>
                  <a:lnTo>
                    <a:pt x="246" y="745"/>
                  </a:lnTo>
                  <a:lnTo>
                    <a:pt x="246" y="743"/>
                  </a:lnTo>
                  <a:lnTo>
                    <a:pt x="246" y="741"/>
                  </a:lnTo>
                  <a:lnTo>
                    <a:pt x="245" y="740"/>
                  </a:lnTo>
                  <a:lnTo>
                    <a:pt x="241" y="738"/>
                  </a:lnTo>
                  <a:lnTo>
                    <a:pt x="238" y="736"/>
                  </a:lnTo>
                  <a:lnTo>
                    <a:pt x="235" y="734"/>
                  </a:lnTo>
                  <a:lnTo>
                    <a:pt x="233" y="734"/>
                  </a:lnTo>
                  <a:lnTo>
                    <a:pt x="230" y="734"/>
                  </a:lnTo>
                  <a:lnTo>
                    <a:pt x="227" y="734"/>
                  </a:lnTo>
                  <a:lnTo>
                    <a:pt x="223" y="731"/>
                  </a:lnTo>
                  <a:lnTo>
                    <a:pt x="219" y="728"/>
                  </a:lnTo>
                  <a:lnTo>
                    <a:pt x="213" y="720"/>
                  </a:lnTo>
                  <a:lnTo>
                    <a:pt x="212" y="719"/>
                  </a:lnTo>
                  <a:lnTo>
                    <a:pt x="209" y="719"/>
                  </a:lnTo>
                  <a:lnTo>
                    <a:pt x="207" y="722"/>
                  </a:lnTo>
                  <a:lnTo>
                    <a:pt x="203" y="723"/>
                  </a:lnTo>
                  <a:lnTo>
                    <a:pt x="202" y="722"/>
                  </a:lnTo>
                  <a:lnTo>
                    <a:pt x="201" y="719"/>
                  </a:lnTo>
                  <a:lnTo>
                    <a:pt x="201" y="714"/>
                  </a:lnTo>
                  <a:lnTo>
                    <a:pt x="200" y="711"/>
                  </a:lnTo>
                  <a:lnTo>
                    <a:pt x="197" y="706"/>
                  </a:lnTo>
                  <a:lnTo>
                    <a:pt x="196" y="702"/>
                  </a:lnTo>
                  <a:lnTo>
                    <a:pt x="193" y="697"/>
                  </a:lnTo>
                  <a:lnTo>
                    <a:pt x="190" y="693"/>
                  </a:lnTo>
                  <a:lnTo>
                    <a:pt x="187" y="691"/>
                  </a:lnTo>
                  <a:lnTo>
                    <a:pt x="186" y="687"/>
                  </a:lnTo>
                  <a:lnTo>
                    <a:pt x="185" y="685"/>
                  </a:lnTo>
                  <a:lnTo>
                    <a:pt x="184" y="681"/>
                  </a:lnTo>
                  <a:lnTo>
                    <a:pt x="188" y="679"/>
                  </a:lnTo>
                  <a:lnTo>
                    <a:pt x="191" y="680"/>
                  </a:lnTo>
                  <a:lnTo>
                    <a:pt x="193" y="682"/>
                  </a:lnTo>
                  <a:lnTo>
                    <a:pt x="197" y="685"/>
                  </a:lnTo>
                  <a:lnTo>
                    <a:pt x="201" y="687"/>
                  </a:lnTo>
                  <a:lnTo>
                    <a:pt x="202" y="687"/>
                  </a:lnTo>
                  <a:lnTo>
                    <a:pt x="203" y="685"/>
                  </a:lnTo>
                  <a:lnTo>
                    <a:pt x="206" y="683"/>
                  </a:lnTo>
                  <a:lnTo>
                    <a:pt x="208" y="682"/>
                  </a:lnTo>
                  <a:lnTo>
                    <a:pt x="209" y="681"/>
                  </a:lnTo>
                  <a:lnTo>
                    <a:pt x="212" y="679"/>
                  </a:lnTo>
                  <a:lnTo>
                    <a:pt x="213" y="676"/>
                  </a:lnTo>
                  <a:lnTo>
                    <a:pt x="212" y="674"/>
                  </a:lnTo>
                  <a:lnTo>
                    <a:pt x="208" y="669"/>
                  </a:lnTo>
                  <a:lnTo>
                    <a:pt x="208" y="666"/>
                  </a:lnTo>
                  <a:lnTo>
                    <a:pt x="207" y="664"/>
                  </a:lnTo>
                  <a:lnTo>
                    <a:pt x="207" y="661"/>
                  </a:lnTo>
                  <a:lnTo>
                    <a:pt x="206" y="660"/>
                  </a:lnTo>
                  <a:lnTo>
                    <a:pt x="201" y="659"/>
                  </a:lnTo>
                  <a:lnTo>
                    <a:pt x="197" y="658"/>
                  </a:lnTo>
                  <a:lnTo>
                    <a:pt x="195" y="655"/>
                  </a:lnTo>
                  <a:lnTo>
                    <a:pt x="191" y="652"/>
                  </a:lnTo>
                  <a:lnTo>
                    <a:pt x="186" y="645"/>
                  </a:lnTo>
                  <a:lnTo>
                    <a:pt x="184" y="638"/>
                  </a:lnTo>
                  <a:lnTo>
                    <a:pt x="184" y="633"/>
                  </a:lnTo>
                  <a:lnTo>
                    <a:pt x="182" y="629"/>
                  </a:lnTo>
                  <a:lnTo>
                    <a:pt x="185" y="628"/>
                  </a:lnTo>
                  <a:lnTo>
                    <a:pt x="187" y="627"/>
                  </a:lnTo>
                  <a:lnTo>
                    <a:pt x="187" y="626"/>
                  </a:lnTo>
                  <a:lnTo>
                    <a:pt x="187" y="624"/>
                  </a:lnTo>
                  <a:lnTo>
                    <a:pt x="185" y="623"/>
                  </a:lnTo>
                  <a:lnTo>
                    <a:pt x="175" y="618"/>
                  </a:lnTo>
                  <a:lnTo>
                    <a:pt x="165" y="612"/>
                  </a:lnTo>
                  <a:lnTo>
                    <a:pt x="160" y="606"/>
                  </a:lnTo>
                  <a:lnTo>
                    <a:pt x="158" y="600"/>
                  </a:lnTo>
                  <a:lnTo>
                    <a:pt x="153" y="593"/>
                  </a:lnTo>
                  <a:lnTo>
                    <a:pt x="149" y="589"/>
                  </a:lnTo>
                  <a:lnTo>
                    <a:pt x="144" y="585"/>
                  </a:lnTo>
                  <a:lnTo>
                    <a:pt x="140" y="585"/>
                  </a:lnTo>
                  <a:lnTo>
                    <a:pt x="136" y="585"/>
                  </a:lnTo>
                  <a:lnTo>
                    <a:pt x="123" y="583"/>
                  </a:lnTo>
                  <a:lnTo>
                    <a:pt x="118" y="581"/>
                  </a:lnTo>
                  <a:lnTo>
                    <a:pt x="113" y="578"/>
                  </a:lnTo>
                  <a:lnTo>
                    <a:pt x="110" y="575"/>
                  </a:lnTo>
                  <a:lnTo>
                    <a:pt x="109" y="570"/>
                  </a:lnTo>
                  <a:lnTo>
                    <a:pt x="104" y="573"/>
                  </a:lnTo>
                  <a:lnTo>
                    <a:pt x="101" y="574"/>
                  </a:lnTo>
                  <a:lnTo>
                    <a:pt x="99" y="573"/>
                  </a:lnTo>
                  <a:lnTo>
                    <a:pt x="97" y="572"/>
                  </a:lnTo>
                  <a:lnTo>
                    <a:pt x="94" y="569"/>
                  </a:lnTo>
                  <a:lnTo>
                    <a:pt x="91" y="567"/>
                  </a:lnTo>
                  <a:lnTo>
                    <a:pt x="90" y="565"/>
                  </a:lnTo>
                  <a:lnTo>
                    <a:pt x="89" y="561"/>
                  </a:lnTo>
                  <a:lnTo>
                    <a:pt x="89" y="556"/>
                  </a:lnTo>
                  <a:lnTo>
                    <a:pt x="86" y="551"/>
                  </a:lnTo>
                  <a:lnTo>
                    <a:pt x="83" y="546"/>
                  </a:lnTo>
                  <a:lnTo>
                    <a:pt x="79" y="545"/>
                  </a:lnTo>
                  <a:lnTo>
                    <a:pt x="75" y="543"/>
                  </a:lnTo>
                  <a:lnTo>
                    <a:pt x="72" y="542"/>
                  </a:lnTo>
                  <a:lnTo>
                    <a:pt x="69" y="541"/>
                  </a:lnTo>
                  <a:lnTo>
                    <a:pt x="67" y="537"/>
                  </a:lnTo>
                  <a:lnTo>
                    <a:pt x="62" y="535"/>
                  </a:lnTo>
                  <a:lnTo>
                    <a:pt x="58" y="535"/>
                  </a:lnTo>
                  <a:lnTo>
                    <a:pt x="54" y="537"/>
                  </a:lnTo>
                  <a:lnTo>
                    <a:pt x="52" y="535"/>
                  </a:lnTo>
                  <a:lnTo>
                    <a:pt x="48" y="534"/>
                  </a:lnTo>
                  <a:lnTo>
                    <a:pt x="45" y="534"/>
                  </a:lnTo>
                  <a:lnTo>
                    <a:pt x="42" y="531"/>
                  </a:lnTo>
                  <a:lnTo>
                    <a:pt x="41" y="529"/>
                  </a:lnTo>
                  <a:lnTo>
                    <a:pt x="42" y="527"/>
                  </a:lnTo>
                  <a:lnTo>
                    <a:pt x="45" y="526"/>
                  </a:lnTo>
                  <a:lnTo>
                    <a:pt x="49" y="527"/>
                  </a:lnTo>
                  <a:lnTo>
                    <a:pt x="52" y="527"/>
                  </a:lnTo>
                  <a:lnTo>
                    <a:pt x="56" y="525"/>
                  </a:lnTo>
                  <a:lnTo>
                    <a:pt x="57" y="522"/>
                  </a:lnTo>
                  <a:lnTo>
                    <a:pt x="54" y="519"/>
                  </a:lnTo>
                  <a:lnTo>
                    <a:pt x="52" y="516"/>
                  </a:lnTo>
                  <a:lnTo>
                    <a:pt x="51" y="515"/>
                  </a:lnTo>
                  <a:lnTo>
                    <a:pt x="49" y="514"/>
                  </a:lnTo>
                  <a:lnTo>
                    <a:pt x="51" y="510"/>
                  </a:lnTo>
                  <a:lnTo>
                    <a:pt x="48" y="506"/>
                  </a:lnTo>
                  <a:lnTo>
                    <a:pt x="47" y="503"/>
                  </a:lnTo>
                  <a:lnTo>
                    <a:pt x="45" y="500"/>
                  </a:lnTo>
                  <a:lnTo>
                    <a:pt x="42" y="498"/>
                  </a:lnTo>
                  <a:lnTo>
                    <a:pt x="42" y="493"/>
                  </a:lnTo>
                  <a:lnTo>
                    <a:pt x="42" y="488"/>
                  </a:lnTo>
                  <a:lnTo>
                    <a:pt x="40" y="484"/>
                  </a:lnTo>
                  <a:lnTo>
                    <a:pt x="36" y="483"/>
                  </a:lnTo>
                  <a:lnTo>
                    <a:pt x="31" y="481"/>
                  </a:lnTo>
                  <a:lnTo>
                    <a:pt x="26" y="481"/>
                  </a:lnTo>
                  <a:lnTo>
                    <a:pt x="22" y="481"/>
                  </a:lnTo>
                  <a:lnTo>
                    <a:pt x="19" y="482"/>
                  </a:lnTo>
                  <a:lnTo>
                    <a:pt x="15" y="483"/>
                  </a:lnTo>
                  <a:lnTo>
                    <a:pt x="14" y="483"/>
                  </a:lnTo>
                  <a:lnTo>
                    <a:pt x="11" y="481"/>
                  </a:lnTo>
                  <a:lnTo>
                    <a:pt x="10" y="478"/>
                  </a:lnTo>
                  <a:lnTo>
                    <a:pt x="8" y="476"/>
                  </a:lnTo>
                  <a:lnTo>
                    <a:pt x="8" y="472"/>
                  </a:lnTo>
                  <a:lnTo>
                    <a:pt x="10" y="471"/>
                  </a:lnTo>
                  <a:lnTo>
                    <a:pt x="6" y="467"/>
                  </a:lnTo>
                  <a:lnTo>
                    <a:pt x="3" y="463"/>
                  </a:lnTo>
                  <a:lnTo>
                    <a:pt x="2" y="461"/>
                  </a:lnTo>
                  <a:lnTo>
                    <a:pt x="2" y="459"/>
                  </a:lnTo>
                  <a:lnTo>
                    <a:pt x="0" y="45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5" name="Freeform 1029">
              <a:extLst>
                <a:ext uri="{FF2B5EF4-FFF2-40B4-BE49-F238E27FC236}">
                  <a16:creationId xmlns:a16="http://schemas.microsoft.com/office/drawing/2014/main" id="{9C27AB96-5F98-47C1-87BA-C24C2D1296D6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8460" y="3826245"/>
              <a:ext cx="12647" cy="8432"/>
            </a:xfrm>
            <a:custGeom>
              <a:avLst/>
              <a:gdLst>
                <a:gd name="T0" fmla="*/ 2 w 13"/>
                <a:gd name="T1" fmla="*/ 1 h 8"/>
                <a:gd name="T2" fmla="*/ 7 w 13"/>
                <a:gd name="T3" fmla="*/ 0 h 8"/>
                <a:gd name="T4" fmla="*/ 9 w 13"/>
                <a:gd name="T5" fmla="*/ 0 h 8"/>
                <a:gd name="T6" fmla="*/ 10 w 13"/>
                <a:gd name="T7" fmla="*/ 1 h 8"/>
                <a:gd name="T8" fmla="*/ 8 w 13"/>
                <a:gd name="T9" fmla="*/ 3 h 8"/>
                <a:gd name="T10" fmla="*/ 10 w 13"/>
                <a:gd name="T11" fmla="*/ 2 h 8"/>
                <a:gd name="T12" fmla="*/ 13 w 13"/>
                <a:gd name="T13" fmla="*/ 2 h 8"/>
                <a:gd name="T14" fmla="*/ 13 w 13"/>
                <a:gd name="T15" fmla="*/ 5 h 8"/>
                <a:gd name="T16" fmla="*/ 12 w 13"/>
                <a:gd name="T17" fmla="*/ 5 h 8"/>
                <a:gd name="T18" fmla="*/ 10 w 13"/>
                <a:gd name="T19" fmla="*/ 6 h 8"/>
                <a:gd name="T20" fmla="*/ 12 w 13"/>
                <a:gd name="T21" fmla="*/ 8 h 8"/>
                <a:gd name="T22" fmla="*/ 8 w 13"/>
                <a:gd name="T23" fmla="*/ 7 h 8"/>
                <a:gd name="T24" fmla="*/ 3 w 13"/>
                <a:gd name="T25" fmla="*/ 6 h 8"/>
                <a:gd name="T26" fmla="*/ 0 w 13"/>
                <a:gd name="T27" fmla="*/ 3 h 8"/>
                <a:gd name="T28" fmla="*/ 0 w 13"/>
                <a:gd name="T29" fmla="*/ 2 h 8"/>
                <a:gd name="T30" fmla="*/ 2 w 13"/>
                <a:gd name="T31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" h="8">
                  <a:moveTo>
                    <a:pt x="2" y="1"/>
                  </a:moveTo>
                  <a:lnTo>
                    <a:pt x="7" y="0"/>
                  </a:lnTo>
                  <a:lnTo>
                    <a:pt x="9" y="0"/>
                  </a:lnTo>
                  <a:lnTo>
                    <a:pt x="10" y="1"/>
                  </a:lnTo>
                  <a:lnTo>
                    <a:pt x="8" y="3"/>
                  </a:lnTo>
                  <a:lnTo>
                    <a:pt x="10" y="2"/>
                  </a:lnTo>
                  <a:lnTo>
                    <a:pt x="13" y="2"/>
                  </a:lnTo>
                  <a:lnTo>
                    <a:pt x="13" y="5"/>
                  </a:lnTo>
                  <a:lnTo>
                    <a:pt x="12" y="5"/>
                  </a:lnTo>
                  <a:lnTo>
                    <a:pt x="10" y="6"/>
                  </a:lnTo>
                  <a:lnTo>
                    <a:pt x="12" y="8"/>
                  </a:lnTo>
                  <a:lnTo>
                    <a:pt x="8" y="7"/>
                  </a:lnTo>
                  <a:lnTo>
                    <a:pt x="3" y="6"/>
                  </a:lnTo>
                  <a:lnTo>
                    <a:pt x="0" y="3"/>
                  </a:lnTo>
                  <a:lnTo>
                    <a:pt x="0" y="2"/>
                  </a:lnTo>
                  <a:lnTo>
                    <a:pt x="2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6" name="Freeform 1030">
              <a:extLst>
                <a:ext uri="{FF2B5EF4-FFF2-40B4-BE49-F238E27FC236}">
                  <a16:creationId xmlns:a16="http://schemas.microsoft.com/office/drawing/2014/main" id="{74432D67-E60F-4B71-9CBD-346D235702D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6352" y="3832569"/>
              <a:ext cx="6324" cy="4216"/>
            </a:xfrm>
            <a:custGeom>
              <a:avLst/>
              <a:gdLst>
                <a:gd name="T0" fmla="*/ 0 w 6"/>
                <a:gd name="T1" fmla="*/ 5 h 5"/>
                <a:gd name="T2" fmla="*/ 1 w 6"/>
                <a:gd name="T3" fmla="*/ 2 h 5"/>
                <a:gd name="T4" fmla="*/ 2 w 6"/>
                <a:gd name="T5" fmla="*/ 1 h 5"/>
                <a:gd name="T6" fmla="*/ 6 w 6"/>
                <a:gd name="T7" fmla="*/ 0 h 5"/>
                <a:gd name="T8" fmla="*/ 4 w 6"/>
                <a:gd name="T9" fmla="*/ 4 h 5"/>
                <a:gd name="T10" fmla="*/ 0 w 6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5">
                  <a:moveTo>
                    <a:pt x="0" y="5"/>
                  </a:moveTo>
                  <a:lnTo>
                    <a:pt x="1" y="2"/>
                  </a:lnTo>
                  <a:lnTo>
                    <a:pt x="2" y="1"/>
                  </a:lnTo>
                  <a:lnTo>
                    <a:pt x="6" y="0"/>
                  </a:lnTo>
                  <a:lnTo>
                    <a:pt x="4" y="4"/>
                  </a:lnTo>
                  <a:lnTo>
                    <a:pt x="0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7" name="Freeform 1031">
              <a:extLst>
                <a:ext uri="{FF2B5EF4-FFF2-40B4-BE49-F238E27FC236}">
                  <a16:creationId xmlns:a16="http://schemas.microsoft.com/office/drawing/2014/main" id="{6F423D61-F0A2-4408-9B9F-78557A47A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96892" y="3834676"/>
              <a:ext cx="2109" cy="2109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2 h 3"/>
                <a:gd name="T4" fmla="*/ 2 w 2"/>
                <a:gd name="T5" fmla="*/ 3 h 3"/>
                <a:gd name="T6" fmla="*/ 0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0" y="2"/>
                  </a:ln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8" name="Freeform 1032">
              <a:extLst>
                <a:ext uri="{FF2B5EF4-FFF2-40B4-BE49-F238E27FC236}">
                  <a16:creationId xmlns:a16="http://schemas.microsoft.com/office/drawing/2014/main" id="{05401E38-141A-4FFC-8A34-7045D098D1C3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7920" y="3836785"/>
              <a:ext cx="0" cy="4216"/>
            </a:xfrm>
            <a:custGeom>
              <a:avLst/>
              <a:gdLst>
                <a:gd name="T0" fmla="*/ 0 w 2"/>
                <a:gd name="T1" fmla="*/ 1 h 3"/>
                <a:gd name="T2" fmla="*/ 2 w 2"/>
                <a:gd name="T3" fmla="*/ 1 h 3"/>
                <a:gd name="T4" fmla="*/ 2 w 2"/>
                <a:gd name="T5" fmla="*/ 1 h 3"/>
                <a:gd name="T6" fmla="*/ 2 w 2"/>
                <a:gd name="T7" fmla="*/ 0 h 3"/>
                <a:gd name="T8" fmla="*/ 2 w 2"/>
                <a:gd name="T9" fmla="*/ 3 h 3"/>
                <a:gd name="T10" fmla="*/ 0 w 2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3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9" name="Freeform 1380">
              <a:extLst>
                <a:ext uri="{FF2B5EF4-FFF2-40B4-BE49-F238E27FC236}">
                  <a16:creationId xmlns:a16="http://schemas.microsoft.com/office/drawing/2014/main" id="{6FCD3952-26FE-46BD-85C7-6A7246E24F4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9250" y="3961150"/>
              <a:ext cx="147553" cy="212898"/>
            </a:xfrm>
            <a:custGeom>
              <a:avLst/>
              <a:gdLst>
                <a:gd name="T0" fmla="*/ 3 w 140"/>
                <a:gd name="T1" fmla="*/ 88 h 200"/>
                <a:gd name="T2" fmla="*/ 12 w 140"/>
                <a:gd name="T3" fmla="*/ 114 h 200"/>
                <a:gd name="T4" fmla="*/ 18 w 140"/>
                <a:gd name="T5" fmla="*/ 126 h 200"/>
                <a:gd name="T6" fmla="*/ 22 w 140"/>
                <a:gd name="T7" fmla="*/ 130 h 200"/>
                <a:gd name="T8" fmla="*/ 30 w 140"/>
                <a:gd name="T9" fmla="*/ 136 h 200"/>
                <a:gd name="T10" fmla="*/ 29 w 140"/>
                <a:gd name="T11" fmla="*/ 125 h 200"/>
                <a:gd name="T12" fmla="*/ 43 w 140"/>
                <a:gd name="T13" fmla="*/ 133 h 200"/>
                <a:gd name="T14" fmla="*/ 33 w 140"/>
                <a:gd name="T15" fmla="*/ 146 h 200"/>
                <a:gd name="T16" fmla="*/ 37 w 140"/>
                <a:gd name="T17" fmla="*/ 157 h 200"/>
                <a:gd name="T18" fmla="*/ 45 w 140"/>
                <a:gd name="T19" fmla="*/ 160 h 200"/>
                <a:gd name="T20" fmla="*/ 53 w 140"/>
                <a:gd name="T21" fmla="*/ 165 h 200"/>
                <a:gd name="T22" fmla="*/ 61 w 140"/>
                <a:gd name="T23" fmla="*/ 156 h 200"/>
                <a:gd name="T24" fmla="*/ 67 w 140"/>
                <a:gd name="T25" fmla="*/ 153 h 200"/>
                <a:gd name="T26" fmla="*/ 86 w 140"/>
                <a:gd name="T27" fmla="*/ 168 h 200"/>
                <a:gd name="T28" fmla="*/ 96 w 140"/>
                <a:gd name="T29" fmla="*/ 179 h 200"/>
                <a:gd name="T30" fmla="*/ 93 w 140"/>
                <a:gd name="T31" fmla="*/ 168 h 200"/>
                <a:gd name="T32" fmla="*/ 89 w 140"/>
                <a:gd name="T33" fmla="*/ 161 h 200"/>
                <a:gd name="T34" fmla="*/ 94 w 140"/>
                <a:gd name="T35" fmla="*/ 157 h 200"/>
                <a:gd name="T36" fmla="*/ 108 w 140"/>
                <a:gd name="T37" fmla="*/ 171 h 200"/>
                <a:gd name="T38" fmla="*/ 114 w 140"/>
                <a:gd name="T39" fmla="*/ 182 h 200"/>
                <a:gd name="T40" fmla="*/ 126 w 140"/>
                <a:gd name="T41" fmla="*/ 189 h 200"/>
                <a:gd name="T42" fmla="*/ 136 w 140"/>
                <a:gd name="T43" fmla="*/ 187 h 200"/>
                <a:gd name="T44" fmla="*/ 133 w 140"/>
                <a:gd name="T45" fmla="*/ 195 h 200"/>
                <a:gd name="T46" fmla="*/ 139 w 140"/>
                <a:gd name="T47" fmla="*/ 199 h 200"/>
                <a:gd name="T48" fmla="*/ 137 w 140"/>
                <a:gd name="T49" fmla="*/ 183 h 200"/>
                <a:gd name="T50" fmla="*/ 128 w 140"/>
                <a:gd name="T51" fmla="*/ 178 h 200"/>
                <a:gd name="T52" fmla="*/ 119 w 140"/>
                <a:gd name="T53" fmla="*/ 166 h 200"/>
                <a:gd name="T54" fmla="*/ 131 w 140"/>
                <a:gd name="T55" fmla="*/ 162 h 200"/>
                <a:gd name="T56" fmla="*/ 118 w 140"/>
                <a:gd name="T57" fmla="*/ 155 h 200"/>
                <a:gd name="T58" fmla="*/ 110 w 140"/>
                <a:gd name="T59" fmla="*/ 152 h 200"/>
                <a:gd name="T60" fmla="*/ 107 w 140"/>
                <a:gd name="T61" fmla="*/ 161 h 200"/>
                <a:gd name="T62" fmla="*/ 97 w 140"/>
                <a:gd name="T63" fmla="*/ 144 h 200"/>
                <a:gd name="T64" fmla="*/ 82 w 140"/>
                <a:gd name="T65" fmla="*/ 145 h 200"/>
                <a:gd name="T66" fmla="*/ 80 w 140"/>
                <a:gd name="T67" fmla="*/ 150 h 200"/>
                <a:gd name="T68" fmla="*/ 75 w 140"/>
                <a:gd name="T69" fmla="*/ 153 h 200"/>
                <a:gd name="T70" fmla="*/ 65 w 140"/>
                <a:gd name="T71" fmla="*/ 145 h 200"/>
                <a:gd name="T72" fmla="*/ 64 w 140"/>
                <a:gd name="T73" fmla="*/ 129 h 200"/>
                <a:gd name="T74" fmla="*/ 53 w 140"/>
                <a:gd name="T75" fmla="*/ 103 h 200"/>
                <a:gd name="T76" fmla="*/ 54 w 140"/>
                <a:gd name="T77" fmla="*/ 88 h 200"/>
                <a:gd name="T78" fmla="*/ 67 w 140"/>
                <a:gd name="T79" fmla="*/ 77 h 200"/>
                <a:gd name="T80" fmla="*/ 70 w 140"/>
                <a:gd name="T81" fmla="*/ 70 h 200"/>
                <a:gd name="T82" fmla="*/ 72 w 140"/>
                <a:gd name="T83" fmla="*/ 49 h 200"/>
                <a:gd name="T84" fmla="*/ 69 w 140"/>
                <a:gd name="T85" fmla="*/ 40 h 200"/>
                <a:gd name="T86" fmla="*/ 60 w 140"/>
                <a:gd name="T87" fmla="*/ 22 h 200"/>
                <a:gd name="T88" fmla="*/ 59 w 140"/>
                <a:gd name="T89" fmla="*/ 5 h 200"/>
                <a:gd name="T90" fmla="*/ 54 w 140"/>
                <a:gd name="T91" fmla="*/ 11 h 200"/>
                <a:gd name="T92" fmla="*/ 44 w 140"/>
                <a:gd name="T93" fmla="*/ 11 h 200"/>
                <a:gd name="T94" fmla="*/ 28 w 140"/>
                <a:gd name="T95" fmla="*/ 0 h 200"/>
                <a:gd name="T96" fmla="*/ 17 w 140"/>
                <a:gd name="T97" fmla="*/ 0 h 200"/>
                <a:gd name="T98" fmla="*/ 13 w 140"/>
                <a:gd name="T99" fmla="*/ 4 h 200"/>
                <a:gd name="T100" fmla="*/ 12 w 140"/>
                <a:gd name="T101" fmla="*/ 18 h 200"/>
                <a:gd name="T102" fmla="*/ 14 w 140"/>
                <a:gd name="T103" fmla="*/ 49 h 200"/>
                <a:gd name="T104" fmla="*/ 18 w 140"/>
                <a:gd name="T105" fmla="*/ 81 h 200"/>
                <a:gd name="T106" fmla="*/ 11 w 140"/>
                <a:gd name="T107" fmla="*/ 82 h 200"/>
                <a:gd name="T108" fmla="*/ 1 w 140"/>
                <a:gd name="T109" fmla="*/ 75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0" h="200">
                  <a:moveTo>
                    <a:pt x="1" y="82"/>
                  </a:moveTo>
                  <a:lnTo>
                    <a:pt x="1" y="85"/>
                  </a:lnTo>
                  <a:lnTo>
                    <a:pt x="2" y="87"/>
                  </a:lnTo>
                  <a:lnTo>
                    <a:pt x="3" y="88"/>
                  </a:lnTo>
                  <a:lnTo>
                    <a:pt x="5" y="91"/>
                  </a:lnTo>
                  <a:lnTo>
                    <a:pt x="6" y="99"/>
                  </a:lnTo>
                  <a:lnTo>
                    <a:pt x="8" y="107"/>
                  </a:lnTo>
                  <a:lnTo>
                    <a:pt x="12" y="114"/>
                  </a:lnTo>
                  <a:lnTo>
                    <a:pt x="13" y="120"/>
                  </a:lnTo>
                  <a:lnTo>
                    <a:pt x="14" y="123"/>
                  </a:lnTo>
                  <a:lnTo>
                    <a:pt x="17" y="125"/>
                  </a:lnTo>
                  <a:lnTo>
                    <a:pt x="18" y="126"/>
                  </a:lnTo>
                  <a:lnTo>
                    <a:pt x="18" y="125"/>
                  </a:lnTo>
                  <a:lnTo>
                    <a:pt x="18" y="124"/>
                  </a:lnTo>
                  <a:lnTo>
                    <a:pt x="21" y="126"/>
                  </a:lnTo>
                  <a:lnTo>
                    <a:pt x="22" y="130"/>
                  </a:lnTo>
                  <a:lnTo>
                    <a:pt x="23" y="135"/>
                  </a:lnTo>
                  <a:lnTo>
                    <a:pt x="27" y="138"/>
                  </a:lnTo>
                  <a:lnTo>
                    <a:pt x="29" y="138"/>
                  </a:lnTo>
                  <a:lnTo>
                    <a:pt x="30" y="136"/>
                  </a:lnTo>
                  <a:lnTo>
                    <a:pt x="30" y="134"/>
                  </a:lnTo>
                  <a:lnTo>
                    <a:pt x="29" y="129"/>
                  </a:lnTo>
                  <a:lnTo>
                    <a:pt x="28" y="125"/>
                  </a:lnTo>
                  <a:lnTo>
                    <a:pt x="29" y="125"/>
                  </a:lnTo>
                  <a:lnTo>
                    <a:pt x="33" y="126"/>
                  </a:lnTo>
                  <a:lnTo>
                    <a:pt x="39" y="129"/>
                  </a:lnTo>
                  <a:lnTo>
                    <a:pt x="42" y="131"/>
                  </a:lnTo>
                  <a:lnTo>
                    <a:pt x="43" y="133"/>
                  </a:lnTo>
                  <a:lnTo>
                    <a:pt x="43" y="135"/>
                  </a:lnTo>
                  <a:lnTo>
                    <a:pt x="42" y="136"/>
                  </a:lnTo>
                  <a:lnTo>
                    <a:pt x="34" y="142"/>
                  </a:lnTo>
                  <a:lnTo>
                    <a:pt x="33" y="146"/>
                  </a:lnTo>
                  <a:lnTo>
                    <a:pt x="33" y="150"/>
                  </a:lnTo>
                  <a:lnTo>
                    <a:pt x="34" y="155"/>
                  </a:lnTo>
                  <a:lnTo>
                    <a:pt x="34" y="158"/>
                  </a:lnTo>
                  <a:lnTo>
                    <a:pt x="37" y="157"/>
                  </a:lnTo>
                  <a:lnTo>
                    <a:pt x="37" y="155"/>
                  </a:lnTo>
                  <a:lnTo>
                    <a:pt x="42" y="156"/>
                  </a:lnTo>
                  <a:lnTo>
                    <a:pt x="43" y="162"/>
                  </a:lnTo>
                  <a:lnTo>
                    <a:pt x="45" y="160"/>
                  </a:lnTo>
                  <a:lnTo>
                    <a:pt x="46" y="160"/>
                  </a:lnTo>
                  <a:lnTo>
                    <a:pt x="48" y="162"/>
                  </a:lnTo>
                  <a:lnTo>
                    <a:pt x="48" y="165"/>
                  </a:lnTo>
                  <a:lnTo>
                    <a:pt x="53" y="165"/>
                  </a:lnTo>
                  <a:lnTo>
                    <a:pt x="55" y="165"/>
                  </a:lnTo>
                  <a:lnTo>
                    <a:pt x="56" y="163"/>
                  </a:lnTo>
                  <a:lnTo>
                    <a:pt x="59" y="160"/>
                  </a:lnTo>
                  <a:lnTo>
                    <a:pt x="61" y="156"/>
                  </a:lnTo>
                  <a:lnTo>
                    <a:pt x="62" y="156"/>
                  </a:lnTo>
                  <a:lnTo>
                    <a:pt x="64" y="155"/>
                  </a:lnTo>
                  <a:lnTo>
                    <a:pt x="66" y="153"/>
                  </a:lnTo>
                  <a:lnTo>
                    <a:pt x="67" y="153"/>
                  </a:lnTo>
                  <a:lnTo>
                    <a:pt x="73" y="157"/>
                  </a:lnTo>
                  <a:lnTo>
                    <a:pt x="78" y="161"/>
                  </a:lnTo>
                  <a:lnTo>
                    <a:pt x="82" y="165"/>
                  </a:lnTo>
                  <a:lnTo>
                    <a:pt x="86" y="168"/>
                  </a:lnTo>
                  <a:lnTo>
                    <a:pt x="89" y="172"/>
                  </a:lnTo>
                  <a:lnTo>
                    <a:pt x="92" y="176"/>
                  </a:lnTo>
                  <a:lnTo>
                    <a:pt x="94" y="179"/>
                  </a:lnTo>
                  <a:lnTo>
                    <a:pt x="96" y="179"/>
                  </a:lnTo>
                  <a:lnTo>
                    <a:pt x="97" y="178"/>
                  </a:lnTo>
                  <a:lnTo>
                    <a:pt x="94" y="172"/>
                  </a:lnTo>
                  <a:lnTo>
                    <a:pt x="94" y="171"/>
                  </a:lnTo>
                  <a:lnTo>
                    <a:pt x="93" y="168"/>
                  </a:lnTo>
                  <a:lnTo>
                    <a:pt x="92" y="167"/>
                  </a:lnTo>
                  <a:lnTo>
                    <a:pt x="92" y="167"/>
                  </a:lnTo>
                  <a:lnTo>
                    <a:pt x="91" y="165"/>
                  </a:lnTo>
                  <a:lnTo>
                    <a:pt x="89" y="161"/>
                  </a:lnTo>
                  <a:lnTo>
                    <a:pt x="88" y="157"/>
                  </a:lnTo>
                  <a:lnTo>
                    <a:pt x="86" y="155"/>
                  </a:lnTo>
                  <a:lnTo>
                    <a:pt x="91" y="155"/>
                  </a:lnTo>
                  <a:lnTo>
                    <a:pt x="94" y="157"/>
                  </a:lnTo>
                  <a:lnTo>
                    <a:pt x="98" y="161"/>
                  </a:lnTo>
                  <a:lnTo>
                    <a:pt x="101" y="165"/>
                  </a:lnTo>
                  <a:lnTo>
                    <a:pt x="104" y="168"/>
                  </a:lnTo>
                  <a:lnTo>
                    <a:pt x="108" y="171"/>
                  </a:lnTo>
                  <a:lnTo>
                    <a:pt x="112" y="173"/>
                  </a:lnTo>
                  <a:lnTo>
                    <a:pt x="114" y="177"/>
                  </a:lnTo>
                  <a:lnTo>
                    <a:pt x="114" y="181"/>
                  </a:lnTo>
                  <a:lnTo>
                    <a:pt x="114" y="182"/>
                  </a:lnTo>
                  <a:lnTo>
                    <a:pt x="115" y="183"/>
                  </a:lnTo>
                  <a:lnTo>
                    <a:pt x="120" y="184"/>
                  </a:lnTo>
                  <a:lnTo>
                    <a:pt x="124" y="187"/>
                  </a:lnTo>
                  <a:lnTo>
                    <a:pt x="126" y="189"/>
                  </a:lnTo>
                  <a:lnTo>
                    <a:pt x="128" y="189"/>
                  </a:lnTo>
                  <a:lnTo>
                    <a:pt x="130" y="189"/>
                  </a:lnTo>
                  <a:lnTo>
                    <a:pt x="133" y="188"/>
                  </a:lnTo>
                  <a:lnTo>
                    <a:pt x="136" y="187"/>
                  </a:lnTo>
                  <a:lnTo>
                    <a:pt x="135" y="188"/>
                  </a:lnTo>
                  <a:lnTo>
                    <a:pt x="133" y="190"/>
                  </a:lnTo>
                  <a:lnTo>
                    <a:pt x="131" y="193"/>
                  </a:lnTo>
                  <a:lnTo>
                    <a:pt x="133" y="195"/>
                  </a:lnTo>
                  <a:lnTo>
                    <a:pt x="134" y="197"/>
                  </a:lnTo>
                  <a:lnTo>
                    <a:pt x="135" y="199"/>
                  </a:lnTo>
                  <a:lnTo>
                    <a:pt x="137" y="200"/>
                  </a:lnTo>
                  <a:lnTo>
                    <a:pt x="139" y="199"/>
                  </a:lnTo>
                  <a:lnTo>
                    <a:pt x="140" y="197"/>
                  </a:lnTo>
                  <a:lnTo>
                    <a:pt x="140" y="193"/>
                  </a:lnTo>
                  <a:lnTo>
                    <a:pt x="139" y="185"/>
                  </a:lnTo>
                  <a:lnTo>
                    <a:pt x="137" y="183"/>
                  </a:lnTo>
                  <a:lnTo>
                    <a:pt x="135" y="181"/>
                  </a:lnTo>
                  <a:lnTo>
                    <a:pt x="133" y="181"/>
                  </a:lnTo>
                  <a:lnTo>
                    <a:pt x="129" y="182"/>
                  </a:lnTo>
                  <a:lnTo>
                    <a:pt x="128" y="178"/>
                  </a:lnTo>
                  <a:lnTo>
                    <a:pt x="128" y="176"/>
                  </a:lnTo>
                  <a:lnTo>
                    <a:pt x="125" y="171"/>
                  </a:lnTo>
                  <a:lnTo>
                    <a:pt x="120" y="167"/>
                  </a:lnTo>
                  <a:lnTo>
                    <a:pt x="119" y="166"/>
                  </a:lnTo>
                  <a:lnTo>
                    <a:pt x="119" y="165"/>
                  </a:lnTo>
                  <a:lnTo>
                    <a:pt x="123" y="162"/>
                  </a:lnTo>
                  <a:lnTo>
                    <a:pt x="128" y="161"/>
                  </a:lnTo>
                  <a:lnTo>
                    <a:pt x="131" y="162"/>
                  </a:lnTo>
                  <a:lnTo>
                    <a:pt x="130" y="158"/>
                  </a:lnTo>
                  <a:lnTo>
                    <a:pt x="128" y="157"/>
                  </a:lnTo>
                  <a:lnTo>
                    <a:pt x="121" y="156"/>
                  </a:lnTo>
                  <a:lnTo>
                    <a:pt x="118" y="155"/>
                  </a:lnTo>
                  <a:lnTo>
                    <a:pt x="115" y="152"/>
                  </a:lnTo>
                  <a:lnTo>
                    <a:pt x="113" y="151"/>
                  </a:lnTo>
                  <a:lnTo>
                    <a:pt x="110" y="150"/>
                  </a:lnTo>
                  <a:lnTo>
                    <a:pt x="110" y="152"/>
                  </a:lnTo>
                  <a:lnTo>
                    <a:pt x="112" y="156"/>
                  </a:lnTo>
                  <a:lnTo>
                    <a:pt x="113" y="158"/>
                  </a:lnTo>
                  <a:lnTo>
                    <a:pt x="110" y="161"/>
                  </a:lnTo>
                  <a:lnTo>
                    <a:pt x="107" y="161"/>
                  </a:lnTo>
                  <a:lnTo>
                    <a:pt x="105" y="157"/>
                  </a:lnTo>
                  <a:lnTo>
                    <a:pt x="103" y="152"/>
                  </a:lnTo>
                  <a:lnTo>
                    <a:pt x="102" y="149"/>
                  </a:lnTo>
                  <a:lnTo>
                    <a:pt x="97" y="144"/>
                  </a:lnTo>
                  <a:lnTo>
                    <a:pt x="91" y="141"/>
                  </a:lnTo>
                  <a:lnTo>
                    <a:pt x="87" y="141"/>
                  </a:lnTo>
                  <a:lnTo>
                    <a:pt x="85" y="142"/>
                  </a:lnTo>
                  <a:lnTo>
                    <a:pt x="82" y="145"/>
                  </a:lnTo>
                  <a:lnTo>
                    <a:pt x="82" y="149"/>
                  </a:lnTo>
                  <a:lnTo>
                    <a:pt x="80" y="145"/>
                  </a:lnTo>
                  <a:lnTo>
                    <a:pt x="78" y="147"/>
                  </a:lnTo>
                  <a:lnTo>
                    <a:pt x="80" y="150"/>
                  </a:lnTo>
                  <a:lnTo>
                    <a:pt x="82" y="151"/>
                  </a:lnTo>
                  <a:lnTo>
                    <a:pt x="82" y="153"/>
                  </a:lnTo>
                  <a:lnTo>
                    <a:pt x="78" y="155"/>
                  </a:lnTo>
                  <a:lnTo>
                    <a:pt x="75" y="153"/>
                  </a:lnTo>
                  <a:lnTo>
                    <a:pt x="71" y="151"/>
                  </a:lnTo>
                  <a:lnTo>
                    <a:pt x="69" y="149"/>
                  </a:lnTo>
                  <a:lnTo>
                    <a:pt x="67" y="147"/>
                  </a:lnTo>
                  <a:lnTo>
                    <a:pt x="65" y="145"/>
                  </a:lnTo>
                  <a:lnTo>
                    <a:pt x="62" y="139"/>
                  </a:lnTo>
                  <a:lnTo>
                    <a:pt x="60" y="133"/>
                  </a:lnTo>
                  <a:lnTo>
                    <a:pt x="61" y="130"/>
                  </a:lnTo>
                  <a:lnTo>
                    <a:pt x="64" y="129"/>
                  </a:lnTo>
                  <a:lnTo>
                    <a:pt x="59" y="124"/>
                  </a:lnTo>
                  <a:lnTo>
                    <a:pt x="54" y="118"/>
                  </a:lnTo>
                  <a:lnTo>
                    <a:pt x="51" y="109"/>
                  </a:lnTo>
                  <a:lnTo>
                    <a:pt x="53" y="103"/>
                  </a:lnTo>
                  <a:lnTo>
                    <a:pt x="54" y="99"/>
                  </a:lnTo>
                  <a:lnTo>
                    <a:pt x="54" y="96"/>
                  </a:lnTo>
                  <a:lnTo>
                    <a:pt x="53" y="92"/>
                  </a:lnTo>
                  <a:lnTo>
                    <a:pt x="54" y="88"/>
                  </a:lnTo>
                  <a:lnTo>
                    <a:pt x="56" y="85"/>
                  </a:lnTo>
                  <a:lnTo>
                    <a:pt x="60" y="82"/>
                  </a:lnTo>
                  <a:lnTo>
                    <a:pt x="65" y="81"/>
                  </a:lnTo>
                  <a:lnTo>
                    <a:pt x="67" y="77"/>
                  </a:lnTo>
                  <a:lnTo>
                    <a:pt x="66" y="82"/>
                  </a:lnTo>
                  <a:lnTo>
                    <a:pt x="69" y="80"/>
                  </a:lnTo>
                  <a:lnTo>
                    <a:pt x="69" y="76"/>
                  </a:lnTo>
                  <a:lnTo>
                    <a:pt x="70" y="70"/>
                  </a:lnTo>
                  <a:lnTo>
                    <a:pt x="73" y="59"/>
                  </a:lnTo>
                  <a:lnTo>
                    <a:pt x="75" y="54"/>
                  </a:lnTo>
                  <a:lnTo>
                    <a:pt x="75" y="49"/>
                  </a:lnTo>
                  <a:lnTo>
                    <a:pt x="72" y="49"/>
                  </a:lnTo>
                  <a:lnTo>
                    <a:pt x="72" y="48"/>
                  </a:lnTo>
                  <a:lnTo>
                    <a:pt x="72" y="45"/>
                  </a:lnTo>
                  <a:lnTo>
                    <a:pt x="71" y="43"/>
                  </a:lnTo>
                  <a:lnTo>
                    <a:pt x="69" y="40"/>
                  </a:lnTo>
                  <a:lnTo>
                    <a:pt x="66" y="38"/>
                  </a:lnTo>
                  <a:lnTo>
                    <a:pt x="64" y="35"/>
                  </a:lnTo>
                  <a:lnTo>
                    <a:pt x="61" y="32"/>
                  </a:lnTo>
                  <a:lnTo>
                    <a:pt x="60" y="22"/>
                  </a:lnTo>
                  <a:lnTo>
                    <a:pt x="62" y="13"/>
                  </a:lnTo>
                  <a:lnTo>
                    <a:pt x="62" y="10"/>
                  </a:lnTo>
                  <a:lnTo>
                    <a:pt x="61" y="6"/>
                  </a:lnTo>
                  <a:lnTo>
                    <a:pt x="59" y="5"/>
                  </a:lnTo>
                  <a:lnTo>
                    <a:pt x="57" y="5"/>
                  </a:lnTo>
                  <a:lnTo>
                    <a:pt x="56" y="6"/>
                  </a:lnTo>
                  <a:lnTo>
                    <a:pt x="55" y="10"/>
                  </a:lnTo>
                  <a:lnTo>
                    <a:pt x="54" y="11"/>
                  </a:lnTo>
                  <a:lnTo>
                    <a:pt x="51" y="11"/>
                  </a:lnTo>
                  <a:lnTo>
                    <a:pt x="48" y="10"/>
                  </a:lnTo>
                  <a:lnTo>
                    <a:pt x="45" y="10"/>
                  </a:lnTo>
                  <a:lnTo>
                    <a:pt x="44" y="11"/>
                  </a:lnTo>
                  <a:lnTo>
                    <a:pt x="42" y="7"/>
                  </a:lnTo>
                  <a:lnTo>
                    <a:pt x="39" y="6"/>
                  </a:lnTo>
                  <a:lnTo>
                    <a:pt x="32" y="1"/>
                  </a:lnTo>
                  <a:lnTo>
                    <a:pt x="28" y="0"/>
                  </a:lnTo>
                  <a:lnTo>
                    <a:pt x="24" y="1"/>
                  </a:lnTo>
                  <a:lnTo>
                    <a:pt x="21" y="1"/>
                  </a:lnTo>
                  <a:lnTo>
                    <a:pt x="18" y="0"/>
                  </a:lnTo>
                  <a:lnTo>
                    <a:pt x="17" y="0"/>
                  </a:lnTo>
                  <a:lnTo>
                    <a:pt x="17" y="1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3" y="4"/>
                  </a:lnTo>
                  <a:lnTo>
                    <a:pt x="12" y="5"/>
                  </a:lnTo>
                  <a:lnTo>
                    <a:pt x="13" y="6"/>
                  </a:lnTo>
                  <a:lnTo>
                    <a:pt x="13" y="8"/>
                  </a:lnTo>
                  <a:lnTo>
                    <a:pt x="12" y="18"/>
                  </a:lnTo>
                  <a:lnTo>
                    <a:pt x="11" y="27"/>
                  </a:lnTo>
                  <a:lnTo>
                    <a:pt x="11" y="34"/>
                  </a:lnTo>
                  <a:lnTo>
                    <a:pt x="13" y="42"/>
                  </a:lnTo>
                  <a:lnTo>
                    <a:pt x="14" y="49"/>
                  </a:lnTo>
                  <a:lnTo>
                    <a:pt x="14" y="58"/>
                  </a:lnTo>
                  <a:lnTo>
                    <a:pt x="14" y="64"/>
                  </a:lnTo>
                  <a:lnTo>
                    <a:pt x="14" y="70"/>
                  </a:lnTo>
                  <a:lnTo>
                    <a:pt x="18" y="81"/>
                  </a:lnTo>
                  <a:lnTo>
                    <a:pt x="18" y="83"/>
                  </a:lnTo>
                  <a:lnTo>
                    <a:pt x="16" y="85"/>
                  </a:lnTo>
                  <a:lnTo>
                    <a:pt x="14" y="85"/>
                  </a:lnTo>
                  <a:lnTo>
                    <a:pt x="11" y="82"/>
                  </a:lnTo>
                  <a:lnTo>
                    <a:pt x="6" y="77"/>
                  </a:lnTo>
                  <a:lnTo>
                    <a:pt x="3" y="75"/>
                  </a:lnTo>
                  <a:lnTo>
                    <a:pt x="2" y="74"/>
                  </a:lnTo>
                  <a:lnTo>
                    <a:pt x="1" y="75"/>
                  </a:lnTo>
                  <a:lnTo>
                    <a:pt x="0" y="77"/>
                  </a:lnTo>
                  <a:lnTo>
                    <a:pt x="1" y="8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0" name="Freeform 1381">
              <a:extLst>
                <a:ext uri="{FF2B5EF4-FFF2-40B4-BE49-F238E27FC236}">
                  <a16:creationId xmlns:a16="http://schemas.microsoft.com/office/drawing/2014/main" id="{27339BCF-9857-4274-B072-3238CDE5E7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0868" y="3933748"/>
              <a:ext cx="4216" cy="6324"/>
            </a:xfrm>
            <a:custGeom>
              <a:avLst/>
              <a:gdLst>
                <a:gd name="T0" fmla="*/ 0 w 5"/>
                <a:gd name="T1" fmla="*/ 1 h 5"/>
                <a:gd name="T2" fmla="*/ 5 w 5"/>
                <a:gd name="T3" fmla="*/ 5 h 5"/>
                <a:gd name="T4" fmla="*/ 5 w 5"/>
                <a:gd name="T5" fmla="*/ 2 h 5"/>
                <a:gd name="T6" fmla="*/ 4 w 5"/>
                <a:gd name="T7" fmla="*/ 1 h 5"/>
                <a:gd name="T8" fmla="*/ 3 w 5"/>
                <a:gd name="T9" fmla="*/ 0 h 5"/>
                <a:gd name="T10" fmla="*/ 0 w 5"/>
                <a:gd name="T11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0" y="1"/>
                  </a:moveTo>
                  <a:lnTo>
                    <a:pt x="5" y="5"/>
                  </a:lnTo>
                  <a:lnTo>
                    <a:pt x="5" y="2"/>
                  </a:lnTo>
                  <a:lnTo>
                    <a:pt x="4" y="1"/>
                  </a:lnTo>
                  <a:lnTo>
                    <a:pt x="3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1" name="Freeform 1382">
              <a:extLst>
                <a:ext uri="{FF2B5EF4-FFF2-40B4-BE49-F238E27FC236}">
                  <a16:creationId xmlns:a16="http://schemas.microsoft.com/office/drawing/2014/main" id="{291B09B1-C573-4892-A5F4-5E547FF155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2977" y="3952719"/>
              <a:ext cx="2109" cy="2109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1 h 1"/>
                <a:gd name="T4" fmla="*/ 1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lnTo>
                    <a:pt x="2" y="1"/>
                  </a:lnTo>
                  <a:lnTo>
                    <a:pt x="1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2" name="Freeform 1383">
              <a:extLst>
                <a:ext uri="{FF2B5EF4-FFF2-40B4-BE49-F238E27FC236}">
                  <a16:creationId xmlns:a16="http://schemas.microsoft.com/office/drawing/2014/main" id="{8C548D3D-BF7D-41B3-AE82-B4B25B742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1408" y="3897913"/>
              <a:ext cx="2109" cy="4216"/>
            </a:xfrm>
            <a:custGeom>
              <a:avLst/>
              <a:gdLst>
                <a:gd name="T0" fmla="*/ 0 w 3"/>
                <a:gd name="T1" fmla="*/ 5 h 5"/>
                <a:gd name="T2" fmla="*/ 3 w 3"/>
                <a:gd name="T3" fmla="*/ 0 h 5"/>
                <a:gd name="T4" fmla="*/ 0 w 3"/>
                <a:gd name="T5" fmla="*/ 3 h 5"/>
                <a:gd name="T6" fmla="*/ 0 w 3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5">
                  <a:moveTo>
                    <a:pt x="0" y="5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0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3" name="Freeform 1384">
              <a:extLst>
                <a:ext uri="{FF2B5EF4-FFF2-40B4-BE49-F238E27FC236}">
                  <a16:creationId xmlns:a16="http://schemas.microsoft.com/office/drawing/2014/main" id="{6796A5FC-5091-4C22-B169-D04E6C0A77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7731" y="3948503"/>
              <a:ext cx="2109" cy="6324"/>
            </a:xfrm>
            <a:custGeom>
              <a:avLst/>
              <a:gdLst>
                <a:gd name="T0" fmla="*/ 0 w 3"/>
                <a:gd name="T1" fmla="*/ 4 h 4"/>
                <a:gd name="T2" fmla="*/ 3 w 3"/>
                <a:gd name="T3" fmla="*/ 2 h 4"/>
                <a:gd name="T4" fmla="*/ 3 w 3"/>
                <a:gd name="T5" fmla="*/ 0 h 4"/>
                <a:gd name="T6" fmla="*/ 0 w 3"/>
                <a:gd name="T7" fmla="*/ 2 h 4"/>
                <a:gd name="T8" fmla="*/ 0 w 3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4"/>
                  </a:moveTo>
                  <a:lnTo>
                    <a:pt x="3" y="2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4" name="Freeform 1444">
              <a:extLst>
                <a:ext uri="{FF2B5EF4-FFF2-40B4-BE49-F238E27FC236}">
                  <a16:creationId xmlns:a16="http://schemas.microsoft.com/office/drawing/2014/main" id="{2B085765-42B0-44B0-923D-B37B6CD9AD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6069" y="3183337"/>
              <a:ext cx="236084" cy="149661"/>
            </a:xfrm>
            <a:custGeom>
              <a:avLst/>
              <a:gdLst>
                <a:gd name="T0" fmla="*/ 4 w 224"/>
                <a:gd name="T1" fmla="*/ 48 h 143"/>
                <a:gd name="T2" fmla="*/ 29 w 224"/>
                <a:gd name="T3" fmla="*/ 48 h 143"/>
                <a:gd name="T4" fmla="*/ 32 w 224"/>
                <a:gd name="T5" fmla="*/ 38 h 143"/>
                <a:gd name="T6" fmla="*/ 37 w 224"/>
                <a:gd name="T7" fmla="*/ 37 h 143"/>
                <a:gd name="T8" fmla="*/ 34 w 224"/>
                <a:gd name="T9" fmla="*/ 31 h 143"/>
                <a:gd name="T10" fmla="*/ 31 w 224"/>
                <a:gd name="T11" fmla="*/ 27 h 143"/>
                <a:gd name="T12" fmla="*/ 44 w 224"/>
                <a:gd name="T13" fmla="*/ 26 h 143"/>
                <a:gd name="T14" fmla="*/ 42 w 224"/>
                <a:gd name="T15" fmla="*/ 17 h 143"/>
                <a:gd name="T16" fmla="*/ 47 w 224"/>
                <a:gd name="T17" fmla="*/ 9 h 143"/>
                <a:gd name="T18" fmla="*/ 59 w 224"/>
                <a:gd name="T19" fmla="*/ 10 h 143"/>
                <a:gd name="T20" fmla="*/ 74 w 224"/>
                <a:gd name="T21" fmla="*/ 5 h 143"/>
                <a:gd name="T22" fmla="*/ 79 w 224"/>
                <a:gd name="T23" fmla="*/ 15 h 143"/>
                <a:gd name="T24" fmla="*/ 74 w 224"/>
                <a:gd name="T25" fmla="*/ 21 h 143"/>
                <a:gd name="T26" fmla="*/ 86 w 224"/>
                <a:gd name="T27" fmla="*/ 27 h 143"/>
                <a:gd name="T28" fmla="*/ 81 w 224"/>
                <a:gd name="T29" fmla="*/ 34 h 143"/>
                <a:gd name="T30" fmla="*/ 75 w 224"/>
                <a:gd name="T31" fmla="*/ 31 h 143"/>
                <a:gd name="T32" fmla="*/ 56 w 224"/>
                <a:gd name="T33" fmla="*/ 29 h 143"/>
                <a:gd name="T34" fmla="*/ 49 w 224"/>
                <a:gd name="T35" fmla="*/ 36 h 143"/>
                <a:gd name="T36" fmla="*/ 53 w 224"/>
                <a:gd name="T37" fmla="*/ 49 h 143"/>
                <a:gd name="T38" fmla="*/ 71 w 224"/>
                <a:gd name="T39" fmla="*/ 48 h 143"/>
                <a:gd name="T40" fmla="*/ 83 w 224"/>
                <a:gd name="T41" fmla="*/ 48 h 143"/>
                <a:gd name="T42" fmla="*/ 98 w 224"/>
                <a:gd name="T43" fmla="*/ 53 h 143"/>
                <a:gd name="T44" fmla="*/ 109 w 224"/>
                <a:gd name="T45" fmla="*/ 48 h 143"/>
                <a:gd name="T46" fmla="*/ 122 w 224"/>
                <a:gd name="T47" fmla="*/ 57 h 143"/>
                <a:gd name="T48" fmla="*/ 134 w 224"/>
                <a:gd name="T49" fmla="*/ 58 h 143"/>
                <a:gd name="T50" fmla="*/ 156 w 224"/>
                <a:gd name="T51" fmla="*/ 54 h 143"/>
                <a:gd name="T52" fmla="*/ 168 w 224"/>
                <a:gd name="T53" fmla="*/ 52 h 143"/>
                <a:gd name="T54" fmla="*/ 178 w 224"/>
                <a:gd name="T55" fmla="*/ 69 h 143"/>
                <a:gd name="T56" fmla="*/ 179 w 224"/>
                <a:gd name="T57" fmla="*/ 79 h 143"/>
                <a:gd name="T58" fmla="*/ 190 w 224"/>
                <a:gd name="T59" fmla="*/ 77 h 143"/>
                <a:gd name="T60" fmla="*/ 206 w 224"/>
                <a:gd name="T61" fmla="*/ 82 h 143"/>
                <a:gd name="T62" fmla="*/ 213 w 224"/>
                <a:gd name="T63" fmla="*/ 98 h 143"/>
                <a:gd name="T64" fmla="*/ 219 w 224"/>
                <a:gd name="T65" fmla="*/ 113 h 143"/>
                <a:gd name="T66" fmla="*/ 224 w 224"/>
                <a:gd name="T67" fmla="*/ 122 h 143"/>
                <a:gd name="T68" fmla="*/ 216 w 224"/>
                <a:gd name="T69" fmla="*/ 122 h 143"/>
                <a:gd name="T70" fmla="*/ 203 w 224"/>
                <a:gd name="T71" fmla="*/ 119 h 143"/>
                <a:gd name="T72" fmla="*/ 188 w 224"/>
                <a:gd name="T73" fmla="*/ 122 h 143"/>
                <a:gd name="T74" fmla="*/ 177 w 224"/>
                <a:gd name="T75" fmla="*/ 118 h 143"/>
                <a:gd name="T76" fmla="*/ 162 w 224"/>
                <a:gd name="T77" fmla="*/ 130 h 143"/>
                <a:gd name="T78" fmla="*/ 149 w 224"/>
                <a:gd name="T79" fmla="*/ 135 h 143"/>
                <a:gd name="T80" fmla="*/ 131 w 224"/>
                <a:gd name="T81" fmla="*/ 140 h 143"/>
                <a:gd name="T82" fmla="*/ 125 w 224"/>
                <a:gd name="T83" fmla="*/ 114 h 143"/>
                <a:gd name="T84" fmla="*/ 123 w 224"/>
                <a:gd name="T85" fmla="*/ 102 h 143"/>
                <a:gd name="T86" fmla="*/ 115 w 224"/>
                <a:gd name="T87" fmla="*/ 97 h 143"/>
                <a:gd name="T88" fmla="*/ 110 w 224"/>
                <a:gd name="T89" fmla="*/ 87 h 143"/>
                <a:gd name="T90" fmla="*/ 93 w 224"/>
                <a:gd name="T91" fmla="*/ 92 h 143"/>
                <a:gd name="T92" fmla="*/ 88 w 224"/>
                <a:gd name="T93" fmla="*/ 106 h 143"/>
                <a:gd name="T94" fmla="*/ 87 w 224"/>
                <a:gd name="T95" fmla="*/ 116 h 143"/>
                <a:gd name="T96" fmla="*/ 70 w 224"/>
                <a:gd name="T97" fmla="*/ 117 h 143"/>
                <a:gd name="T98" fmla="*/ 71 w 224"/>
                <a:gd name="T99" fmla="*/ 127 h 143"/>
                <a:gd name="T100" fmla="*/ 63 w 224"/>
                <a:gd name="T101" fmla="*/ 127 h 143"/>
                <a:gd name="T102" fmla="*/ 55 w 224"/>
                <a:gd name="T103" fmla="*/ 124 h 143"/>
                <a:gd name="T104" fmla="*/ 48 w 224"/>
                <a:gd name="T105" fmla="*/ 127 h 143"/>
                <a:gd name="T106" fmla="*/ 39 w 224"/>
                <a:gd name="T107" fmla="*/ 133 h 143"/>
                <a:gd name="T108" fmla="*/ 29 w 224"/>
                <a:gd name="T109" fmla="*/ 129 h 143"/>
                <a:gd name="T110" fmla="*/ 32 w 224"/>
                <a:gd name="T111" fmla="*/ 106 h 143"/>
                <a:gd name="T112" fmla="*/ 31 w 224"/>
                <a:gd name="T113" fmla="*/ 88 h 143"/>
                <a:gd name="T114" fmla="*/ 24 w 224"/>
                <a:gd name="T115" fmla="*/ 70 h 143"/>
                <a:gd name="T116" fmla="*/ 12 w 224"/>
                <a:gd name="T117" fmla="*/ 66 h 143"/>
                <a:gd name="T118" fmla="*/ 2 w 224"/>
                <a:gd name="T119" fmla="*/ 6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4" h="143">
                  <a:moveTo>
                    <a:pt x="0" y="58"/>
                  </a:moveTo>
                  <a:lnTo>
                    <a:pt x="1" y="54"/>
                  </a:lnTo>
                  <a:lnTo>
                    <a:pt x="2" y="50"/>
                  </a:lnTo>
                  <a:lnTo>
                    <a:pt x="4" y="48"/>
                  </a:lnTo>
                  <a:lnTo>
                    <a:pt x="8" y="47"/>
                  </a:lnTo>
                  <a:lnTo>
                    <a:pt x="17" y="48"/>
                  </a:lnTo>
                  <a:lnTo>
                    <a:pt x="26" y="49"/>
                  </a:lnTo>
                  <a:lnTo>
                    <a:pt x="29" y="48"/>
                  </a:lnTo>
                  <a:lnTo>
                    <a:pt x="31" y="47"/>
                  </a:lnTo>
                  <a:lnTo>
                    <a:pt x="31" y="42"/>
                  </a:lnTo>
                  <a:lnTo>
                    <a:pt x="31" y="39"/>
                  </a:lnTo>
                  <a:lnTo>
                    <a:pt x="32" y="38"/>
                  </a:lnTo>
                  <a:lnTo>
                    <a:pt x="34" y="37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7" y="37"/>
                  </a:lnTo>
                  <a:lnTo>
                    <a:pt x="34" y="34"/>
                  </a:lnTo>
                  <a:lnTo>
                    <a:pt x="33" y="32"/>
                  </a:lnTo>
                  <a:lnTo>
                    <a:pt x="37" y="32"/>
                  </a:lnTo>
                  <a:lnTo>
                    <a:pt x="34" y="31"/>
                  </a:lnTo>
                  <a:lnTo>
                    <a:pt x="32" y="29"/>
                  </a:lnTo>
                  <a:lnTo>
                    <a:pt x="29" y="31"/>
                  </a:lnTo>
                  <a:lnTo>
                    <a:pt x="27" y="28"/>
                  </a:lnTo>
                  <a:lnTo>
                    <a:pt x="31" y="27"/>
                  </a:lnTo>
                  <a:lnTo>
                    <a:pt x="35" y="27"/>
                  </a:lnTo>
                  <a:lnTo>
                    <a:pt x="40" y="28"/>
                  </a:lnTo>
                  <a:lnTo>
                    <a:pt x="45" y="27"/>
                  </a:lnTo>
                  <a:lnTo>
                    <a:pt x="44" y="26"/>
                  </a:lnTo>
                  <a:lnTo>
                    <a:pt x="44" y="25"/>
                  </a:lnTo>
                  <a:lnTo>
                    <a:pt x="44" y="22"/>
                  </a:lnTo>
                  <a:lnTo>
                    <a:pt x="44" y="21"/>
                  </a:lnTo>
                  <a:lnTo>
                    <a:pt x="42" y="17"/>
                  </a:lnTo>
                  <a:lnTo>
                    <a:pt x="42" y="15"/>
                  </a:lnTo>
                  <a:lnTo>
                    <a:pt x="42" y="11"/>
                  </a:lnTo>
                  <a:lnTo>
                    <a:pt x="43" y="9"/>
                  </a:lnTo>
                  <a:lnTo>
                    <a:pt x="47" y="9"/>
                  </a:lnTo>
                  <a:lnTo>
                    <a:pt x="49" y="10"/>
                  </a:lnTo>
                  <a:lnTo>
                    <a:pt x="53" y="11"/>
                  </a:lnTo>
                  <a:lnTo>
                    <a:pt x="55" y="12"/>
                  </a:lnTo>
                  <a:lnTo>
                    <a:pt x="59" y="10"/>
                  </a:lnTo>
                  <a:lnTo>
                    <a:pt x="63" y="7"/>
                  </a:lnTo>
                  <a:lnTo>
                    <a:pt x="66" y="4"/>
                  </a:lnTo>
                  <a:lnTo>
                    <a:pt x="70" y="0"/>
                  </a:lnTo>
                  <a:lnTo>
                    <a:pt x="74" y="5"/>
                  </a:lnTo>
                  <a:lnTo>
                    <a:pt x="77" y="9"/>
                  </a:lnTo>
                  <a:lnTo>
                    <a:pt x="80" y="11"/>
                  </a:lnTo>
                  <a:lnTo>
                    <a:pt x="80" y="12"/>
                  </a:lnTo>
                  <a:lnTo>
                    <a:pt x="79" y="15"/>
                  </a:lnTo>
                  <a:lnTo>
                    <a:pt x="76" y="16"/>
                  </a:lnTo>
                  <a:lnTo>
                    <a:pt x="72" y="18"/>
                  </a:lnTo>
                  <a:lnTo>
                    <a:pt x="72" y="20"/>
                  </a:lnTo>
                  <a:lnTo>
                    <a:pt x="74" y="21"/>
                  </a:lnTo>
                  <a:lnTo>
                    <a:pt x="76" y="22"/>
                  </a:lnTo>
                  <a:lnTo>
                    <a:pt x="79" y="25"/>
                  </a:lnTo>
                  <a:lnTo>
                    <a:pt x="82" y="27"/>
                  </a:lnTo>
                  <a:lnTo>
                    <a:pt x="86" y="27"/>
                  </a:lnTo>
                  <a:lnTo>
                    <a:pt x="90" y="26"/>
                  </a:lnTo>
                  <a:lnTo>
                    <a:pt x="88" y="29"/>
                  </a:lnTo>
                  <a:lnTo>
                    <a:pt x="85" y="32"/>
                  </a:lnTo>
                  <a:lnTo>
                    <a:pt x="81" y="34"/>
                  </a:lnTo>
                  <a:lnTo>
                    <a:pt x="79" y="36"/>
                  </a:lnTo>
                  <a:lnTo>
                    <a:pt x="80" y="34"/>
                  </a:lnTo>
                  <a:lnTo>
                    <a:pt x="79" y="33"/>
                  </a:lnTo>
                  <a:lnTo>
                    <a:pt x="75" y="31"/>
                  </a:lnTo>
                  <a:lnTo>
                    <a:pt x="69" y="28"/>
                  </a:lnTo>
                  <a:lnTo>
                    <a:pt x="65" y="27"/>
                  </a:lnTo>
                  <a:lnTo>
                    <a:pt x="60" y="27"/>
                  </a:lnTo>
                  <a:lnTo>
                    <a:pt x="56" y="29"/>
                  </a:lnTo>
                  <a:lnTo>
                    <a:pt x="53" y="32"/>
                  </a:lnTo>
                  <a:lnTo>
                    <a:pt x="51" y="37"/>
                  </a:lnTo>
                  <a:lnTo>
                    <a:pt x="50" y="36"/>
                  </a:lnTo>
                  <a:lnTo>
                    <a:pt x="49" y="36"/>
                  </a:lnTo>
                  <a:lnTo>
                    <a:pt x="49" y="39"/>
                  </a:lnTo>
                  <a:lnTo>
                    <a:pt x="49" y="44"/>
                  </a:lnTo>
                  <a:lnTo>
                    <a:pt x="51" y="48"/>
                  </a:lnTo>
                  <a:lnTo>
                    <a:pt x="53" y="49"/>
                  </a:lnTo>
                  <a:lnTo>
                    <a:pt x="56" y="49"/>
                  </a:lnTo>
                  <a:lnTo>
                    <a:pt x="61" y="48"/>
                  </a:lnTo>
                  <a:lnTo>
                    <a:pt x="67" y="48"/>
                  </a:lnTo>
                  <a:lnTo>
                    <a:pt x="71" y="48"/>
                  </a:lnTo>
                  <a:lnTo>
                    <a:pt x="75" y="47"/>
                  </a:lnTo>
                  <a:lnTo>
                    <a:pt x="75" y="49"/>
                  </a:lnTo>
                  <a:lnTo>
                    <a:pt x="80" y="48"/>
                  </a:lnTo>
                  <a:lnTo>
                    <a:pt x="83" y="48"/>
                  </a:lnTo>
                  <a:lnTo>
                    <a:pt x="87" y="50"/>
                  </a:lnTo>
                  <a:lnTo>
                    <a:pt x="91" y="54"/>
                  </a:lnTo>
                  <a:lnTo>
                    <a:pt x="95" y="54"/>
                  </a:lnTo>
                  <a:lnTo>
                    <a:pt x="98" y="53"/>
                  </a:lnTo>
                  <a:lnTo>
                    <a:pt x="103" y="50"/>
                  </a:lnTo>
                  <a:lnTo>
                    <a:pt x="107" y="48"/>
                  </a:lnTo>
                  <a:lnTo>
                    <a:pt x="108" y="47"/>
                  </a:lnTo>
                  <a:lnTo>
                    <a:pt x="109" y="48"/>
                  </a:lnTo>
                  <a:lnTo>
                    <a:pt x="110" y="50"/>
                  </a:lnTo>
                  <a:lnTo>
                    <a:pt x="117" y="52"/>
                  </a:lnTo>
                  <a:lnTo>
                    <a:pt x="118" y="55"/>
                  </a:lnTo>
                  <a:lnTo>
                    <a:pt x="122" y="57"/>
                  </a:lnTo>
                  <a:lnTo>
                    <a:pt x="125" y="57"/>
                  </a:lnTo>
                  <a:lnTo>
                    <a:pt x="129" y="58"/>
                  </a:lnTo>
                  <a:lnTo>
                    <a:pt x="133" y="60"/>
                  </a:lnTo>
                  <a:lnTo>
                    <a:pt x="134" y="58"/>
                  </a:lnTo>
                  <a:lnTo>
                    <a:pt x="136" y="55"/>
                  </a:lnTo>
                  <a:lnTo>
                    <a:pt x="142" y="54"/>
                  </a:lnTo>
                  <a:lnTo>
                    <a:pt x="150" y="54"/>
                  </a:lnTo>
                  <a:lnTo>
                    <a:pt x="156" y="54"/>
                  </a:lnTo>
                  <a:lnTo>
                    <a:pt x="160" y="54"/>
                  </a:lnTo>
                  <a:lnTo>
                    <a:pt x="162" y="53"/>
                  </a:lnTo>
                  <a:lnTo>
                    <a:pt x="166" y="52"/>
                  </a:lnTo>
                  <a:lnTo>
                    <a:pt x="168" y="52"/>
                  </a:lnTo>
                  <a:lnTo>
                    <a:pt x="170" y="57"/>
                  </a:lnTo>
                  <a:lnTo>
                    <a:pt x="171" y="60"/>
                  </a:lnTo>
                  <a:lnTo>
                    <a:pt x="174" y="64"/>
                  </a:lnTo>
                  <a:lnTo>
                    <a:pt x="178" y="69"/>
                  </a:lnTo>
                  <a:lnTo>
                    <a:pt x="176" y="70"/>
                  </a:lnTo>
                  <a:lnTo>
                    <a:pt x="176" y="73"/>
                  </a:lnTo>
                  <a:lnTo>
                    <a:pt x="178" y="76"/>
                  </a:lnTo>
                  <a:lnTo>
                    <a:pt x="179" y="79"/>
                  </a:lnTo>
                  <a:lnTo>
                    <a:pt x="181" y="81"/>
                  </a:lnTo>
                  <a:lnTo>
                    <a:pt x="183" y="81"/>
                  </a:lnTo>
                  <a:lnTo>
                    <a:pt x="187" y="80"/>
                  </a:lnTo>
                  <a:lnTo>
                    <a:pt x="190" y="77"/>
                  </a:lnTo>
                  <a:lnTo>
                    <a:pt x="193" y="77"/>
                  </a:lnTo>
                  <a:lnTo>
                    <a:pt x="197" y="79"/>
                  </a:lnTo>
                  <a:lnTo>
                    <a:pt x="203" y="80"/>
                  </a:lnTo>
                  <a:lnTo>
                    <a:pt x="206" y="82"/>
                  </a:lnTo>
                  <a:lnTo>
                    <a:pt x="210" y="85"/>
                  </a:lnTo>
                  <a:lnTo>
                    <a:pt x="210" y="91"/>
                  </a:lnTo>
                  <a:lnTo>
                    <a:pt x="210" y="95"/>
                  </a:lnTo>
                  <a:lnTo>
                    <a:pt x="213" y="98"/>
                  </a:lnTo>
                  <a:lnTo>
                    <a:pt x="216" y="103"/>
                  </a:lnTo>
                  <a:lnTo>
                    <a:pt x="217" y="107"/>
                  </a:lnTo>
                  <a:lnTo>
                    <a:pt x="217" y="109"/>
                  </a:lnTo>
                  <a:lnTo>
                    <a:pt x="219" y="113"/>
                  </a:lnTo>
                  <a:lnTo>
                    <a:pt x="221" y="116"/>
                  </a:lnTo>
                  <a:lnTo>
                    <a:pt x="222" y="117"/>
                  </a:lnTo>
                  <a:lnTo>
                    <a:pt x="224" y="118"/>
                  </a:lnTo>
                  <a:lnTo>
                    <a:pt x="224" y="122"/>
                  </a:lnTo>
                  <a:lnTo>
                    <a:pt x="221" y="125"/>
                  </a:lnTo>
                  <a:lnTo>
                    <a:pt x="220" y="124"/>
                  </a:lnTo>
                  <a:lnTo>
                    <a:pt x="219" y="123"/>
                  </a:lnTo>
                  <a:lnTo>
                    <a:pt x="216" y="122"/>
                  </a:lnTo>
                  <a:lnTo>
                    <a:pt x="213" y="120"/>
                  </a:lnTo>
                  <a:lnTo>
                    <a:pt x="209" y="119"/>
                  </a:lnTo>
                  <a:lnTo>
                    <a:pt x="205" y="119"/>
                  </a:lnTo>
                  <a:lnTo>
                    <a:pt x="203" y="119"/>
                  </a:lnTo>
                  <a:lnTo>
                    <a:pt x="195" y="124"/>
                  </a:lnTo>
                  <a:lnTo>
                    <a:pt x="190" y="125"/>
                  </a:lnTo>
                  <a:lnTo>
                    <a:pt x="187" y="124"/>
                  </a:lnTo>
                  <a:lnTo>
                    <a:pt x="188" y="122"/>
                  </a:lnTo>
                  <a:lnTo>
                    <a:pt x="188" y="120"/>
                  </a:lnTo>
                  <a:lnTo>
                    <a:pt x="186" y="118"/>
                  </a:lnTo>
                  <a:lnTo>
                    <a:pt x="183" y="118"/>
                  </a:lnTo>
                  <a:lnTo>
                    <a:pt x="177" y="118"/>
                  </a:lnTo>
                  <a:lnTo>
                    <a:pt x="173" y="119"/>
                  </a:lnTo>
                  <a:lnTo>
                    <a:pt x="171" y="119"/>
                  </a:lnTo>
                  <a:lnTo>
                    <a:pt x="166" y="124"/>
                  </a:lnTo>
                  <a:lnTo>
                    <a:pt x="162" y="130"/>
                  </a:lnTo>
                  <a:lnTo>
                    <a:pt x="160" y="133"/>
                  </a:lnTo>
                  <a:lnTo>
                    <a:pt x="156" y="133"/>
                  </a:lnTo>
                  <a:lnTo>
                    <a:pt x="152" y="134"/>
                  </a:lnTo>
                  <a:lnTo>
                    <a:pt x="149" y="135"/>
                  </a:lnTo>
                  <a:lnTo>
                    <a:pt x="145" y="139"/>
                  </a:lnTo>
                  <a:lnTo>
                    <a:pt x="141" y="141"/>
                  </a:lnTo>
                  <a:lnTo>
                    <a:pt x="135" y="143"/>
                  </a:lnTo>
                  <a:lnTo>
                    <a:pt x="131" y="140"/>
                  </a:lnTo>
                  <a:lnTo>
                    <a:pt x="129" y="135"/>
                  </a:lnTo>
                  <a:lnTo>
                    <a:pt x="126" y="129"/>
                  </a:lnTo>
                  <a:lnTo>
                    <a:pt x="125" y="122"/>
                  </a:lnTo>
                  <a:lnTo>
                    <a:pt x="125" y="114"/>
                  </a:lnTo>
                  <a:lnTo>
                    <a:pt x="125" y="108"/>
                  </a:lnTo>
                  <a:lnTo>
                    <a:pt x="125" y="104"/>
                  </a:lnTo>
                  <a:lnTo>
                    <a:pt x="125" y="103"/>
                  </a:lnTo>
                  <a:lnTo>
                    <a:pt x="123" y="102"/>
                  </a:lnTo>
                  <a:lnTo>
                    <a:pt x="119" y="103"/>
                  </a:lnTo>
                  <a:lnTo>
                    <a:pt x="117" y="102"/>
                  </a:lnTo>
                  <a:lnTo>
                    <a:pt x="115" y="101"/>
                  </a:lnTo>
                  <a:lnTo>
                    <a:pt x="115" y="97"/>
                  </a:lnTo>
                  <a:lnTo>
                    <a:pt x="115" y="95"/>
                  </a:lnTo>
                  <a:lnTo>
                    <a:pt x="115" y="92"/>
                  </a:lnTo>
                  <a:lnTo>
                    <a:pt x="114" y="90"/>
                  </a:lnTo>
                  <a:lnTo>
                    <a:pt x="110" y="87"/>
                  </a:lnTo>
                  <a:lnTo>
                    <a:pt x="107" y="86"/>
                  </a:lnTo>
                  <a:lnTo>
                    <a:pt x="104" y="85"/>
                  </a:lnTo>
                  <a:lnTo>
                    <a:pt x="98" y="87"/>
                  </a:lnTo>
                  <a:lnTo>
                    <a:pt x="93" y="92"/>
                  </a:lnTo>
                  <a:lnTo>
                    <a:pt x="91" y="97"/>
                  </a:lnTo>
                  <a:lnTo>
                    <a:pt x="88" y="102"/>
                  </a:lnTo>
                  <a:lnTo>
                    <a:pt x="87" y="103"/>
                  </a:lnTo>
                  <a:lnTo>
                    <a:pt x="88" y="106"/>
                  </a:lnTo>
                  <a:lnTo>
                    <a:pt x="91" y="109"/>
                  </a:lnTo>
                  <a:lnTo>
                    <a:pt x="92" y="112"/>
                  </a:lnTo>
                  <a:lnTo>
                    <a:pt x="90" y="114"/>
                  </a:lnTo>
                  <a:lnTo>
                    <a:pt x="87" y="116"/>
                  </a:lnTo>
                  <a:lnTo>
                    <a:pt x="83" y="114"/>
                  </a:lnTo>
                  <a:lnTo>
                    <a:pt x="76" y="113"/>
                  </a:lnTo>
                  <a:lnTo>
                    <a:pt x="71" y="116"/>
                  </a:lnTo>
                  <a:lnTo>
                    <a:pt x="70" y="117"/>
                  </a:lnTo>
                  <a:lnTo>
                    <a:pt x="70" y="119"/>
                  </a:lnTo>
                  <a:lnTo>
                    <a:pt x="70" y="122"/>
                  </a:lnTo>
                  <a:lnTo>
                    <a:pt x="71" y="124"/>
                  </a:lnTo>
                  <a:lnTo>
                    <a:pt x="71" y="127"/>
                  </a:lnTo>
                  <a:lnTo>
                    <a:pt x="70" y="129"/>
                  </a:lnTo>
                  <a:lnTo>
                    <a:pt x="69" y="129"/>
                  </a:lnTo>
                  <a:lnTo>
                    <a:pt x="66" y="129"/>
                  </a:lnTo>
                  <a:lnTo>
                    <a:pt x="63" y="127"/>
                  </a:lnTo>
                  <a:lnTo>
                    <a:pt x="60" y="124"/>
                  </a:lnTo>
                  <a:lnTo>
                    <a:pt x="59" y="122"/>
                  </a:lnTo>
                  <a:lnTo>
                    <a:pt x="56" y="122"/>
                  </a:lnTo>
                  <a:lnTo>
                    <a:pt x="55" y="124"/>
                  </a:lnTo>
                  <a:lnTo>
                    <a:pt x="54" y="125"/>
                  </a:lnTo>
                  <a:lnTo>
                    <a:pt x="53" y="124"/>
                  </a:lnTo>
                  <a:lnTo>
                    <a:pt x="51" y="124"/>
                  </a:lnTo>
                  <a:lnTo>
                    <a:pt x="48" y="127"/>
                  </a:lnTo>
                  <a:lnTo>
                    <a:pt x="43" y="128"/>
                  </a:lnTo>
                  <a:lnTo>
                    <a:pt x="42" y="130"/>
                  </a:lnTo>
                  <a:lnTo>
                    <a:pt x="40" y="133"/>
                  </a:lnTo>
                  <a:lnTo>
                    <a:pt x="39" y="133"/>
                  </a:lnTo>
                  <a:lnTo>
                    <a:pt x="37" y="134"/>
                  </a:lnTo>
                  <a:lnTo>
                    <a:pt x="35" y="134"/>
                  </a:lnTo>
                  <a:lnTo>
                    <a:pt x="33" y="133"/>
                  </a:lnTo>
                  <a:lnTo>
                    <a:pt x="29" y="129"/>
                  </a:lnTo>
                  <a:lnTo>
                    <a:pt x="27" y="124"/>
                  </a:lnTo>
                  <a:lnTo>
                    <a:pt x="26" y="118"/>
                  </a:lnTo>
                  <a:lnTo>
                    <a:pt x="28" y="112"/>
                  </a:lnTo>
                  <a:lnTo>
                    <a:pt x="32" y="106"/>
                  </a:lnTo>
                  <a:lnTo>
                    <a:pt x="34" y="100"/>
                  </a:lnTo>
                  <a:lnTo>
                    <a:pt x="35" y="95"/>
                  </a:lnTo>
                  <a:lnTo>
                    <a:pt x="33" y="92"/>
                  </a:lnTo>
                  <a:lnTo>
                    <a:pt x="31" y="88"/>
                  </a:lnTo>
                  <a:lnTo>
                    <a:pt x="28" y="86"/>
                  </a:lnTo>
                  <a:lnTo>
                    <a:pt x="27" y="84"/>
                  </a:lnTo>
                  <a:lnTo>
                    <a:pt x="26" y="76"/>
                  </a:lnTo>
                  <a:lnTo>
                    <a:pt x="24" y="70"/>
                  </a:lnTo>
                  <a:lnTo>
                    <a:pt x="22" y="68"/>
                  </a:lnTo>
                  <a:lnTo>
                    <a:pt x="19" y="68"/>
                  </a:lnTo>
                  <a:lnTo>
                    <a:pt x="15" y="68"/>
                  </a:lnTo>
                  <a:lnTo>
                    <a:pt x="12" y="66"/>
                  </a:lnTo>
                  <a:lnTo>
                    <a:pt x="10" y="64"/>
                  </a:lnTo>
                  <a:lnTo>
                    <a:pt x="8" y="61"/>
                  </a:lnTo>
                  <a:lnTo>
                    <a:pt x="6" y="61"/>
                  </a:lnTo>
                  <a:lnTo>
                    <a:pt x="2" y="60"/>
                  </a:lnTo>
                  <a:lnTo>
                    <a:pt x="0" y="5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5" name="Freeform 1449">
              <a:extLst>
                <a:ext uri="{FF2B5EF4-FFF2-40B4-BE49-F238E27FC236}">
                  <a16:creationId xmlns:a16="http://schemas.microsoft.com/office/drawing/2014/main" id="{D5C52BEB-D84A-4003-8E43-C3A402C2CD7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7142" y="3295056"/>
              <a:ext cx="6324" cy="6324"/>
            </a:xfrm>
            <a:custGeom>
              <a:avLst/>
              <a:gdLst>
                <a:gd name="T0" fmla="*/ 1 w 6"/>
                <a:gd name="T1" fmla="*/ 0 h 6"/>
                <a:gd name="T2" fmla="*/ 0 w 6"/>
                <a:gd name="T3" fmla="*/ 2 h 6"/>
                <a:gd name="T4" fmla="*/ 1 w 6"/>
                <a:gd name="T5" fmla="*/ 5 h 6"/>
                <a:gd name="T6" fmla="*/ 4 w 6"/>
                <a:gd name="T7" fmla="*/ 6 h 6"/>
                <a:gd name="T8" fmla="*/ 6 w 6"/>
                <a:gd name="T9" fmla="*/ 6 h 6"/>
                <a:gd name="T10" fmla="*/ 4 w 6"/>
                <a:gd name="T11" fmla="*/ 2 h 6"/>
                <a:gd name="T12" fmla="*/ 1 w 6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">
                  <a:moveTo>
                    <a:pt x="1" y="0"/>
                  </a:moveTo>
                  <a:lnTo>
                    <a:pt x="0" y="2"/>
                  </a:lnTo>
                  <a:lnTo>
                    <a:pt x="1" y="5"/>
                  </a:lnTo>
                  <a:lnTo>
                    <a:pt x="4" y="6"/>
                  </a:lnTo>
                  <a:lnTo>
                    <a:pt x="6" y="6"/>
                  </a:lnTo>
                  <a:lnTo>
                    <a:pt x="4" y="2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6" name="Freeform 1450">
              <a:extLst>
                <a:ext uri="{FF2B5EF4-FFF2-40B4-BE49-F238E27FC236}">
                  <a16:creationId xmlns:a16="http://schemas.microsoft.com/office/drawing/2014/main" id="{F7AA312F-9DFB-4FDE-A04D-8978121F032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4005" y="3339321"/>
              <a:ext cx="4216" cy="4216"/>
            </a:xfrm>
            <a:custGeom>
              <a:avLst/>
              <a:gdLst>
                <a:gd name="T0" fmla="*/ 5 w 5"/>
                <a:gd name="T1" fmla="*/ 3 h 3"/>
                <a:gd name="T2" fmla="*/ 0 w 5"/>
                <a:gd name="T3" fmla="*/ 0 h 3"/>
                <a:gd name="T4" fmla="*/ 1 w 5"/>
                <a:gd name="T5" fmla="*/ 2 h 3"/>
                <a:gd name="T6" fmla="*/ 5 w 5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3"/>
                  </a:moveTo>
                  <a:lnTo>
                    <a:pt x="0" y="0"/>
                  </a:lnTo>
                  <a:lnTo>
                    <a:pt x="1" y="2"/>
                  </a:lnTo>
                  <a:lnTo>
                    <a:pt x="5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7" name="Freeform 1451">
              <a:extLst>
                <a:ext uri="{FF2B5EF4-FFF2-40B4-BE49-F238E27FC236}">
                  <a16:creationId xmlns:a16="http://schemas.microsoft.com/office/drawing/2014/main" id="{10339D92-9A19-4785-AA05-C6A3B0D3D83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5084" y="3396235"/>
              <a:ext cx="2109" cy="2109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2 h 2"/>
                <a:gd name="T4" fmla="*/ 3 w 3"/>
                <a:gd name="T5" fmla="*/ 2 h 2"/>
                <a:gd name="T6" fmla="*/ 1 w 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lnTo>
                    <a:pt x="0" y="2"/>
                  </a:lnTo>
                  <a:lnTo>
                    <a:pt x="3" y="2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8" name="Freeform 1452">
              <a:extLst>
                <a:ext uri="{FF2B5EF4-FFF2-40B4-BE49-F238E27FC236}">
                  <a16:creationId xmlns:a16="http://schemas.microsoft.com/office/drawing/2014/main" id="{8D4EDAC8-7AC3-4411-8FCE-B94BE38086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7192" y="3406774"/>
              <a:ext cx="6324" cy="6324"/>
            </a:xfrm>
            <a:custGeom>
              <a:avLst/>
              <a:gdLst>
                <a:gd name="T0" fmla="*/ 5 w 5"/>
                <a:gd name="T1" fmla="*/ 2 h 6"/>
                <a:gd name="T2" fmla="*/ 0 w 5"/>
                <a:gd name="T3" fmla="*/ 0 h 6"/>
                <a:gd name="T4" fmla="*/ 0 w 5"/>
                <a:gd name="T5" fmla="*/ 5 h 6"/>
                <a:gd name="T6" fmla="*/ 2 w 5"/>
                <a:gd name="T7" fmla="*/ 6 h 6"/>
                <a:gd name="T8" fmla="*/ 5 w 5"/>
                <a:gd name="T9" fmla="*/ 5 h 6"/>
                <a:gd name="T10" fmla="*/ 5 w 5"/>
                <a:gd name="T11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6">
                  <a:moveTo>
                    <a:pt x="5" y="2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2" y="6"/>
                  </a:lnTo>
                  <a:lnTo>
                    <a:pt x="5" y="5"/>
                  </a:lnTo>
                  <a:lnTo>
                    <a:pt x="5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9" name="Freeform 1453">
              <a:extLst>
                <a:ext uri="{FF2B5EF4-FFF2-40B4-BE49-F238E27FC236}">
                  <a16:creationId xmlns:a16="http://schemas.microsoft.com/office/drawing/2014/main" id="{3BD5C2AD-4775-4E10-A75B-51507B0D6C4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4056" y="3444716"/>
              <a:ext cx="18972" cy="10540"/>
            </a:xfrm>
            <a:custGeom>
              <a:avLst/>
              <a:gdLst>
                <a:gd name="T0" fmla="*/ 15 w 19"/>
                <a:gd name="T1" fmla="*/ 0 h 11"/>
                <a:gd name="T2" fmla="*/ 14 w 19"/>
                <a:gd name="T3" fmla="*/ 0 h 11"/>
                <a:gd name="T4" fmla="*/ 11 w 19"/>
                <a:gd name="T5" fmla="*/ 0 h 11"/>
                <a:gd name="T6" fmla="*/ 5 w 19"/>
                <a:gd name="T7" fmla="*/ 3 h 11"/>
                <a:gd name="T8" fmla="*/ 2 w 19"/>
                <a:gd name="T9" fmla="*/ 4 h 11"/>
                <a:gd name="T10" fmla="*/ 0 w 19"/>
                <a:gd name="T11" fmla="*/ 5 h 11"/>
                <a:gd name="T12" fmla="*/ 0 w 19"/>
                <a:gd name="T13" fmla="*/ 7 h 11"/>
                <a:gd name="T14" fmla="*/ 2 w 19"/>
                <a:gd name="T15" fmla="*/ 10 h 11"/>
                <a:gd name="T16" fmla="*/ 5 w 19"/>
                <a:gd name="T17" fmla="*/ 11 h 11"/>
                <a:gd name="T18" fmla="*/ 9 w 19"/>
                <a:gd name="T19" fmla="*/ 11 h 11"/>
                <a:gd name="T20" fmla="*/ 15 w 19"/>
                <a:gd name="T21" fmla="*/ 7 h 11"/>
                <a:gd name="T22" fmla="*/ 18 w 19"/>
                <a:gd name="T23" fmla="*/ 5 h 11"/>
                <a:gd name="T24" fmla="*/ 19 w 19"/>
                <a:gd name="T25" fmla="*/ 3 h 11"/>
                <a:gd name="T26" fmla="*/ 19 w 19"/>
                <a:gd name="T27" fmla="*/ 1 h 11"/>
                <a:gd name="T28" fmla="*/ 15 w 19"/>
                <a:gd name="T2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" h="11">
                  <a:moveTo>
                    <a:pt x="15" y="0"/>
                  </a:moveTo>
                  <a:lnTo>
                    <a:pt x="14" y="0"/>
                  </a:lnTo>
                  <a:lnTo>
                    <a:pt x="11" y="0"/>
                  </a:lnTo>
                  <a:lnTo>
                    <a:pt x="5" y="3"/>
                  </a:lnTo>
                  <a:lnTo>
                    <a:pt x="2" y="4"/>
                  </a:lnTo>
                  <a:lnTo>
                    <a:pt x="0" y="5"/>
                  </a:lnTo>
                  <a:lnTo>
                    <a:pt x="0" y="7"/>
                  </a:lnTo>
                  <a:lnTo>
                    <a:pt x="2" y="10"/>
                  </a:lnTo>
                  <a:lnTo>
                    <a:pt x="5" y="11"/>
                  </a:lnTo>
                  <a:lnTo>
                    <a:pt x="9" y="11"/>
                  </a:lnTo>
                  <a:lnTo>
                    <a:pt x="15" y="7"/>
                  </a:lnTo>
                  <a:lnTo>
                    <a:pt x="18" y="5"/>
                  </a:lnTo>
                  <a:lnTo>
                    <a:pt x="19" y="3"/>
                  </a:lnTo>
                  <a:lnTo>
                    <a:pt x="19" y="1"/>
                  </a:lnTo>
                  <a:lnTo>
                    <a:pt x="15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0" name="Freeform 1454">
              <a:extLst>
                <a:ext uri="{FF2B5EF4-FFF2-40B4-BE49-F238E27FC236}">
                  <a16:creationId xmlns:a16="http://schemas.microsoft.com/office/drawing/2014/main" id="{362EC49F-F725-4D48-A810-4BDB1205D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4056" y="3413098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2 w 4"/>
                <a:gd name="T3" fmla="*/ 2 h 2"/>
                <a:gd name="T4" fmla="*/ 4 w 4"/>
                <a:gd name="T5" fmla="*/ 2 h 2"/>
                <a:gd name="T6" fmla="*/ 3 w 4"/>
                <a:gd name="T7" fmla="*/ 0 h 2"/>
                <a:gd name="T8" fmla="*/ 0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2" y="2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1" name="Freeform 1455">
              <a:extLst>
                <a:ext uri="{FF2B5EF4-FFF2-40B4-BE49-F238E27FC236}">
                  <a16:creationId xmlns:a16="http://schemas.microsoft.com/office/drawing/2014/main" id="{CD1B6A10-1820-4320-A86E-C21D6E2A768E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458" y="3396235"/>
              <a:ext cx="6324" cy="6324"/>
            </a:xfrm>
            <a:custGeom>
              <a:avLst/>
              <a:gdLst>
                <a:gd name="T0" fmla="*/ 0 w 8"/>
                <a:gd name="T1" fmla="*/ 0 h 6"/>
                <a:gd name="T2" fmla="*/ 1 w 8"/>
                <a:gd name="T3" fmla="*/ 2 h 6"/>
                <a:gd name="T4" fmla="*/ 3 w 8"/>
                <a:gd name="T5" fmla="*/ 5 h 6"/>
                <a:gd name="T6" fmla="*/ 8 w 8"/>
                <a:gd name="T7" fmla="*/ 6 h 6"/>
                <a:gd name="T8" fmla="*/ 8 w 8"/>
                <a:gd name="T9" fmla="*/ 3 h 6"/>
                <a:gd name="T10" fmla="*/ 5 w 8"/>
                <a:gd name="T11" fmla="*/ 2 h 6"/>
                <a:gd name="T12" fmla="*/ 0 w 8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6">
                  <a:moveTo>
                    <a:pt x="0" y="0"/>
                  </a:moveTo>
                  <a:lnTo>
                    <a:pt x="1" y="2"/>
                  </a:lnTo>
                  <a:lnTo>
                    <a:pt x="3" y="5"/>
                  </a:lnTo>
                  <a:lnTo>
                    <a:pt x="8" y="6"/>
                  </a:lnTo>
                  <a:lnTo>
                    <a:pt x="8" y="3"/>
                  </a:lnTo>
                  <a:lnTo>
                    <a:pt x="5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2" name="Freeform 1456">
              <a:extLst>
                <a:ext uri="{FF2B5EF4-FFF2-40B4-BE49-F238E27FC236}">
                  <a16:creationId xmlns:a16="http://schemas.microsoft.com/office/drawing/2014/main" id="{E8457313-2DA1-44BA-A86E-831F33678F1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8321" y="3394126"/>
              <a:ext cx="8432" cy="6324"/>
            </a:xfrm>
            <a:custGeom>
              <a:avLst/>
              <a:gdLst>
                <a:gd name="T0" fmla="*/ 0 w 8"/>
                <a:gd name="T1" fmla="*/ 4 h 6"/>
                <a:gd name="T2" fmla="*/ 3 w 8"/>
                <a:gd name="T3" fmla="*/ 6 h 6"/>
                <a:gd name="T4" fmla="*/ 4 w 8"/>
                <a:gd name="T5" fmla="*/ 6 h 6"/>
                <a:gd name="T6" fmla="*/ 7 w 8"/>
                <a:gd name="T7" fmla="*/ 6 h 6"/>
                <a:gd name="T8" fmla="*/ 8 w 8"/>
                <a:gd name="T9" fmla="*/ 3 h 6"/>
                <a:gd name="T10" fmla="*/ 5 w 8"/>
                <a:gd name="T11" fmla="*/ 0 h 6"/>
                <a:gd name="T12" fmla="*/ 4 w 8"/>
                <a:gd name="T13" fmla="*/ 3 h 6"/>
                <a:gd name="T14" fmla="*/ 0 w 8"/>
                <a:gd name="T1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6">
                  <a:moveTo>
                    <a:pt x="0" y="4"/>
                  </a:moveTo>
                  <a:lnTo>
                    <a:pt x="3" y="6"/>
                  </a:lnTo>
                  <a:lnTo>
                    <a:pt x="4" y="6"/>
                  </a:lnTo>
                  <a:lnTo>
                    <a:pt x="7" y="6"/>
                  </a:lnTo>
                  <a:lnTo>
                    <a:pt x="8" y="3"/>
                  </a:lnTo>
                  <a:lnTo>
                    <a:pt x="5" y="0"/>
                  </a:lnTo>
                  <a:lnTo>
                    <a:pt x="4" y="3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3" name="Freeform 1457">
              <a:extLst>
                <a:ext uri="{FF2B5EF4-FFF2-40B4-BE49-F238E27FC236}">
                  <a16:creationId xmlns:a16="http://schemas.microsoft.com/office/drawing/2014/main" id="{0DED8E8B-FB9D-4A4E-81D6-5A10A829C36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01357" y="3267652"/>
              <a:ext cx="115935" cy="149661"/>
            </a:xfrm>
            <a:custGeom>
              <a:avLst/>
              <a:gdLst>
                <a:gd name="T0" fmla="*/ 4 w 111"/>
                <a:gd name="T1" fmla="*/ 29 h 141"/>
                <a:gd name="T2" fmla="*/ 5 w 111"/>
                <a:gd name="T3" fmla="*/ 29 h 141"/>
                <a:gd name="T4" fmla="*/ 5 w 111"/>
                <a:gd name="T5" fmla="*/ 15 h 141"/>
                <a:gd name="T6" fmla="*/ 19 w 111"/>
                <a:gd name="T7" fmla="*/ 10 h 141"/>
                <a:gd name="T8" fmla="*/ 32 w 111"/>
                <a:gd name="T9" fmla="*/ 10 h 141"/>
                <a:gd name="T10" fmla="*/ 37 w 111"/>
                <a:gd name="T11" fmla="*/ 4 h 141"/>
                <a:gd name="T12" fmla="*/ 51 w 111"/>
                <a:gd name="T13" fmla="*/ 12 h 141"/>
                <a:gd name="T14" fmla="*/ 89 w 111"/>
                <a:gd name="T15" fmla="*/ 50 h 141"/>
                <a:gd name="T16" fmla="*/ 97 w 111"/>
                <a:gd name="T17" fmla="*/ 72 h 141"/>
                <a:gd name="T18" fmla="*/ 101 w 111"/>
                <a:gd name="T19" fmla="*/ 81 h 141"/>
                <a:gd name="T20" fmla="*/ 105 w 111"/>
                <a:gd name="T21" fmla="*/ 85 h 141"/>
                <a:gd name="T22" fmla="*/ 110 w 111"/>
                <a:gd name="T23" fmla="*/ 93 h 141"/>
                <a:gd name="T24" fmla="*/ 108 w 111"/>
                <a:gd name="T25" fmla="*/ 101 h 141"/>
                <a:gd name="T26" fmla="*/ 108 w 111"/>
                <a:gd name="T27" fmla="*/ 114 h 141"/>
                <a:gd name="T28" fmla="*/ 99 w 111"/>
                <a:gd name="T29" fmla="*/ 114 h 141"/>
                <a:gd name="T30" fmla="*/ 92 w 111"/>
                <a:gd name="T31" fmla="*/ 115 h 141"/>
                <a:gd name="T32" fmla="*/ 87 w 111"/>
                <a:gd name="T33" fmla="*/ 118 h 141"/>
                <a:gd name="T34" fmla="*/ 91 w 111"/>
                <a:gd name="T35" fmla="*/ 124 h 141"/>
                <a:gd name="T36" fmla="*/ 81 w 111"/>
                <a:gd name="T37" fmla="*/ 119 h 141"/>
                <a:gd name="T38" fmla="*/ 78 w 111"/>
                <a:gd name="T39" fmla="*/ 119 h 141"/>
                <a:gd name="T40" fmla="*/ 69 w 111"/>
                <a:gd name="T41" fmla="*/ 123 h 141"/>
                <a:gd name="T42" fmla="*/ 73 w 111"/>
                <a:gd name="T43" fmla="*/ 128 h 141"/>
                <a:gd name="T44" fmla="*/ 69 w 111"/>
                <a:gd name="T45" fmla="*/ 127 h 141"/>
                <a:gd name="T46" fmla="*/ 67 w 111"/>
                <a:gd name="T47" fmla="*/ 129 h 141"/>
                <a:gd name="T48" fmla="*/ 68 w 111"/>
                <a:gd name="T49" fmla="*/ 134 h 141"/>
                <a:gd name="T50" fmla="*/ 63 w 111"/>
                <a:gd name="T51" fmla="*/ 134 h 141"/>
                <a:gd name="T52" fmla="*/ 64 w 111"/>
                <a:gd name="T53" fmla="*/ 129 h 141"/>
                <a:gd name="T54" fmla="*/ 58 w 111"/>
                <a:gd name="T55" fmla="*/ 128 h 141"/>
                <a:gd name="T56" fmla="*/ 55 w 111"/>
                <a:gd name="T57" fmla="*/ 138 h 141"/>
                <a:gd name="T58" fmla="*/ 47 w 111"/>
                <a:gd name="T59" fmla="*/ 141 h 141"/>
                <a:gd name="T60" fmla="*/ 44 w 111"/>
                <a:gd name="T61" fmla="*/ 134 h 141"/>
                <a:gd name="T62" fmla="*/ 36 w 111"/>
                <a:gd name="T63" fmla="*/ 130 h 141"/>
                <a:gd name="T64" fmla="*/ 41 w 111"/>
                <a:gd name="T65" fmla="*/ 131 h 141"/>
                <a:gd name="T66" fmla="*/ 37 w 111"/>
                <a:gd name="T67" fmla="*/ 127 h 141"/>
                <a:gd name="T68" fmla="*/ 40 w 111"/>
                <a:gd name="T69" fmla="*/ 122 h 141"/>
                <a:gd name="T70" fmla="*/ 35 w 111"/>
                <a:gd name="T71" fmla="*/ 122 h 141"/>
                <a:gd name="T72" fmla="*/ 33 w 111"/>
                <a:gd name="T73" fmla="*/ 115 h 141"/>
                <a:gd name="T74" fmla="*/ 31 w 111"/>
                <a:gd name="T75" fmla="*/ 102 h 141"/>
                <a:gd name="T76" fmla="*/ 30 w 111"/>
                <a:gd name="T77" fmla="*/ 96 h 141"/>
                <a:gd name="T78" fmla="*/ 33 w 111"/>
                <a:gd name="T79" fmla="*/ 88 h 141"/>
                <a:gd name="T80" fmla="*/ 31 w 111"/>
                <a:gd name="T81" fmla="*/ 85 h 141"/>
                <a:gd name="T82" fmla="*/ 22 w 111"/>
                <a:gd name="T83" fmla="*/ 81 h 141"/>
                <a:gd name="T84" fmla="*/ 20 w 111"/>
                <a:gd name="T85" fmla="*/ 70 h 141"/>
                <a:gd name="T86" fmla="*/ 16 w 111"/>
                <a:gd name="T87" fmla="*/ 66 h 141"/>
                <a:gd name="T88" fmla="*/ 10 w 111"/>
                <a:gd name="T89" fmla="*/ 63 h 141"/>
                <a:gd name="T90" fmla="*/ 6 w 111"/>
                <a:gd name="T91" fmla="*/ 61 h 141"/>
                <a:gd name="T92" fmla="*/ 5 w 111"/>
                <a:gd name="T93" fmla="*/ 58 h 141"/>
                <a:gd name="T94" fmla="*/ 5 w 111"/>
                <a:gd name="T95" fmla="*/ 56 h 141"/>
                <a:gd name="T96" fmla="*/ 6 w 111"/>
                <a:gd name="T97" fmla="*/ 54 h 141"/>
                <a:gd name="T98" fmla="*/ 11 w 111"/>
                <a:gd name="T99" fmla="*/ 54 h 141"/>
                <a:gd name="T100" fmla="*/ 16 w 111"/>
                <a:gd name="T101" fmla="*/ 55 h 141"/>
                <a:gd name="T102" fmla="*/ 22 w 111"/>
                <a:gd name="T103" fmla="*/ 58 h 141"/>
                <a:gd name="T104" fmla="*/ 19 w 111"/>
                <a:gd name="T105" fmla="*/ 53 h 141"/>
                <a:gd name="T106" fmla="*/ 14 w 111"/>
                <a:gd name="T107" fmla="*/ 48 h 141"/>
                <a:gd name="T108" fmla="*/ 16 w 111"/>
                <a:gd name="T109" fmla="*/ 44 h 141"/>
                <a:gd name="T110" fmla="*/ 5 w 111"/>
                <a:gd name="T111" fmla="*/ 3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1" h="141">
                  <a:moveTo>
                    <a:pt x="0" y="29"/>
                  </a:moveTo>
                  <a:lnTo>
                    <a:pt x="3" y="28"/>
                  </a:lnTo>
                  <a:lnTo>
                    <a:pt x="4" y="29"/>
                  </a:lnTo>
                  <a:lnTo>
                    <a:pt x="5" y="31"/>
                  </a:lnTo>
                  <a:lnTo>
                    <a:pt x="8" y="32"/>
                  </a:lnTo>
                  <a:lnTo>
                    <a:pt x="5" y="29"/>
                  </a:lnTo>
                  <a:lnTo>
                    <a:pt x="3" y="27"/>
                  </a:lnTo>
                  <a:lnTo>
                    <a:pt x="3" y="21"/>
                  </a:lnTo>
                  <a:lnTo>
                    <a:pt x="5" y="15"/>
                  </a:lnTo>
                  <a:lnTo>
                    <a:pt x="9" y="11"/>
                  </a:lnTo>
                  <a:lnTo>
                    <a:pt x="14" y="8"/>
                  </a:lnTo>
                  <a:lnTo>
                    <a:pt x="19" y="10"/>
                  </a:lnTo>
                  <a:lnTo>
                    <a:pt x="24" y="10"/>
                  </a:lnTo>
                  <a:lnTo>
                    <a:pt x="28" y="10"/>
                  </a:lnTo>
                  <a:lnTo>
                    <a:pt x="32" y="10"/>
                  </a:lnTo>
                  <a:lnTo>
                    <a:pt x="35" y="8"/>
                  </a:lnTo>
                  <a:lnTo>
                    <a:pt x="37" y="6"/>
                  </a:lnTo>
                  <a:lnTo>
                    <a:pt x="37" y="4"/>
                  </a:lnTo>
                  <a:lnTo>
                    <a:pt x="36" y="2"/>
                  </a:lnTo>
                  <a:lnTo>
                    <a:pt x="36" y="0"/>
                  </a:lnTo>
                  <a:lnTo>
                    <a:pt x="51" y="12"/>
                  </a:lnTo>
                  <a:lnTo>
                    <a:pt x="64" y="27"/>
                  </a:lnTo>
                  <a:lnTo>
                    <a:pt x="76" y="38"/>
                  </a:lnTo>
                  <a:lnTo>
                    <a:pt x="89" y="50"/>
                  </a:lnTo>
                  <a:lnTo>
                    <a:pt x="91" y="56"/>
                  </a:lnTo>
                  <a:lnTo>
                    <a:pt x="94" y="61"/>
                  </a:lnTo>
                  <a:lnTo>
                    <a:pt x="97" y="72"/>
                  </a:lnTo>
                  <a:lnTo>
                    <a:pt x="97" y="75"/>
                  </a:lnTo>
                  <a:lnTo>
                    <a:pt x="99" y="76"/>
                  </a:lnTo>
                  <a:lnTo>
                    <a:pt x="101" y="81"/>
                  </a:lnTo>
                  <a:lnTo>
                    <a:pt x="102" y="83"/>
                  </a:lnTo>
                  <a:lnTo>
                    <a:pt x="103" y="85"/>
                  </a:lnTo>
                  <a:lnTo>
                    <a:pt x="105" y="85"/>
                  </a:lnTo>
                  <a:lnTo>
                    <a:pt x="106" y="83"/>
                  </a:lnTo>
                  <a:lnTo>
                    <a:pt x="108" y="87"/>
                  </a:lnTo>
                  <a:lnTo>
                    <a:pt x="110" y="93"/>
                  </a:lnTo>
                  <a:lnTo>
                    <a:pt x="111" y="98"/>
                  </a:lnTo>
                  <a:lnTo>
                    <a:pt x="111" y="103"/>
                  </a:lnTo>
                  <a:lnTo>
                    <a:pt x="108" y="101"/>
                  </a:lnTo>
                  <a:lnTo>
                    <a:pt x="110" y="106"/>
                  </a:lnTo>
                  <a:lnTo>
                    <a:pt x="110" y="109"/>
                  </a:lnTo>
                  <a:lnTo>
                    <a:pt x="108" y="114"/>
                  </a:lnTo>
                  <a:lnTo>
                    <a:pt x="103" y="117"/>
                  </a:lnTo>
                  <a:lnTo>
                    <a:pt x="102" y="115"/>
                  </a:lnTo>
                  <a:lnTo>
                    <a:pt x="99" y="114"/>
                  </a:lnTo>
                  <a:lnTo>
                    <a:pt x="95" y="114"/>
                  </a:lnTo>
                  <a:lnTo>
                    <a:pt x="91" y="113"/>
                  </a:lnTo>
                  <a:lnTo>
                    <a:pt x="92" y="115"/>
                  </a:lnTo>
                  <a:lnTo>
                    <a:pt x="91" y="115"/>
                  </a:lnTo>
                  <a:lnTo>
                    <a:pt x="89" y="117"/>
                  </a:lnTo>
                  <a:lnTo>
                    <a:pt x="87" y="118"/>
                  </a:lnTo>
                  <a:lnTo>
                    <a:pt x="90" y="118"/>
                  </a:lnTo>
                  <a:lnTo>
                    <a:pt x="91" y="119"/>
                  </a:lnTo>
                  <a:lnTo>
                    <a:pt x="91" y="124"/>
                  </a:lnTo>
                  <a:lnTo>
                    <a:pt x="89" y="122"/>
                  </a:lnTo>
                  <a:lnTo>
                    <a:pt x="85" y="120"/>
                  </a:lnTo>
                  <a:lnTo>
                    <a:pt x="81" y="119"/>
                  </a:lnTo>
                  <a:lnTo>
                    <a:pt x="79" y="118"/>
                  </a:lnTo>
                  <a:lnTo>
                    <a:pt x="79" y="117"/>
                  </a:lnTo>
                  <a:lnTo>
                    <a:pt x="78" y="119"/>
                  </a:lnTo>
                  <a:lnTo>
                    <a:pt x="74" y="120"/>
                  </a:lnTo>
                  <a:lnTo>
                    <a:pt x="71" y="120"/>
                  </a:lnTo>
                  <a:lnTo>
                    <a:pt x="69" y="123"/>
                  </a:lnTo>
                  <a:lnTo>
                    <a:pt x="73" y="125"/>
                  </a:lnTo>
                  <a:lnTo>
                    <a:pt x="74" y="127"/>
                  </a:lnTo>
                  <a:lnTo>
                    <a:pt x="73" y="128"/>
                  </a:lnTo>
                  <a:lnTo>
                    <a:pt x="71" y="129"/>
                  </a:lnTo>
                  <a:lnTo>
                    <a:pt x="73" y="131"/>
                  </a:lnTo>
                  <a:lnTo>
                    <a:pt x="69" y="127"/>
                  </a:lnTo>
                  <a:lnTo>
                    <a:pt x="65" y="123"/>
                  </a:lnTo>
                  <a:lnTo>
                    <a:pt x="64" y="127"/>
                  </a:lnTo>
                  <a:lnTo>
                    <a:pt x="67" y="129"/>
                  </a:lnTo>
                  <a:lnTo>
                    <a:pt x="69" y="133"/>
                  </a:lnTo>
                  <a:lnTo>
                    <a:pt x="65" y="133"/>
                  </a:lnTo>
                  <a:lnTo>
                    <a:pt x="68" y="134"/>
                  </a:lnTo>
                  <a:lnTo>
                    <a:pt x="67" y="136"/>
                  </a:lnTo>
                  <a:lnTo>
                    <a:pt x="64" y="135"/>
                  </a:lnTo>
                  <a:lnTo>
                    <a:pt x="63" y="134"/>
                  </a:lnTo>
                  <a:lnTo>
                    <a:pt x="60" y="131"/>
                  </a:lnTo>
                  <a:lnTo>
                    <a:pt x="63" y="131"/>
                  </a:lnTo>
                  <a:lnTo>
                    <a:pt x="64" y="129"/>
                  </a:lnTo>
                  <a:lnTo>
                    <a:pt x="63" y="128"/>
                  </a:lnTo>
                  <a:lnTo>
                    <a:pt x="60" y="127"/>
                  </a:lnTo>
                  <a:lnTo>
                    <a:pt x="58" y="128"/>
                  </a:lnTo>
                  <a:lnTo>
                    <a:pt x="57" y="131"/>
                  </a:lnTo>
                  <a:lnTo>
                    <a:pt x="55" y="135"/>
                  </a:lnTo>
                  <a:lnTo>
                    <a:pt x="55" y="138"/>
                  </a:lnTo>
                  <a:lnTo>
                    <a:pt x="49" y="134"/>
                  </a:lnTo>
                  <a:lnTo>
                    <a:pt x="49" y="138"/>
                  </a:lnTo>
                  <a:lnTo>
                    <a:pt x="47" y="141"/>
                  </a:lnTo>
                  <a:lnTo>
                    <a:pt x="44" y="139"/>
                  </a:lnTo>
                  <a:lnTo>
                    <a:pt x="43" y="136"/>
                  </a:lnTo>
                  <a:lnTo>
                    <a:pt x="44" y="134"/>
                  </a:lnTo>
                  <a:lnTo>
                    <a:pt x="41" y="134"/>
                  </a:lnTo>
                  <a:lnTo>
                    <a:pt x="38" y="133"/>
                  </a:lnTo>
                  <a:lnTo>
                    <a:pt x="36" y="130"/>
                  </a:lnTo>
                  <a:lnTo>
                    <a:pt x="36" y="128"/>
                  </a:lnTo>
                  <a:lnTo>
                    <a:pt x="38" y="130"/>
                  </a:lnTo>
                  <a:lnTo>
                    <a:pt x="41" y="131"/>
                  </a:lnTo>
                  <a:lnTo>
                    <a:pt x="40" y="129"/>
                  </a:lnTo>
                  <a:lnTo>
                    <a:pt x="42" y="129"/>
                  </a:lnTo>
                  <a:lnTo>
                    <a:pt x="37" y="127"/>
                  </a:lnTo>
                  <a:lnTo>
                    <a:pt x="40" y="127"/>
                  </a:lnTo>
                  <a:lnTo>
                    <a:pt x="42" y="124"/>
                  </a:lnTo>
                  <a:lnTo>
                    <a:pt x="40" y="122"/>
                  </a:lnTo>
                  <a:lnTo>
                    <a:pt x="38" y="124"/>
                  </a:lnTo>
                  <a:lnTo>
                    <a:pt x="37" y="124"/>
                  </a:lnTo>
                  <a:lnTo>
                    <a:pt x="35" y="122"/>
                  </a:lnTo>
                  <a:lnTo>
                    <a:pt x="31" y="117"/>
                  </a:lnTo>
                  <a:lnTo>
                    <a:pt x="28" y="114"/>
                  </a:lnTo>
                  <a:lnTo>
                    <a:pt x="33" y="115"/>
                  </a:lnTo>
                  <a:lnTo>
                    <a:pt x="31" y="112"/>
                  </a:lnTo>
                  <a:lnTo>
                    <a:pt x="30" y="107"/>
                  </a:lnTo>
                  <a:lnTo>
                    <a:pt x="31" y="102"/>
                  </a:lnTo>
                  <a:lnTo>
                    <a:pt x="33" y="99"/>
                  </a:lnTo>
                  <a:lnTo>
                    <a:pt x="28" y="98"/>
                  </a:lnTo>
                  <a:lnTo>
                    <a:pt x="30" y="96"/>
                  </a:lnTo>
                  <a:lnTo>
                    <a:pt x="31" y="95"/>
                  </a:lnTo>
                  <a:lnTo>
                    <a:pt x="32" y="92"/>
                  </a:lnTo>
                  <a:lnTo>
                    <a:pt x="33" y="88"/>
                  </a:lnTo>
                  <a:lnTo>
                    <a:pt x="28" y="88"/>
                  </a:lnTo>
                  <a:lnTo>
                    <a:pt x="32" y="83"/>
                  </a:lnTo>
                  <a:lnTo>
                    <a:pt x="31" y="85"/>
                  </a:lnTo>
                  <a:lnTo>
                    <a:pt x="27" y="85"/>
                  </a:lnTo>
                  <a:lnTo>
                    <a:pt x="25" y="83"/>
                  </a:lnTo>
                  <a:lnTo>
                    <a:pt x="22" y="81"/>
                  </a:lnTo>
                  <a:lnTo>
                    <a:pt x="20" y="75"/>
                  </a:lnTo>
                  <a:lnTo>
                    <a:pt x="19" y="72"/>
                  </a:lnTo>
                  <a:lnTo>
                    <a:pt x="20" y="70"/>
                  </a:lnTo>
                  <a:lnTo>
                    <a:pt x="17" y="71"/>
                  </a:lnTo>
                  <a:lnTo>
                    <a:pt x="16" y="70"/>
                  </a:lnTo>
                  <a:lnTo>
                    <a:pt x="16" y="66"/>
                  </a:lnTo>
                  <a:lnTo>
                    <a:pt x="15" y="64"/>
                  </a:lnTo>
                  <a:lnTo>
                    <a:pt x="12" y="63"/>
                  </a:lnTo>
                  <a:lnTo>
                    <a:pt x="10" y="63"/>
                  </a:lnTo>
                  <a:lnTo>
                    <a:pt x="10" y="65"/>
                  </a:lnTo>
                  <a:lnTo>
                    <a:pt x="8" y="63"/>
                  </a:lnTo>
                  <a:lnTo>
                    <a:pt x="6" y="61"/>
                  </a:lnTo>
                  <a:lnTo>
                    <a:pt x="4" y="60"/>
                  </a:lnTo>
                  <a:lnTo>
                    <a:pt x="3" y="58"/>
                  </a:lnTo>
                  <a:lnTo>
                    <a:pt x="5" y="58"/>
                  </a:lnTo>
                  <a:lnTo>
                    <a:pt x="5" y="56"/>
                  </a:lnTo>
                  <a:lnTo>
                    <a:pt x="4" y="54"/>
                  </a:lnTo>
                  <a:lnTo>
                    <a:pt x="5" y="56"/>
                  </a:lnTo>
                  <a:lnTo>
                    <a:pt x="6" y="58"/>
                  </a:lnTo>
                  <a:lnTo>
                    <a:pt x="6" y="56"/>
                  </a:lnTo>
                  <a:lnTo>
                    <a:pt x="6" y="54"/>
                  </a:lnTo>
                  <a:lnTo>
                    <a:pt x="9" y="55"/>
                  </a:lnTo>
                  <a:lnTo>
                    <a:pt x="10" y="58"/>
                  </a:lnTo>
                  <a:lnTo>
                    <a:pt x="11" y="54"/>
                  </a:lnTo>
                  <a:lnTo>
                    <a:pt x="10" y="52"/>
                  </a:lnTo>
                  <a:lnTo>
                    <a:pt x="14" y="54"/>
                  </a:lnTo>
                  <a:lnTo>
                    <a:pt x="16" y="55"/>
                  </a:lnTo>
                  <a:lnTo>
                    <a:pt x="20" y="56"/>
                  </a:lnTo>
                  <a:lnTo>
                    <a:pt x="22" y="60"/>
                  </a:lnTo>
                  <a:lnTo>
                    <a:pt x="22" y="58"/>
                  </a:lnTo>
                  <a:lnTo>
                    <a:pt x="24" y="55"/>
                  </a:lnTo>
                  <a:lnTo>
                    <a:pt x="20" y="54"/>
                  </a:lnTo>
                  <a:lnTo>
                    <a:pt x="19" y="53"/>
                  </a:lnTo>
                  <a:lnTo>
                    <a:pt x="19" y="50"/>
                  </a:lnTo>
                  <a:lnTo>
                    <a:pt x="16" y="50"/>
                  </a:lnTo>
                  <a:lnTo>
                    <a:pt x="14" y="48"/>
                  </a:lnTo>
                  <a:lnTo>
                    <a:pt x="12" y="45"/>
                  </a:lnTo>
                  <a:lnTo>
                    <a:pt x="14" y="44"/>
                  </a:lnTo>
                  <a:lnTo>
                    <a:pt x="16" y="44"/>
                  </a:lnTo>
                  <a:lnTo>
                    <a:pt x="11" y="42"/>
                  </a:lnTo>
                  <a:lnTo>
                    <a:pt x="6" y="38"/>
                  </a:lnTo>
                  <a:lnTo>
                    <a:pt x="5" y="33"/>
                  </a:lnTo>
                  <a:lnTo>
                    <a:pt x="3" y="32"/>
                  </a:lnTo>
                  <a:lnTo>
                    <a:pt x="0" y="29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4" name="Freeform 1638">
              <a:extLst>
                <a:ext uri="{FF2B5EF4-FFF2-40B4-BE49-F238E27FC236}">
                  <a16:creationId xmlns:a16="http://schemas.microsoft.com/office/drawing/2014/main" id="{AB0CBEE2-246D-4ED0-87A5-54BE1CDF220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83744" y="3826245"/>
              <a:ext cx="252948" cy="299322"/>
            </a:xfrm>
            <a:custGeom>
              <a:avLst/>
              <a:gdLst>
                <a:gd name="T0" fmla="*/ 6 w 239"/>
                <a:gd name="T1" fmla="*/ 55 h 283"/>
                <a:gd name="T2" fmla="*/ 9 w 239"/>
                <a:gd name="T3" fmla="*/ 53 h 283"/>
                <a:gd name="T4" fmla="*/ 17 w 239"/>
                <a:gd name="T5" fmla="*/ 38 h 283"/>
                <a:gd name="T6" fmla="*/ 28 w 239"/>
                <a:gd name="T7" fmla="*/ 38 h 283"/>
                <a:gd name="T8" fmla="*/ 38 w 239"/>
                <a:gd name="T9" fmla="*/ 42 h 283"/>
                <a:gd name="T10" fmla="*/ 43 w 239"/>
                <a:gd name="T11" fmla="*/ 37 h 283"/>
                <a:gd name="T12" fmla="*/ 43 w 239"/>
                <a:gd name="T13" fmla="*/ 28 h 283"/>
                <a:gd name="T14" fmla="*/ 33 w 239"/>
                <a:gd name="T15" fmla="*/ 6 h 283"/>
                <a:gd name="T16" fmla="*/ 40 w 239"/>
                <a:gd name="T17" fmla="*/ 2 h 283"/>
                <a:gd name="T18" fmla="*/ 48 w 239"/>
                <a:gd name="T19" fmla="*/ 2 h 283"/>
                <a:gd name="T20" fmla="*/ 67 w 239"/>
                <a:gd name="T21" fmla="*/ 26 h 283"/>
                <a:gd name="T22" fmla="*/ 71 w 239"/>
                <a:gd name="T23" fmla="*/ 22 h 283"/>
                <a:gd name="T24" fmla="*/ 76 w 239"/>
                <a:gd name="T25" fmla="*/ 33 h 283"/>
                <a:gd name="T26" fmla="*/ 86 w 239"/>
                <a:gd name="T27" fmla="*/ 54 h 283"/>
                <a:gd name="T28" fmla="*/ 105 w 239"/>
                <a:gd name="T29" fmla="*/ 53 h 283"/>
                <a:gd name="T30" fmla="*/ 125 w 239"/>
                <a:gd name="T31" fmla="*/ 58 h 283"/>
                <a:gd name="T32" fmla="*/ 123 w 239"/>
                <a:gd name="T33" fmla="*/ 66 h 283"/>
                <a:gd name="T34" fmla="*/ 131 w 239"/>
                <a:gd name="T35" fmla="*/ 74 h 283"/>
                <a:gd name="T36" fmla="*/ 141 w 239"/>
                <a:gd name="T37" fmla="*/ 81 h 283"/>
                <a:gd name="T38" fmla="*/ 135 w 239"/>
                <a:gd name="T39" fmla="*/ 91 h 283"/>
                <a:gd name="T40" fmla="*/ 116 w 239"/>
                <a:gd name="T41" fmla="*/ 92 h 283"/>
                <a:gd name="T42" fmla="*/ 118 w 239"/>
                <a:gd name="T43" fmla="*/ 101 h 283"/>
                <a:gd name="T44" fmla="*/ 118 w 239"/>
                <a:gd name="T45" fmla="*/ 108 h 283"/>
                <a:gd name="T46" fmla="*/ 131 w 239"/>
                <a:gd name="T47" fmla="*/ 116 h 283"/>
                <a:gd name="T48" fmla="*/ 148 w 239"/>
                <a:gd name="T49" fmla="*/ 124 h 283"/>
                <a:gd name="T50" fmla="*/ 153 w 239"/>
                <a:gd name="T51" fmla="*/ 133 h 283"/>
                <a:gd name="T52" fmla="*/ 164 w 239"/>
                <a:gd name="T53" fmla="*/ 143 h 283"/>
                <a:gd name="T54" fmla="*/ 180 w 239"/>
                <a:gd name="T55" fmla="*/ 163 h 283"/>
                <a:gd name="T56" fmla="*/ 196 w 239"/>
                <a:gd name="T57" fmla="*/ 177 h 283"/>
                <a:gd name="T58" fmla="*/ 202 w 239"/>
                <a:gd name="T59" fmla="*/ 194 h 283"/>
                <a:gd name="T60" fmla="*/ 211 w 239"/>
                <a:gd name="T61" fmla="*/ 199 h 283"/>
                <a:gd name="T62" fmla="*/ 220 w 239"/>
                <a:gd name="T63" fmla="*/ 205 h 283"/>
                <a:gd name="T64" fmla="*/ 227 w 239"/>
                <a:gd name="T65" fmla="*/ 216 h 283"/>
                <a:gd name="T66" fmla="*/ 231 w 239"/>
                <a:gd name="T67" fmla="*/ 229 h 283"/>
                <a:gd name="T68" fmla="*/ 237 w 239"/>
                <a:gd name="T69" fmla="*/ 246 h 283"/>
                <a:gd name="T70" fmla="*/ 238 w 239"/>
                <a:gd name="T71" fmla="*/ 257 h 283"/>
                <a:gd name="T72" fmla="*/ 215 w 239"/>
                <a:gd name="T73" fmla="*/ 266 h 283"/>
                <a:gd name="T74" fmla="*/ 206 w 239"/>
                <a:gd name="T75" fmla="*/ 264 h 283"/>
                <a:gd name="T76" fmla="*/ 198 w 239"/>
                <a:gd name="T77" fmla="*/ 268 h 283"/>
                <a:gd name="T78" fmla="*/ 200 w 239"/>
                <a:gd name="T79" fmla="*/ 279 h 283"/>
                <a:gd name="T80" fmla="*/ 188 w 239"/>
                <a:gd name="T81" fmla="*/ 278 h 283"/>
                <a:gd name="T82" fmla="*/ 172 w 239"/>
                <a:gd name="T83" fmla="*/ 270 h 283"/>
                <a:gd name="T84" fmla="*/ 179 w 239"/>
                <a:gd name="T85" fmla="*/ 253 h 283"/>
                <a:gd name="T86" fmla="*/ 179 w 239"/>
                <a:gd name="T87" fmla="*/ 236 h 283"/>
                <a:gd name="T88" fmla="*/ 178 w 239"/>
                <a:gd name="T89" fmla="*/ 224 h 283"/>
                <a:gd name="T90" fmla="*/ 172 w 239"/>
                <a:gd name="T91" fmla="*/ 214 h 283"/>
                <a:gd name="T92" fmla="*/ 148 w 239"/>
                <a:gd name="T93" fmla="*/ 182 h 283"/>
                <a:gd name="T94" fmla="*/ 134 w 239"/>
                <a:gd name="T95" fmla="*/ 155 h 283"/>
                <a:gd name="T96" fmla="*/ 111 w 239"/>
                <a:gd name="T97" fmla="*/ 135 h 283"/>
                <a:gd name="T98" fmla="*/ 100 w 239"/>
                <a:gd name="T99" fmla="*/ 139 h 283"/>
                <a:gd name="T100" fmla="*/ 91 w 239"/>
                <a:gd name="T101" fmla="*/ 149 h 283"/>
                <a:gd name="T102" fmla="*/ 80 w 239"/>
                <a:gd name="T103" fmla="*/ 149 h 283"/>
                <a:gd name="T104" fmla="*/ 66 w 239"/>
                <a:gd name="T105" fmla="*/ 141 h 283"/>
                <a:gd name="T106" fmla="*/ 56 w 239"/>
                <a:gd name="T107" fmla="*/ 151 h 283"/>
                <a:gd name="T108" fmla="*/ 41 w 239"/>
                <a:gd name="T109" fmla="*/ 165 h 283"/>
                <a:gd name="T110" fmla="*/ 39 w 239"/>
                <a:gd name="T111" fmla="*/ 147 h 283"/>
                <a:gd name="T112" fmla="*/ 40 w 239"/>
                <a:gd name="T113" fmla="*/ 125 h 283"/>
                <a:gd name="T114" fmla="*/ 36 w 239"/>
                <a:gd name="T115" fmla="*/ 104 h 283"/>
                <a:gd name="T116" fmla="*/ 24 w 239"/>
                <a:gd name="T117" fmla="*/ 97 h 283"/>
                <a:gd name="T118" fmla="*/ 16 w 239"/>
                <a:gd name="T119" fmla="*/ 97 h 283"/>
                <a:gd name="T120" fmla="*/ 13 w 239"/>
                <a:gd name="T121" fmla="*/ 77 h 283"/>
                <a:gd name="T122" fmla="*/ 3 w 239"/>
                <a:gd name="T123" fmla="*/ 71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9" h="283">
                  <a:moveTo>
                    <a:pt x="0" y="70"/>
                  </a:moveTo>
                  <a:lnTo>
                    <a:pt x="0" y="63"/>
                  </a:lnTo>
                  <a:lnTo>
                    <a:pt x="1" y="59"/>
                  </a:lnTo>
                  <a:lnTo>
                    <a:pt x="3" y="57"/>
                  </a:lnTo>
                  <a:lnTo>
                    <a:pt x="6" y="55"/>
                  </a:lnTo>
                  <a:lnTo>
                    <a:pt x="8" y="55"/>
                  </a:lnTo>
                  <a:lnTo>
                    <a:pt x="11" y="55"/>
                  </a:lnTo>
                  <a:lnTo>
                    <a:pt x="12" y="53"/>
                  </a:lnTo>
                  <a:lnTo>
                    <a:pt x="11" y="53"/>
                  </a:lnTo>
                  <a:lnTo>
                    <a:pt x="9" y="53"/>
                  </a:lnTo>
                  <a:lnTo>
                    <a:pt x="9" y="50"/>
                  </a:lnTo>
                  <a:lnTo>
                    <a:pt x="11" y="47"/>
                  </a:lnTo>
                  <a:lnTo>
                    <a:pt x="12" y="44"/>
                  </a:lnTo>
                  <a:lnTo>
                    <a:pt x="13" y="41"/>
                  </a:lnTo>
                  <a:lnTo>
                    <a:pt x="17" y="38"/>
                  </a:lnTo>
                  <a:lnTo>
                    <a:pt x="22" y="36"/>
                  </a:lnTo>
                  <a:lnTo>
                    <a:pt x="23" y="33"/>
                  </a:lnTo>
                  <a:lnTo>
                    <a:pt x="24" y="31"/>
                  </a:lnTo>
                  <a:lnTo>
                    <a:pt x="25" y="33"/>
                  </a:lnTo>
                  <a:lnTo>
                    <a:pt x="28" y="38"/>
                  </a:lnTo>
                  <a:lnTo>
                    <a:pt x="29" y="42"/>
                  </a:lnTo>
                  <a:lnTo>
                    <a:pt x="32" y="42"/>
                  </a:lnTo>
                  <a:lnTo>
                    <a:pt x="33" y="42"/>
                  </a:lnTo>
                  <a:lnTo>
                    <a:pt x="36" y="41"/>
                  </a:lnTo>
                  <a:lnTo>
                    <a:pt x="38" y="42"/>
                  </a:lnTo>
                  <a:lnTo>
                    <a:pt x="40" y="43"/>
                  </a:lnTo>
                  <a:lnTo>
                    <a:pt x="43" y="44"/>
                  </a:lnTo>
                  <a:lnTo>
                    <a:pt x="45" y="43"/>
                  </a:lnTo>
                  <a:lnTo>
                    <a:pt x="44" y="41"/>
                  </a:lnTo>
                  <a:lnTo>
                    <a:pt x="43" y="37"/>
                  </a:lnTo>
                  <a:lnTo>
                    <a:pt x="41" y="36"/>
                  </a:lnTo>
                  <a:lnTo>
                    <a:pt x="41" y="33"/>
                  </a:lnTo>
                  <a:lnTo>
                    <a:pt x="43" y="32"/>
                  </a:lnTo>
                  <a:lnTo>
                    <a:pt x="43" y="29"/>
                  </a:lnTo>
                  <a:lnTo>
                    <a:pt x="43" y="28"/>
                  </a:lnTo>
                  <a:lnTo>
                    <a:pt x="40" y="23"/>
                  </a:lnTo>
                  <a:lnTo>
                    <a:pt x="36" y="18"/>
                  </a:lnTo>
                  <a:lnTo>
                    <a:pt x="34" y="13"/>
                  </a:lnTo>
                  <a:lnTo>
                    <a:pt x="33" y="9"/>
                  </a:lnTo>
                  <a:lnTo>
                    <a:pt x="33" y="6"/>
                  </a:lnTo>
                  <a:lnTo>
                    <a:pt x="33" y="2"/>
                  </a:lnTo>
                  <a:lnTo>
                    <a:pt x="35" y="0"/>
                  </a:lnTo>
                  <a:lnTo>
                    <a:pt x="38" y="0"/>
                  </a:lnTo>
                  <a:lnTo>
                    <a:pt x="39" y="1"/>
                  </a:lnTo>
                  <a:lnTo>
                    <a:pt x="40" y="2"/>
                  </a:lnTo>
                  <a:lnTo>
                    <a:pt x="43" y="1"/>
                  </a:lnTo>
                  <a:lnTo>
                    <a:pt x="45" y="1"/>
                  </a:lnTo>
                  <a:lnTo>
                    <a:pt x="46" y="1"/>
                  </a:lnTo>
                  <a:lnTo>
                    <a:pt x="46" y="1"/>
                  </a:lnTo>
                  <a:lnTo>
                    <a:pt x="48" y="2"/>
                  </a:lnTo>
                  <a:lnTo>
                    <a:pt x="49" y="5"/>
                  </a:lnTo>
                  <a:lnTo>
                    <a:pt x="51" y="9"/>
                  </a:lnTo>
                  <a:lnTo>
                    <a:pt x="62" y="18"/>
                  </a:lnTo>
                  <a:lnTo>
                    <a:pt x="65" y="23"/>
                  </a:lnTo>
                  <a:lnTo>
                    <a:pt x="67" y="26"/>
                  </a:lnTo>
                  <a:lnTo>
                    <a:pt x="68" y="27"/>
                  </a:lnTo>
                  <a:lnTo>
                    <a:pt x="70" y="25"/>
                  </a:lnTo>
                  <a:lnTo>
                    <a:pt x="71" y="23"/>
                  </a:lnTo>
                  <a:lnTo>
                    <a:pt x="70" y="22"/>
                  </a:lnTo>
                  <a:lnTo>
                    <a:pt x="71" y="22"/>
                  </a:lnTo>
                  <a:lnTo>
                    <a:pt x="72" y="25"/>
                  </a:lnTo>
                  <a:lnTo>
                    <a:pt x="73" y="26"/>
                  </a:lnTo>
                  <a:lnTo>
                    <a:pt x="75" y="26"/>
                  </a:lnTo>
                  <a:lnTo>
                    <a:pt x="76" y="28"/>
                  </a:lnTo>
                  <a:lnTo>
                    <a:pt x="76" y="33"/>
                  </a:lnTo>
                  <a:lnTo>
                    <a:pt x="75" y="37"/>
                  </a:lnTo>
                  <a:lnTo>
                    <a:pt x="76" y="41"/>
                  </a:lnTo>
                  <a:lnTo>
                    <a:pt x="78" y="45"/>
                  </a:lnTo>
                  <a:lnTo>
                    <a:pt x="82" y="50"/>
                  </a:lnTo>
                  <a:lnTo>
                    <a:pt x="86" y="54"/>
                  </a:lnTo>
                  <a:lnTo>
                    <a:pt x="91" y="55"/>
                  </a:lnTo>
                  <a:lnTo>
                    <a:pt x="97" y="57"/>
                  </a:lnTo>
                  <a:lnTo>
                    <a:pt x="102" y="60"/>
                  </a:lnTo>
                  <a:lnTo>
                    <a:pt x="104" y="55"/>
                  </a:lnTo>
                  <a:lnTo>
                    <a:pt x="105" y="53"/>
                  </a:lnTo>
                  <a:lnTo>
                    <a:pt x="108" y="52"/>
                  </a:lnTo>
                  <a:lnTo>
                    <a:pt x="111" y="50"/>
                  </a:lnTo>
                  <a:lnTo>
                    <a:pt x="114" y="52"/>
                  </a:lnTo>
                  <a:lnTo>
                    <a:pt x="120" y="55"/>
                  </a:lnTo>
                  <a:lnTo>
                    <a:pt x="125" y="58"/>
                  </a:lnTo>
                  <a:lnTo>
                    <a:pt x="126" y="60"/>
                  </a:lnTo>
                  <a:lnTo>
                    <a:pt x="127" y="61"/>
                  </a:lnTo>
                  <a:lnTo>
                    <a:pt x="126" y="64"/>
                  </a:lnTo>
                  <a:lnTo>
                    <a:pt x="125" y="65"/>
                  </a:lnTo>
                  <a:lnTo>
                    <a:pt x="123" y="66"/>
                  </a:lnTo>
                  <a:lnTo>
                    <a:pt x="121" y="68"/>
                  </a:lnTo>
                  <a:lnTo>
                    <a:pt x="126" y="69"/>
                  </a:lnTo>
                  <a:lnTo>
                    <a:pt x="129" y="69"/>
                  </a:lnTo>
                  <a:lnTo>
                    <a:pt x="130" y="71"/>
                  </a:lnTo>
                  <a:lnTo>
                    <a:pt x="131" y="74"/>
                  </a:lnTo>
                  <a:lnTo>
                    <a:pt x="132" y="74"/>
                  </a:lnTo>
                  <a:lnTo>
                    <a:pt x="135" y="75"/>
                  </a:lnTo>
                  <a:lnTo>
                    <a:pt x="137" y="76"/>
                  </a:lnTo>
                  <a:lnTo>
                    <a:pt x="140" y="77"/>
                  </a:lnTo>
                  <a:lnTo>
                    <a:pt x="141" y="81"/>
                  </a:lnTo>
                  <a:lnTo>
                    <a:pt x="139" y="84"/>
                  </a:lnTo>
                  <a:lnTo>
                    <a:pt x="136" y="86"/>
                  </a:lnTo>
                  <a:lnTo>
                    <a:pt x="137" y="87"/>
                  </a:lnTo>
                  <a:lnTo>
                    <a:pt x="137" y="88"/>
                  </a:lnTo>
                  <a:lnTo>
                    <a:pt x="135" y="91"/>
                  </a:lnTo>
                  <a:lnTo>
                    <a:pt x="130" y="93"/>
                  </a:lnTo>
                  <a:lnTo>
                    <a:pt x="126" y="93"/>
                  </a:lnTo>
                  <a:lnTo>
                    <a:pt x="124" y="93"/>
                  </a:lnTo>
                  <a:lnTo>
                    <a:pt x="120" y="92"/>
                  </a:lnTo>
                  <a:lnTo>
                    <a:pt x="116" y="92"/>
                  </a:lnTo>
                  <a:lnTo>
                    <a:pt x="115" y="92"/>
                  </a:lnTo>
                  <a:lnTo>
                    <a:pt x="115" y="95"/>
                  </a:lnTo>
                  <a:lnTo>
                    <a:pt x="116" y="97"/>
                  </a:lnTo>
                  <a:lnTo>
                    <a:pt x="119" y="100"/>
                  </a:lnTo>
                  <a:lnTo>
                    <a:pt x="118" y="101"/>
                  </a:lnTo>
                  <a:lnTo>
                    <a:pt x="116" y="102"/>
                  </a:lnTo>
                  <a:lnTo>
                    <a:pt x="114" y="103"/>
                  </a:lnTo>
                  <a:lnTo>
                    <a:pt x="114" y="104"/>
                  </a:lnTo>
                  <a:lnTo>
                    <a:pt x="116" y="107"/>
                  </a:lnTo>
                  <a:lnTo>
                    <a:pt x="118" y="108"/>
                  </a:lnTo>
                  <a:lnTo>
                    <a:pt x="119" y="108"/>
                  </a:lnTo>
                  <a:lnTo>
                    <a:pt x="120" y="108"/>
                  </a:lnTo>
                  <a:lnTo>
                    <a:pt x="123" y="109"/>
                  </a:lnTo>
                  <a:lnTo>
                    <a:pt x="126" y="112"/>
                  </a:lnTo>
                  <a:lnTo>
                    <a:pt x="131" y="116"/>
                  </a:lnTo>
                  <a:lnTo>
                    <a:pt x="135" y="118"/>
                  </a:lnTo>
                  <a:lnTo>
                    <a:pt x="139" y="120"/>
                  </a:lnTo>
                  <a:lnTo>
                    <a:pt x="140" y="122"/>
                  </a:lnTo>
                  <a:lnTo>
                    <a:pt x="142" y="123"/>
                  </a:lnTo>
                  <a:lnTo>
                    <a:pt x="148" y="124"/>
                  </a:lnTo>
                  <a:lnTo>
                    <a:pt x="152" y="125"/>
                  </a:lnTo>
                  <a:lnTo>
                    <a:pt x="153" y="127"/>
                  </a:lnTo>
                  <a:lnTo>
                    <a:pt x="153" y="128"/>
                  </a:lnTo>
                  <a:lnTo>
                    <a:pt x="152" y="130"/>
                  </a:lnTo>
                  <a:lnTo>
                    <a:pt x="153" y="133"/>
                  </a:lnTo>
                  <a:lnTo>
                    <a:pt x="155" y="136"/>
                  </a:lnTo>
                  <a:lnTo>
                    <a:pt x="159" y="140"/>
                  </a:lnTo>
                  <a:lnTo>
                    <a:pt x="161" y="141"/>
                  </a:lnTo>
                  <a:lnTo>
                    <a:pt x="163" y="143"/>
                  </a:lnTo>
                  <a:lnTo>
                    <a:pt x="164" y="143"/>
                  </a:lnTo>
                  <a:lnTo>
                    <a:pt x="167" y="145"/>
                  </a:lnTo>
                  <a:lnTo>
                    <a:pt x="168" y="149"/>
                  </a:lnTo>
                  <a:lnTo>
                    <a:pt x="173" y="156"/>
                  </a:lnTo>
                  <a:lnTo>
                    <a:pt x="178" y="161"/>
                  </a:lnTo>
                  <a:lnTo>
                    <a:pt x="180" y="163"/>
                  </a:lnTo>
                  <a:lnTo>
                    <a:pt x="184" y="167"/>
                  </a:lnTo>
                  <a:lnTo>
                    <a:pt x="188" y="171"/>
                  </a:lnTo>
                  <a:lnTo>
                    <a:pt x="190" y="172"/>
                  </a:lnTo>
                  <a:lnTo>
                    <a:pt x="194" y="175"/>
                  </a:lnTo>
                  <a:lnTo>
                    <a:pt x="196" y="177"/>
                  </a:lnTo>
                  <a:lnTo>
                    <a:pt x="198" y="181"/>
                  </a:lnTo>
                  <a:lnTo>
                    <a:pt x="199" y="183"/>
                  </a:lnTo>
                  <a:lnTo>
                    <a:pt x="200" y="186"/>
                  </a:lnTo>
                  <a:lnTo>
                    <a:pt x="201" y="189"/>
                  </a:lnTo>
                  <a:lnTo>
                    <a:pt x="202" y="194"/>
                  </a:lnTo>
                  <a:lnTo>
                    <a:pt x="205" y="197"/>
                  </a:lnTo>
                  <a:lnTo>
                    <a:pt x="206" y="199"/>
                  </a:lnTo>
                  <a:lnTo>
                    <a:pt x="207" y="199"/>
                  </a:lnTo>
                  <a:lnTo>
                    <a:pt x="210" y="199"/>
                  </a:lnTo>
                  <a:lnTo>
                    <a:pt x="211" y="199"/>
                  </a:lnTo>
                  <a:lnTo>
                    <a:pt x="214" y="200"/>
                  </a:lnTo>
                  <a:lnTo>
                    <a:pt x="215" y="202"/>
                  </a:lnTo>
                  <a:lnTo>
                    <a:pt x="215" y="203"/>
                  </a:lnTo>
                  <a:lnTo>
                    <a:pt x="217" y="204"/>
                  </a:lnTo>
                  <a:lnTo>
                    <a:pt x="220" y="205"/>
                  </a:lnTo>
                  <a:lnTo>
                    <a:pt x="222" y="208"/>
                  </a:lnTo>
                  <a:lnTo>
                    <a:pt x="226" y="211"/>
                  </a:lnTo>
                  <a:lnTo>
                    <a:pt x="231" y="213"/>
                  </a:lnTo>
                  <a:lnTo>
                    <a:pt x="228" y="215"/>
                  </a:lnTo>
                  <a:lnTo>
                    <a:pt x="227" y="216"/>
                  </a:lnTo>
                  <a:lnTo>
                    <a:pt x="225" y="219"/>
                  </a:lnTo>
                  <a:lnTo>
                    <a:pt x="223" y="221"/>
                  </a:lnTo>
                  <a:lnTo>
                    <a:pt x="223" y="224"/>
                  </a:lnTo>
                  <a:lnTo>
                    <a:pt x="227" y="226"/>
                  </a:lnTo>
                  <a:lnTo>
                    <a:pt x="231" y="229"/>
                  </a:lnTo>
                  <a:lnTo>
                    <a:pt x="233" y="231"/>
                  </a:lnTo>
                  <a:lnTo>
                    <a:pt x="238" y="236"/>
                  </a:lnTo>
                  <a:lnTo>
                    <a:pt x="239" y="240"/>
                  </a:lnTo>
                  <a:lnTo>
                    <a:pt x="239" y="243"/>
                  </a:lnTo>
                  <a:lnTo>
                    <a:pt x="237" y="246"/>
                  </a:lnTo>
                  <a:lnTo>
                    <a:pt x="236" y="248"/>
                  </a:lnTo>
                  <a:lnTo>
                    <a:pt x="236" y="250"/>
                  </a:lnTo>
                  <a:lnTo>
                    <a:pt x="237" y="251"/>
                  </a:lnTo>
                  <a:lnTo>
                    <a:pt x="238" y="253"/>
                  </a:lnTo>
                  <a:lnTo>
                    <a:pt x="238" y="257"/>
                  </a:lnTo>
                  <a:lnTo>
                    <a:pt x="234" y="262"/>
                  </a:lnTo>
                  <a:lnTo>
                    <a:pt x="230" y="266"/>
                  </a:lnTo>
                  <a:lnTo>
                    <a:pt x="223" y="268"/>
                  </a:lnTo>
                  <a:lnTo>
                    <a:pt x="218" y="268"/>
                  </a:lnTo>
                  <a:lnTo>
                    <a:pt x="215" y="266"/>
                  </a:lnTo>
                  <a:lnTo>
                    <a:pt x="211" y="263"/>
                  </a:lnTo>
                  <a:lnTo>
                    <a:pt x="209" y="261"/>
                  </a:lnTo>
                  <a:lnTo>
                    <a:pt x="207" y="262"/>
                  </a:lnTo>
                  <a:lnTo>
                    <a:pt x="207" y="262"/>
                  </a:lnTo>
                  <a:lnTo>
                    <a:pt x="206" y="264"/>
                  </a:lnTo>
                  <a:lnTo>
                    <a:pt x="204" y="264"/>
                  </a:lnTo>
                  <a:lnTo>
                    <a:pt x="201" y="264"/>
                  </a:lnTo>
                  <a:lnTo>
                    <a:pt x="201" y="266"/>
                  </a:lnTo>
                  <a:lnTo>
                    <a:pt x="200" y="268"/>
                  </a:lnTo>
                  <a:lnTo>
                    <a:pt x="198" y="268"/>
                  </a:lnTo>
                  <a:lnTo>
                    <a:pt x="196" y="269"/>
                  </a:lnTo>
                  <a:lnTo>
                    <a:pt x="195" y="270"/>
                  </a:lnTo>
                  <a:lnTo>
                    <a:pt x="195" y="270"/>
                  </a:lnTo>
                  <a:lnTo>
                    <a:pt x="199" y="275"/>
                  </a:lnTo>
                  <a:lnTo>
                    <a:pt x="200" y="279"/>
                  </a:lnTo>
                  <a:lnTo>
                    <a:pt x="199" y="281"/>
                  </a:lnTo>
                  <a:lnTo>
                    <a:pt x="196" y="283"/>
                  </a:lnTo>
                  <a:lnTo>
                    <a:pt x="194" y="283"/>
                  </a:lnTo>
                  <a:lnTo>
                    <a:pt x="190" y="279"/>
                  </a:lnTo>
                  <a:lnTo>
                    <a:pt x="188" y="278"/>
                  </a:lnTo>
                  <a:lnTo>
                    <a:pt x="185" y="277"/>
                  </a:lnTo>
                  <a:lnTo>
                    <a:pt x="178" y="275"/>
                  </a:lnTo>
                  <a:lnTo>
                    <a:pt x="175" y="275"/>
                  </a:lnTo>
                  <a:lnTo>
                    <a:pt x="173" y="273"/>
                  </a:lnTo>
                  <a:lnTo>
                    <a:pt x="172" y="270"/>
                  </a:lnTo>
                  <a:lnTo>
                    <a:pt x="173" y="268"/>
                  </a:lnTo>
                  <a:lnTo>
                    <a:pt x="178" y="264"/>
                  </a:lnTo>
                  <a:lnTo>
                    <a:pt x="179" y="262"/>
                  </a:lnTo>
                  <a:lnTo>
                    <a:pt x="179" y="259"/>
                  </a:lnTo>
                  <a:lnTo>
                    <a:pt x="179" y="253"/>
                  </a:lnTo>
                  <a:lnTo>
                    <a:pt x="179" y="247"/>
                  </a:lnTo>
                  <a:lnTo>
                    <a:pt x="177" y="246"/>
                  </a:lnTo>
                  <a:lnTo>
                    <a:pt x="175" y="242"/>
                  </a:lnTo>
                  <a:lnTo>
                    <a:pt x="177" y="238"/>
                  </a:lnTo>
                  <a:lnTo>
                    <a:pt x="179" y="236"/>
                  </a:lnTo>
                  <a:lnTo>
                    <a:pt x="175" y="236"/>
                  </a:lnTo>
                  <a:lnTo>
                    <a:pt x="177" y="234"/>
                  </a:lnTo>
                  <a:lnTo>
                    <a:pt x="178" y="231"/>
                  </a:lnTo>
                  <a:lnTo>
                    <a:pt x="179" y="227"/>
                  </a:lnTo>
                  <a:lnTo>
                    <a:pt x="178" y="224"/>
                  </a:lnTo>
                  <a:lnTo>
                    <a:pt x="175" y="222"/>
                  </a:lnTo>
                  <a:lnTo>
                    <a:pt x="172" y="220"/>
                  </a:lnTo>
                  <a:lnTo>
                    <a:pt x="169" y="218"/>
                  </a:lnTo>
                  <a:lnTo>
                    <a:pt x="171" y="215"/>
                  </a:lnTo>
                  <a:lnTo>
                    <a:pt x="172" y="214"/>
                  </a:lnTo>
                  <a:lnTo>
                    <a:pt x="164" y="210"/>
                  </a:lnTo>
                  <a:lnTo>
                    <a:pt x="157" y="205"/>
                  </a:lnTo>
                  <a:lnTo>
                    <a:pt x="151" y="199"/>
                  </a:lnTo>
                  <a:lnTo>
                    <a:pt x="148" y="191"/>
                  </a:lnTo>
                  <a:lnTo>
                    <a:pt x="148" y="182"/>
                  </a:lnTo>
                  <a:lnTo>
                    <a:pt x="148" y="175"/>
                  </a:lnTo>
                  <a:lnTo>
                    <a:pt x="146" y="167"/>
                  </a:lnTo>
                  <a:lnTo>
                    <a:pt x="143" y="163"/>
                  </a:lnTo>
                  <a:lnTo>
                    <a:pt x="141" y="161"/>
                  </a:lnTo>
                  <a:lnTo>
                    <a:pt x="134" y="155"/>
                  </a:lnTo>
                  <a:lnTo>
                    <a:pt x="129" y="147"/>
                  </a:lnTo>
                  <a:lnTo>
                    <a:pt x="123" y="141"/>
                  </a:lnTo>
                  <a:lnTo>
                    <a:pt x="115" y="136"/>
                  </a:lnTo>
                  <a:lnTo>
                    <a:pt x="114" y="136"/>
                  </a:lnTo>
                  <a:lnTo>
                    <a:pt x="111" y="135"/>
                  </a:lnTo>
                  <a:lnTo>
                    <a:pt x="105" y="135"/>
                  </a:lnTo>
                  <a:lnTo>
                    <a:pt x="102" y="135"/>
                  </a:lnTo>
                  <a:lnTo>
                    <a:pt x="99" y="135"/>
                  </a:lnTo>
                  <a:lnTo>
                    <a:pt x="99" y="136"/>
                  </a:lnTo>
                  <a:lnTo>
                    <a:pt x="100" y="139"/>
                  </a:lnTo>
                  <a:lnTo>
                    <a:pt x="98" y="141"/>
                  </a:lnTo>
                  <a:lnTo>
                    <a:pt x="97" y="144"/>
                  </a:lnTo>
                  <a:lnTo>
                    <a:pt x="95" y="147"/>
                  </a:lnTo>
                  <a:lnTo>
                    <a:pt x="93" y="149"/>
                  </a:lnTo>
                  <a:lnTo>
                    <a:pt x="91" y="149"/>
                  </a:lnTo>
                  <a:lnTo>
                    <a:pt x="87" y="151"/>
                  </a:lnTo>
                  <a:lnTo>
                    <a:pt x="84" y="152"/>
                  </a:lnTo>
                  <a:lnTo>
                    <a:pt x="82" y="151"/>
                  </a:lnTo>
                  <a:lnTo>
                    <a:pt x="81" y="150"/>
                  </a:lnTo>
                  <a:lnTo>
                    <a:pt x="80" y="149"/>
                  </a:lnTo>
                  <a:lnTo>
                    <a:pt x="76" y="147"/>
                  </a:lnTo>
                  <a:lnTo>
                    <a:pt x="73" y="146"/>
                  </a:lnTo>
                  <a:lnTo>
                    <a:pt x="68" y="141"/>
                  </a:lnTo>
                  <a:lnTo>
                    <a:pt x="67" y="141"/>
                  </a:lnTo>
                  <a:lnTo>
                    <a:pt x="66" y="141"/>
                  </a:lnTo>
                  <a:lnTo>
                    <a:pt x="64" y="144"/>
                  </a:lnTo>
                  <a:lnTo>
                    <a:pt x="61" y="146"/>
                  </a:lnTo>
                  <a:lnTo>
                    <a:pt x="60" y="147"/>
                  </a:lnTo>
                  <a:lnTo>
                    <a:pt x="59" y="146"/>
                  </a:lnTo>
                  <a:lnTo>
                    <a:pt x="56" y="151"/>
                  </a:lnTo>
                  <a:lnTo>
                    <a:pt x="52" y="156"/>
                  </a:lnTo>
                  <a:lnTo>
                    <a:pt x="49" y="160"/>
                  </a:lnTo>
                  <a:lnTo>
                    <a:pt x="44" y="163"/>
                  </a:lnTo>
                  <a:lnTo>
                    <a:pt x="43" y="165"/>
                  </a:lnTo>
                  <a:lnTo>
                    <a:pt x="41" y="165"/>
                  </a:lnTo>
                  <a:lnTo>
                    <a:pt x="38" y="162"/>
                  </a:lnTo>
                  <a:lnTo>
                    <a:pt x="36" y="161"/>
                  </a:lnTo>
                  <a:lnTo>
                    <a:pt x="36" y="159"/>
                  </a:lnTo>
                  <a:lnTo>
                    <a:pt x="38" y="152"/>
                  </a:lnTo>
                  <a:lnTo>
                    <a:pt x="39" y="147"/>
                  </a:lnTo>
                  <a:lnTo>
                    <a:pt x="39" y="141"/>
                  </a:lnTo>
                  <a:lnTo>
                    <a:pt x="38" y="136"/>
                  </a:lnTo>
                  <a:lnTo>
                    <a:pt x="36" y="132"/>
                  </a:lnTo>
                  <a:lnTo>
                    <a:pt x="39" y="128"/>
                  </a:lnTo>
                  <a:lnTo>
                    <a:pt x="40" y="125"/>
                  </a:lnTo>
                  <a:lnTo>
                    <a:pt x="39" y="123"/>
                  </a:lnTo>
                  <a:lnTo>
                    <a:pt x="40" y="117"/>
                  </a:lnTo>
                  <a:lnTo>
                    <a:pt x="40" y="113"/>
                  </a:lnTo>
                  <a:lnTo>
                    <a:pt x="39" y="111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33" y="96"/>
                  </a:lnTo>
                  <a:lnTo>
                    <a:pt x="30" y="95"/>
                  </a:lnTo>
                  <a:lnTo>
                    <a:pt x="27" y="96"/>
                  </a:lnTo>
                  <a:lnTo>
                    <a:pt x="24" y="97"/>
                  </a:lnTo>
                  <a:lnTo>
                    <a:pt x="23" y="98"/>
                  </a:lnTo>
                  <a:lnTo>
                    <a:pt x="23" y="98"/>
                  </a:lnTo>
                  <a:lnTo>
                    <a:pt x="20" y="98"/>
                  </a:lnTo>
                  <a:lnTo>
                    <a:pt x="18" y="98"/>
                  </a:lnTo>
                  <a:lnTo>
                    <a:pt x="16" y="97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3" y="85"/>
                  </a:lnTo>
                  <a:lnTo>
                    <a:pt x="14" y="81"/>
                  </a:lnTo>
                  <a:lnTo>
                    <a:pt x="13" y="77"/>
                  </a:lnTo>
                  <a:lnTo>
                    <a:pt x="11" y="74"/>
                  </a:lnTo>
                  <a:lnTo>
                    <a:pt x="8" y="71"/>
                  </a:lnTo>
                  <a:lnTo>
                    <a:pt x="7" y="70"/>
                  </a:lnTo>
                  <a:lnTo>
                    <a:pt x="4" y="70"/>
                  </a:lnTo>
                  <a:lnTo>
                    <a:pt x="3" y="71"/>
                  </a:lnTo>
                  <a:lnTo>
                    <a:pt x="0" y="74"/>
                  </a:lnTo>
                  <a:lnTo>
                    <a:pt x="0" y="7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5" name="Freeform 1639">
              <a:extLst>
                <a:ext uri="{FF2B5EF4-FFF2-40B4-BE49-F238E27FC236}">
                  <a16:creationId xmlns:a16="http://schemas.microsoft.com/office/drawing/2014/main" id="{9FE81161-E9B4-4766-BA1D-BACA68C4D63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2287" y="3117991"/>
              <a:ext cx="139121" cy="181279"/>
            </a:xfrm>
            <a:custGeom>
              <a:avLst/>
              <a:gdLst>
                <a:gd name="T0" fmla="*/ 6 w 131"/>
                <a:gd name="T1" fmla="*/ 84 h 174"/>
                <a:gd name="T2" fmla="*/ 11 w 131"/>
                <a:gd name="T3" fmla="*/ 80 h 174"/>
                <a:gd name="T4" fmla="*/ 21 w 131"/>
                <a:gd name="T5" fmla="*/ 73 h 174"/>
                <a:gd name="T6" fmla="*/ 24 w 131"/>
                <a:gd name="T7" fmla="*/ 68 h 174"/>
                <a:gd name="T8" fmla="*/ 32 w 131"/>
                <a:gd name="T9" fmla="*/ 64 h 174"/>
                <a:gd name="T10" fmla="*/ 33 w 131"/>
                <a:gd name="T11" fmla="*/ 54 h 174"/>
                <a:gd name="T12" fmla="*/ 35 w 131"/>
                <a:gd name="T13" fmla="*/ 42 h 174"/>
                <a:gd name="T14" fmla="*/ 42 w 131"/>
                <a:gd name="T15" fmla="*/ 38 h 174"/>
                <a:gd name="T16" fmla="*/ 61 w 131"/>
                <a:gd name="T17" fmla="*/ 49 h 174"/>
                <a:gd name="T18" fmla="*/ 78 w 131"/>
                <a:gd name="T19" fmla="*/ 51 h 174"/>
                <a:gd name="T20" fmla="*/ 77 w 131"/>
                <a:gd name="T21" fmla="*/ 43 h 174"/>
                <a:gd name="T22" fmla="*/ 76 w 131"/>
                <a:gd name="T23" fmla="*/ 31 h 174"/>
                <a:gd name="T24" fmla="*/ 91 w 131"/>
                <a:gd name="T25" fmla="*/ 27 h 174"/>
                <a:gd name="T26" fmla="*/ 93 w 131"/>
                <a:gd name="T27" fmla="*/ 19 h 174"/>
                <a:gd name="T28" fmla="*/ 101 w 131"/>
                <a:gd name="T29" fmla="*/ 17 h 174"/>
                <a:gd name="T30" fmla="*/ 99 w 131"/>
                <a:gd name="T31" fmla="*/ 4 h 174"/>
                <a:gd name="T32" fmla="*/ 108 w 131"/>
                <a:gd name="T33" fmla="*/ 3 h 174"/>
                <a:gd name="T34" fmla="*/ 120 w 131"/>
                <a:gd name="T35" fmla="*/ 15 h 174"/>
                <a:gd name="T36" fmla="*/ 130 w 131"/>
                <a:gd name="T37" fmla="*/ 22 h 174"/>
                <a:gd name="T38" fmla="*/ 124 w 131"/>
                <a:gd name="T39" fmla="*/ 22 h 174"/>
                <a:gd name="T40" fmla="*/ 121 w 131"/>
                <a:gd name="T41" fmla="*/ 26 h 174"/>
                <a:gd name="T42" fmla="*/ 117 w 131"/>
                <a:gd name="T43" fmla="*/ 41 h 174"/>
                <a:gd name="T44" fmla="*/ 120 w 131"/>
                <a:gd name="T45" fmla="*/ 49 h 174"/>
                <a:gd name="T46" fmla="*/ 130 w 131"/>
                <a:gd name="T47" fmla="*/ 65 h 174"/>
                <a:gd name="T48" fmla="*/ 124 w 131"/>
                <a:gd name="T49" fmla="*/ 73 h 174"/>
                <a:gd name="T50" fmla="*/ 120 w 131"/>
                <a:gd name="T51" fmla="*/ 80 h 174"/>
                <a:gd name="T52" fmla="*/ 113 w 131"/>
                <a:gd name="T53" fmla="*/ 88 h 174"/>
                <a:gd name="T54" fmla="*/ 104 w 131"/>
                <a:gd name="T55" fmla="*/ 96 h 174"/>
                <a:gd name="T56" fmla="*/ 93 w 131"/>
                <a:gd name="T57" fmla="*/ 102 h 174"/>
                <a:gd name="T58" fmla="*/ 92 w 131"/>
                <a:gd name="T59" fmla="*/ 108 h 174"/>
                <a:gd name="T60" fmla="*/ 94 w 131"/>
                <a:gd name="T61" fmla="*/ 117 h 174"/>
                <a:gd name="T62" fmla="*/ 93 w 131"/>
                <a:gd name="T63" fmla="*/ 120 h 174"/>
                <a:gd name="T64" fmla="*/ 101 w 131"/>
                <a:gd name="T65" fmla="*/ 124 h 174"/>
                <a:gd name="T66" fmla="*/ 112 w 131"/>
                <a:gd name="T67" fmla="*/ 129 h 174"/>
                <a:gd name="T68" fmla="*/ 130 w 131"/>
                <a:gd name="T69" fmla="*/ 144 h 174"/>
                <a:gd name="T70" fmla="*/ 125 w 131"/>
                <a:gd name="T71" fmla="*/ 153 h 174"/>
                <a:gd name="T72" fmla="*/ 107 w 131"/>
                <a:gd name="T73" fmla="*/ 153 h 174"/>
                <a:gd name="T74" fmla="*/ 98 w 131"/>
                <a:gd name="T75" fmla="*/ 161 h 174"/>
                <a:gd name="T76" fmla="*/ 92 w 131"/>
                <a:gd name="T77" fmla="*/ 169 h 174"/>
                <a:gd name="T78" fmla="*/ 82 w 131"/>
                <a:gd name="T79" fmla="*/ 169 h 174"/>
                <a:gd name="T80" fmla="*/ 78 w 131"/>
                <a:gd name="T81" fmla="*/ 170 h 174"/>
                <a:gd name="T82" fmla="*/ 62 w 131"/>
                <a:gd name="T83" fmla="*/ 161 h 174"/>
                <a:gd name="T84" fmla="*/ 65 w 131"/>
                <a:gd name="T85" fmla="*/ 169 h 174"/>
                <a:gd name="T86" fmla="*/ 61 w 131"/>
                <a:gd name="T87" fmla="*/ 171 h 174"/>
                <a:gd name="T88" fmla="*/ 64 w 131"/>
                <a:gd name="T89" fmla="*/ 169 h 174"/>
                <a:gd name="T90" fmla="*/ 60 w 131"/>
                <a:gd name="T91" fmla="*/ 166 h 174"/>
                <a:gd name="T92" fmla="*/ 54 w 131"/>
                <a:gd name="T93" fmla="*/ 166 h 174"/>
                <a:gd name="T94" fmla="*/ 50 w 131"/>
                <a:gd name="T95" fmla="*/ 164 h 174"/>
                <a:gd name="T96" fmla="*/ 50 w 131"/>
                <a:gd name="T97" fmla="*/ 161 h 174"/>
                <a:gd name="T98" fmla="*/ 50 w 131"/>
                <a:gd name="T99" fmla="*/ 160 h 174"/>
                <a:gd name="T100" fmla="*/ 40 w 131"/>
                <a:gd name="T101" fmla="*/ 156 h 174"/>
                <a:gd name="T102" fmla="*/ 40 w 131"/>
                <a:gd name="T103" fmla="*/ 150 h 174"/>
                <a:gd name="T104" fmla="*/ 42 w 131"/>
                <a:gd name="T105" fmla="*/ 144 h 174"/>
                <a:gd name="T106" fmla="*/ 46 w 131"/>
                <a:gd name="T107" fmla="*/ 140 h 174"/>
                <a:gd name="T108" fmla="*/ 54 w 131"/>
                <a:gd name="T109" fmla="*/ 140 h 174"/>
                <a:gd name="T110" fmla="*/ 42 w 131"/>
                <a:gd name="T111" fmla="*/ 137 h 174"/>
                <a:gd name="T112" fmla="*/ 39 w 131"/>
                <a:gd name="T113" fmla="*/ 126 h 174"/>
                <a:gd name="T114" fmla="*/ 37 w 131"/>
                <a:gd name="T115" fmla="*/ 116 h 174"/>
                <a:gd name="T116" fmla="*/ 30 w 131"/>
                <a:gd name="T117" fmla="*/ 112 h 174"/>
                <a:gd name="T118" fmla="*/ 14 w 131"/>
                <a:gd name="T119" fmla="*/ 105 h 174"/>
                <a:gd name="T120" fmla="*/ 12 w 131"/>
                <a:gd name="T121" fmla="*/ 106 h 174"/>
                <a:gd name="T122" fmla="*/ 2 w 131"/>
                <a:gd name="T123" fmla="*/ 100 h 174"/>
                <a:gd name="T124" fmla="*/ 3 w 131"/>
                <a:gd name="T125" fmla="*/ 96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1" h="174">
                  <a:moveTo>
                    <a:pt x="0" y="94"/>
                  </a:moveTo>
                  <a:lnTo>
                    <a:pt x="2" y="89"/>
                  </a:lnTo>
                  <a:lnTo>
                    <a:pt x="6" y="84"/>
                  </a:lnTo>
                  <a:lnTo>
                    <a:pt x="10" y="83"/>
                  </a:lnTo>
                  <a:lnTo>
                    <a:pt x="11" y="81"/>
                  </a:lnTo>
                  <a:lnTo>
                    <a:pt x="11" y="80"/>
                  </a:lnTo>
                  <a:lnTo>
                    <a:pt x="13" y="78"/>
                  </a:lnTo>
                  <a:lnTo>
                    <a:pt x="17" y="75"/>
                  </a:lnTo>
                  <a:lnTo>
                    <a:pt x="21" y="73"/>
                  </a:lnTo>
                  <a:lnTo>
                    <a:pt x="23" y="70"/>
                  </a:lnTo>
                  <a:lnTo>
                    <a:pt x="23" y="69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30" y="67"/>
                  </a:lnTo>
                  <a:lnTo>
                    <a:pt x="32" y="64"/>
                  </a:lnTo>
                  <a:lnTo>
                    <a:pt x="32" y="62"/>
                  </a:lnTo>
                  <a:lnTo>
                    <a:pt x="33" y="59"/>
                  </a:lnTo>
                  <a:lnTo>
                    <a:pt x="33" y="54"/>
                  </a:lnTo>
                  <a:lnTo>
                    <a:pt x="33" y="49"/>
                  </a:lnTo>
                  <a:lnTo>
                    <a:pt x="33" y="45"/>
                  </a:lnTo>
                  <a:lnTo>
                    <a:pt x="35" y="42"/>
                  </a:lnTo>
                  <a:lnTo>
                    <a:pt x="38" y="40"/>
                  </a:lnTo>
                  <a:lnTo>
                    <a:pt x="40" y="38"/>
                  </a:lnTo>
                  <a:lnTo>
                    <a:pt x="42" y="38"/>
                  </a:lnTo>
                  <a:lnTo>
                    <a:pt x="46" y="42"/>
                  </a:lnTo>
                  <a:lnTo>
                    <a:pt x="51" y="46"/>
                  </a:lnTo>
                  <a:lnTo>
                    <a:pt x="61" y="49"/>
                  </a:lnTo>
                  <a:lnTo>
                    <a:pt x="71" y="51"/>
                  </a:lnTo>
                  <a:lnTo>
                    <a:pt x="75" y="52"/>
                  </a:lnTo>
                  <a:lnTo>
                    <a:pt x="78" y="51"/>
                  </a:lnTo>
                  <a:lnTo>
                    <a:pt x="81" y="49"/>
                  </a:lnTo>
                  <a:lnTo>
                    <a:pt x="81" y="46"/>
                  </a:lnTo>
                  <a:lnTo>
                    <a:pt x="77" y="43"/>
                  </a:lnTo>
                  <a:lnTo>
                    <a:pt x="73" y="41"/>
                  </a:lnTo>
                  <a:lnTo>
                    <a:pt x="66" y="32"/>
                  </a:lnTo>
                  <a:lnTo>
                    <a:pt x="76" y="31"/>
                  </a:lnTo>
                  <a:lnTo>
                    <a:pt x="86" y="31"/>
                  </a:lnTo>
                  <a:lnTo>
                    <a:pt x="91" y="30"/>
                  </a:lnTo>
                  <a:lnTo>
                    <a:pt x="91" y="27"/>
                  </a:lnTo>
                  <a:lnTo>
                    <a:pt x="91" y="24"/>
                  </a:lnTo>
                  <a:lnTo>
                    <a:pt x="92" y="20"/>
                  </a:lnTo>
                  <a:lnTo>
                    <a:pt x="93" y="19"/>
                  </a:lnTo>
                  <a:lnTo>
                    <a:pt x="96" y="19"/>
                  </a:lnTo>
                  <a:lnTo>
                    <a:pt x="98" y="19"/>
                  </a:lnTo>
                  <a:lnTo>
                    <a:pt x="101" y="17"/>
                  </a:lnTo>
                  <a:lnTo>
                    <a:pt x="102" y="15"/>
                  </a:lnTo>
                  <a:lnTo>
                    <a:pt x="101" y="9"/>
                  </a:lnTo>
                  <a:lnTo>
                    <a:pt x="99" y="4"/>
                  </a:lnTo>
                  <a:lnTo>
                    <a:pt x="97" y="0"/>
                  </a:lnTo>
                  <a:lnTo>
                    <a:pt x="105" y="2"/>
                  </a:lnTo>
                  <a:lnTo>
                    <a:pt x="108" y="3"/>
                  </a:lnTo>
                  <a:lnTo>
                    <a:pt x="110" y="6"/>
                  </a:lnTo>
                  <a:lnTo>
                    <a:pt x="115" y="11"/>
                  </a:lnTo>
                  <a:lnTo>
                    <a:pt x="120" y="15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0" y="22"/>
                  </a:lnTo>
                  <a:lnTo>
                    <a:pt x="129" y="22"/>
                  </a:lnTo>
                  <a:lnTo>
                    <a:pt x="126" y="22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3" y="25"/>
                  </a:lnTo>
                  <a:lnTo>
                    <a:pt x="121" y="26"/>
                  </a:lnTo>
                  <a:lnTo>
                    <a:pt x="121" y="27"/>
                  </a:lnTo>
                  <a:lnTo>
                    <a:pt x="118" y="36"/>
                  </a:lnTo>
                  <a:lnTo>
                    <a:pt x="117" y="41"/>
                  </a:lnTo>
                  <a:lnTo>
                    <a:pt x="117" y="45"/>
                  </a:lnTo>
                  <a:lnTo>
                    <a:pt x="118" y="47"/>
                  </a:lnTo>
                  <a:lnTo>
                    <a:pt x="120" y="49"/>
                  </a:lnTo>
                  <a:lnTo>
                    <a:pt x="125" y="57"/>
                  </a:lnTo>
                  <a:lnTo>
                    <a:pt x="128" y="62"/>
                  </a:lnTo>
                  <a:lnTo>
                    <a:pt x="130" y="65"/>
                  </a:lnTo>
                  <a:lnTo>
                    <a:pt x="130" y="68"/>
                  </a:lnTo>
                  <a:lnTo>
                    <a:pt x="128" y="70"/>
                  </a:lnTo>
                  <a:lnTo>
                    <a:pt x="124" y="73"/>
                  </a:lnTo>
                  <a:lnTo>
                    <a:pt x="120" y="75"/>
                  </a:lnTo>
                  <a:lnTo>
                    <a:pt x="120" y="79"/>
                  </a:lnTo>
                  <a:lnTo>
                    <a:pt x="120" y="80"/>
                  </a:lnTo>
                  <a:lnTo>
                    <a:pt x="119" y="81"/>
                  </a:lnTo>
                  <a:lnTo>
                    <a:pt x="115" y="84"/>
                  </a:lnTo>
                  <a:lnTo>
                    <a:pt x="113" y="88"/>
                  </a:lnTo>
                  <a:lnTo>
                    <a:pt x="110" y="91"/>
                  </a:lnTo>
                  <a:lnTo>
                    <a:pt x="108" y="95"/>
                  </a:lnTo>
                  <a:lnTo>
                    <a:pt x="104" y="96"/>
                  </a:lnTo>
                  <a:lnTo>
                    <a:pt x="99" y="97"/>
                  </a:lnTo>
                  <a:lnTo>
                    <a:pt x="97" y="100"/>
                  </a:lnTo>
                  <a:lnTo>
                    <a:pt x="93" y="102"/>
                  </a:lnTo>
                  <a:lnTo>
                    <a:pt x="91" y="105"/>
                  </a:lnTo>
                  <a:lnTo>
                    <a:pt x="91" y="107"/>
                  </a:lnTo>
                  <a:lnTo>
                    <a:pt x="92" y="108"/>
                  </a:lnTo>
                  <a:lnTo>
                    <a:pt x="94" y="113"/>
                  </a:lnTo>
                  <a:lnTo>
                    <a:pt x="96" y="118"/>
                  </a:lnTo>
                  <a:lnTo>
                    <a:pt x="94" y="117"/>
                  </a:lnTo>
                  <a:lnTo>
                    <a:pt x="93" y="117"/>
                  </a:lnTo>
                  <a:lnTo>
                    <a:pt x="93" y="118"/>
                  </a:lnTo>
                  <a:lnTo>
                    <a:pt x="93" y="120"/>
                  </a:lnTo>
                  <a:lnTo>
                    <a:pt x="94" y="123"/>
                  </a:lnTo>
                  <a:lnTo>
                    <a:pt x="97" y="124"/>
                  </a:lnTo>
                  <a:lnTo>
                    <a:pt x="101" y="124"/>
                  </a:lnTo>
                  <a:lnTo>
                    <a:pt x="104" y="126"/>
                  </a:lnTo>
                  <a:lnTo>
                    <a:pt x="108" y="128"/>
                  </a:lnTo>
                  <a:lnTo>
                    <a:pt x="112" y="129"/>
                  </a:lnTo>
                  <a:lnTo>
                    <a:pt x="120" y="134"/>
                  </a:lnTo>
                  <a:lnTo>
                    <a:pt x="128" y="140"/>
                  </a:lnTo>
                  <a:lnTo>
                    <a:pt x="130" y="144"/>
                  </a:lnTo>
                  <a:lnTo>
                    <a:pt x="130" y="147"/>
                  </a:lnTo>
                  <a:lnTo>
                    <a:pt x="129" y="150"/>
                  </a:lnTo>
                  <a:lnTo>
                    <a:pt x="125" y="153"/>
                  </a:lnTo>
                  <a:lnTo>
                    <a:pt x="121" y="154"/>
                  </a:lnTo>
                  <a:lnTo>
                    <a:pt x="117" y="153"/>
                  </a:lnTo>
                  <a:lnTo>
                    <a:pt x="107" y="153"/>
                  </a:lnTo>
                  <a:lnTo>
                    <a:pt x="102" y="154"/>
                  </a:lnTo>
                  <a:lnTo>
                    <a:pt x="99" y="158"/>
                  </a:lnTo>
                  <a:lnTo>
                    <a:pt x="98" y="161"/>
                  </a:lnTo>
                  <a:lnTo>
                    <a:pt x="97" y="165"/>
                  </a:lnTo>
                  <a:lnTo>
                    <a:pt x="94" y="169"/>
                  </a:lnTo>
                  <a:lnTo>
                    <a:pt x="92" y="169"/>
                  </a:lnTo>
                  <a:lnTo>
                    <a:pt x="89" y="169"/>
                  </a:lnTo>
                  <a:lnTo>
                    <a:pt x="85" y="167"/>
                  </a:lnTo>
                  <a:lnTo>
                    <a:pt x="82" y="169"/>
                  </a:lnTo>
                  <a:lnTo>
                    <a:pt x="82" y="169"/>
                  </a:lnTo>
                  <a:lnTo>
                    <a:pt x="83" y="171"/>
                  </a:lnTo>
                  <a:lnTo>
                    <a:pt x="78" y="170"/>
                  </a:lnTo>
                  <a:lnTo>
                    <a:pt x="73" y="167"/>
                  </a:lnTo>
                  <a:lnTo>
                    <a:pt x="69" y="164"/>
                  </a:lnTo>
                  <a:lnTo>
                    <a:pt x="62" y="161"/>
                  </a:lnTo>
                  <a:lnTo>
                    <a:pt x="69" y="165"/>
                  </a:lnTo>
                  <a:lnTo>
                    <a:pt x="67" y="166"/>
                  </a:lnTo>
                  <a:lnTo>
                    <a:pt x="65" y="169"/>
                  </a:lnTo>
                  <a:lnTo>
                    <a:pt x="64" y="171"/>
                  </a:lnTo>
                  <a:lnTo>
                    <a:pt x="61" y="174"/>
                  </a:lnTo>
                  <a:lnTo>
                    <a:pt x="61" y="171"/>
                  </a:lnTo>
                  <a:lnTo>
                    <a:pt x="62" y="171"/>
                  </a:lnTo>
                  <a:lnTo>
                    <a:pt x="62" y="170"/>
                  </a:lnTo>
                  <a:lnTo>
                    <a:pt x="64" y="169"/>
                  </a:lnTo>
                  <a:lnTo>
                    <a:pt x="62" y="167"/>
                  </a:lnTo>
                  <a:lnTo>
                    <a:pt x="61" y="166"/>
                  </a:lnTo>
                  <a:lnTo>
                    <a:pt x="60" y="166"/>
                  </a:lnTo>
                  <a:lnTo>
                    <a:pt x="59" y="169"/>
                  </a:lnTo>
                  <a:lnTo>
                    <a:pt x="57" y="166"/>
                  </a:lnTo>
                  <a:lnTo>
                    <a:pt x="54" y="166"/>
                  </a:lnTo>
                  <a:lnTo>
                    <a:pt x="51" y="166"/>
                  </a:lnTo>
                  <a:lnTo>
                    <a:pt x="48" y="164"/>
                  </a:lnTo>
                  <a:lnTo>
                    <a:pt x="50" y="164"/>
                  </a:lnTo>
                  <a:lnTo>
                    <a:pt x="51" y="164"/>
                  </a:lnTo>
                  <a:lnTo>
                    <a:pt x="50" y="163"/>
                  </a:lnTo>
                  <a:lnTo>
                    <a:pt x="50" y="161"/>
                  </a:lnTo>
                  <a:lnTo>
                    <a:pt x="51" y="161"/>
                  </a:lnTo>
                  <a:lnTo>
                    <a:pt x="53" y="161"/>
                  </a:lnTo>
                  <a:lnTo>
                    <a:pt x="50" y="160"/>
                  </a:lnTo>
                  <a:lnTo>
                    <a:pt x="46" y="159"/>
                  </a:lnTo>
                  <a:lnTo>
                    <a:pt x="38" y="159"/>
                  </a:lnTo>
                  <a:lnTo>
                    <a:pt x="40" y="156"/>
                  </a:lnTo>
                  <a:lnTo>
                    <a:pt x="43" y="156"/>
                  </a:lnTo>
                  <a:lnTo>
                    <a:pt x="40" y="154"/>
                  </a:lnTo>
                  <a:lnTo>
                    <a:pt x="40" y="150"/>
                  </a:lnTo>
                  <a:lnTo>
                    <a:pt x="40" y="147"/>
                  </a:lnTo>
                  <a:lnTo>
                    <a:pt x="39" y="143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42"/>
                  </a:lnTo>
                  <a:lnTo>
                    <a:pt x="46" y="140"/>
                  </a:lnTo>
                  <a:lnTo>
                    <a:pt x="51" y="140"/>
                  </a:lnTo>
                  <a:lnTo>
                    <a:pt x="56" y="143"/>
                  </a:lnTo>
                  <a:lnTo>
                    <a:pt x="54" y="140"/>
                  </a:lnTo>
                  <a:lnTo>
                    <a:pt x="51" y="139"/>
                  </a:lnTo>
                  <a:lnTo>
                    <a:pt x="46" y="139"/>
                  </a:lnTo>
                  <a:lnTo>
                    <a:pt x="42" y="137"/>
                  </a:lnTo>
                  <a:lnTo>
                    <a:pt x="39" y="136"/>
                  </a:lnTo>
                  <a:lnTo>
                    <a:pt x="39" y="133"/>
                  </a:lnTo>
                  <a:lnTo>
                    <a:pt x="39" y="126"/>
                  </a:lnTo>
                  <a:lnTo>
                    <a:pt x="40" y="120"/>
                  </a:lnTo>
                  <a:lnTo>
                    <a:pt x="39" y="117"/>
                  </a:lnTo>
                  <a:lnTo>
                    <a:pt x="37" y="116"/>
                  </a:lnTo>
                  <a:lnTo>
                    <a:pt x="37" y="113"/>
                  </a:lnTo>
                  <a:lnTo>
                    <a:pt x="37" y="111"/>
                  </a:lnTo>
                  <a:lnTo>
                    <a:pt x="30" y="112"/>
                  </a:lnTo>
                  <a:lnTo>
                    <a:pt x="26" y="111"/>
                  </a:lnTo>
                  <a:lnTo>
                    <a:pt x="19" y="107"/>
                  </a:lnTo>
                  <a:lnTo>
                    <a:pt x="14" y="105"/>
                  </a:lnTo>
                  <a:lnTo>
                    <a:pt x="16" y="107"/>
                  </a:lnTo>
                  <a:lnTo>
                    <a:pt x="14" y="111"/>
                  </a:lnTo>
                  <a:lnTo>
                    <a:pt x="12" y="106"/>
                  </a:lnTo>
                  <a:lnTo>
                    <a:pt x="7" y="104"/>
                  </a:lnTo>
                  <a:lnTo>
                    <a:pt x="5" y="102"/>
                  </a:lnTo>
                  <a:lnTo>
                    <a:pt x="2" y="100"/>
                  </a:lnTo>
                  <a:lnTo>
                    <a:pt x="1" y="97"/>
                  </a:lnTo>
                  <a:lnTo>
                    <a:pt x="1" y="97"/>
                  </a:lnTo>
                  <a:lnTo>
                    <a:pt x="3" y="96"/>
                  </a:lnTo>
                  <a:lnTo>
                    <a:pt x="0" y="9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6" name="Freeform 1788">
              <a:extLst>
                <a:ext uri="{FF2B5EF4-FFF2-40B4-BE49-F238E27FC236}">
                  <a16:creationId xmlns:a16="http://schemas.microsoft.com/office/drawing/2014/main" id="{7396464B-A06E-45A8-994B-7B06BEAC2C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0835" y="3552218"/>
              <a:ext cx="252948" cy="139121"/>
            </a:xfrm>
            <a:custGeom>
              <a:avLst/>
              <a:gdLst>
                <a:gd name="T0" fmla="*/ 3 w 239"/>
                <a:gd name="T1" fmla="*/ 39 h 133"/>
                <a:gd name="T2" fmla="*/ 2 w 239"/>
                <a:gd name="T3" fmla="*/ 30 h 133"/>
                <a:gd name="T4" fmla="*/ 6 w 239"/>
                <a:gd name="T5" fmla="*/ 23 h 133"/>
                <a:gd name="T6" fmla="*/ 13 w 239"/>
                <a:gd name="T7" fmla="*/ 11 h 133"/>
                <a:gd name="T8" fmla="*/ 21 w 239"/>
                <a:gd name="T9" fmla="*/ 9 h 133"/>
                <a:gd name="T10" fmla="*/ 25 w 239"/>
                <a:gd name="T11" fmla="*/ 11 h 133"/>
                <a:gd name="T12" fmla="*/ 30 w 239"/>
                <a:gd name="T13" fmla="*/ 3 h 133"/>
                <a:gd name="T14" fmla="*/ 34 w 239"/>
                <a:gd name="T15" fmla="*/ 0 h 133"/>
                <a:gd name="T16" fmla="*/ 46 w 239"/>
                <a:gd name="T17" fmla="*/ 4 h 133"/>
                <a:gd name="T18" fmla="*/ 80 w 239"/>
                <a:gd name="T19" fmla="*/ 26 h 133"/>
                <a:gd name="T20" fmla="*/ 91 w 239"/>
                <a:gd name="T21" fmla="*/ 36 h 133"/>
                <a:gd name="T22" fmla="*/ 102 w 239"/>
                <a:gd name="T23" fmla="*/ 39 h 133"/>
                <a:gd name="T24" fmla="*/ 112 w 239"/>
                <a:gd name="T25" fmla="*/ 41 h 133"/>
                <a:gd name="T26" fmla="*/ 118 w 239"/>
                <a:gd name="T27" fmla="*/ 52 h 133"/>
                <a:gd name="T28" fmla="*/ 132 w 239"/>
                <a:gd name="T29" fmla="*/ 60 h 133"/>
                <a:gd name="T30" fmla="*/ 141 w 239"/>
                <a:gd name="T31" fmla="*/ 60 h 133"/>
                <a:gd name="T32" fmla="*/ 145 w 239"/>
                <a:gd name="T33" fmla="*/ 64 h 133"/>
                <a:gd name="T34" fmla="*/ 145 w 239"/>
                <a:gd name="T35" fmla="*/ 69 h 133"/>
                <a:gd name="T36" fmla="*/ 157 w 239"/>
                <a:gd name="T37" fmla="*/ 71 h 133"/>
                <a:gd name="T38" fmla="*/ 166 w 239"/>
                <a:gd name="T39" fmla="*/ 75 h 133"/>
                <a:gd name="T40" fmla="*/ 172 w 239"/>
                <a:gd name="T41" fmla="*/ 82 h 133"/>
                <a:gd name="T42" fmla="*/ 174 w 239"/>
                <a:gd name="T43" fmla="*/ 78 h 133"/>
                <a:gd name="T44" fmla="*/ 180 w 239"/>
                <a:gd name="T45" fmla="*/ 81 h 133"/>
                <a:gd name="T46" fmla="*/ 188 w 239"/>
                <a:gd name="T47" fmla="*/ 78 h 133"/>
                <a:gd name="T48" fmla="*/ 194 w 239"/>
                <a:gd name="T49" fmla="*/ 79 h 133"/>
                <a:gd name="T50" fmla="*/ 205 w 239"/>
                <a:gd name="T51" fmla="*/ 84 h 133"/>
                <a:gd name="T52" fmla="*/ 216 w 239"/>
                <a:gd name="T53" fmla="*/ 85 h 133"/>
                <a:gd name="T54" fmla="*/ 231 w 239"/>
                <a:gd name="T55" fmla="*/ 85 h 133"/>
                <a:gd name="T56" fmla="*/ 233 w 239"/>
                <a:gd name="T57" fmla="*/ 94 h 133"/>
                <a:gd name="T58" fmla="*/ 233 w 239"/>
                <a:gd name="T59" fmla="*/ 112 h 133"/>
                <a:gd name="T60" fmla="*/ 239 w 239"/>
                <a:gd name="T61" fmla="*/ 128 h 133"/>
                <a:gd name="T62" fmla="*/ 230 w 239"/>
                <a:gd name="T63" fmla="*/ 133 h 133"/>
                <a:gd name="T64" fmla="*/ 215 w 239"/>
                <a:gd name="T65" fmla="*/ 133 h 133"/>
                <a:gd name="T66" fmla="*/ 206 w 239"/>
                <a:gd name="T67" fmla="*/ 129 h 133"/>
                <a:gd name="T68" fmla="*/ 196 w 239"/>
                <a:gd name="T69" fmla="*/ 130 h 133"/>
                <a:gd name="T70" fmla="*/ 182 w 239"/>
                <a:gd name="T71" fmla="*/ 126 h 133"/>
                <a:gd name="T72" fmla="*/ 173 w 239"/>
                <a:gd name="T73" fmla="*/ 126 h 133"/>
                <a:gd name="T74" fmla="*/ 167 w 239"/>
                <a:gd name="T75" fmla="*/ 119 h 133"/>
                <a:gd name="T76" fmla="*/ 157 w 239"/>
                <a:gd name="T77" fmla="*/ 122 h 133"/>
                <a:gd name="T78" fmla="*/ 150 w 239"/>
                <a:gd name="T79" fmla="*/ 116 h 133"/>
                <a:gd name="T80" fmla="*/ 141 w 239"/>
                <a:gd name="T81" fmla="*/ 111 h 133"/>
                <a:gd name="T82" fmla="*/ 136 w 239"/>
                <a:gd name="T83" fmla="*/ 103 h 133"/>
                <a:gd name="T84" fmla="*/ 120 w 239"/>
                <a:gd name="T85" fmla="*/ 98 h 133"/>
                <a:gd name="T86" fmla="*/ 114 w 239"/>
                <a:gd name="T87" fmla="*/ 101 h 133"/>
                <a:gd name="T88" fmla="*/ 103 w 239"/>
                <a:gd name="T89" fmla="*/ 98 h 133"/>
                <a:gd name="T90" fmla="*/ 94 w 239"/>
                <a:gd name="T91" fmla="*/ 100 h 133"/>
                <a:gd name="T92" fmla="*/ 83 w 239"/>
                <a:gd name="T93" fmla="*/ 96 h 133"/>
                <a:gd name="T94" fmla="*/ 77 w 239"/>
                <a:gd name="T95" fmla="*/ 90 h 133"/>
                <a:gd name="T96" fmla="*/ 65 w 239"/>
                <a:gd name="T97" fmla="*/ 85 h 133"/>
                <a:gd name="T98" fmla="*/ 55 w 239"/>
                <a:gd name="T99" fmla="*/ 84 h 133"/>
                <a:gd name="T100" fmla="*/ 35 w 239"/>
                <a:gd name="T101" fmla="*/ 71 h 133"/>
                <a:gd name="T102" fmla="*/ 13 w 239"/>
                <a:gd name="T103" fmla="*/ 58 h 133"/>
                <a:gd name="T104" fmla="*/ 7 w 239"/>
                <a:gd name="T105" fmla="*/ 58 h 133"/>
                <a:gd name="T106" fmla="*/ 0 w 239"/>
                <a:gd name="T107" fmla="*/ 51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9" h="133">
                  <a:moveTo>
                    <a:pt x="0" y="48"/>
                  </a:moveTo>
                  <a:lnTo>
                    <a:pt x="2" y="43"/>
                  </a:lnTo>
                  <a:lnTo>
                    <a:pt x="3" y="39"/>
                  </a:lnTo>
                  <a:lnTo>
                    <a:pt x="2" y="37"/>
                  </a:lnTo>
                  <a:lnTo>
                    <a:pt x="1" y="33"/>
                  </a:lnTo>
                  <a:lnTo>
                    <a:pt x="2" y="30"/>
                  </a:lnTo>
                  <a:lnTo>
                    <a:pt x="3" y="27"/>
                  </a:lnTo>
                  <a:lnTo>
                    <a:pt x="5" y="25"/>
                  </a:lnTo>
                  <a:lnTo>
                    <a:pt x="6" y="23"/>
                  </a:lnTo>
                  <a:lnTo>
                    <a:pt x="7" y="22"/>
                  </a:lnTo>
                  <a:lnTo>
                    <a:pt x="9" y="16"/>
                  </a:lnTo>
                  <a:lnTo>
                    <a:pt x="13" y="11"/>
                  </a:lnTo>
                  <a:lnTo>
                    <a:pt x="16" y="7"/>
                  </a:lnTo>
                  <a:lnTo>
                    <a:pt x="18" y="7"/>
                  </a:lnTo>
                  <a:lnTo>
                    <a:pt x="21" y="9"/>
                  </a:lnTo>
                  <a:lnTo>
                    <a:pt x="22" y="11"/>
                  </a:lnTo>
                  <a:lnTo>
                    <a:pt x="24" y="11"/>
                  </a:lnTo>
                  <a:lnTo>
                    <a:pt x="25" y="11"/>
                  </a:lnTo>
                  <a:lnTo>
                    <a:pt x="28" y="7"/>
                  </a:lnTo>
                  <a:lnTo>
                    <a:pt x="28" y="3"/>
                  </a:lnTo>
                  <a:lnTo>
                    <a:pt x="30" y="3"/>
                  </a:lnTo>
                  <a:lnTo>
                    <a:pt x="32" y="1"/>
                  </a:lnTo>
                  <a:lnTo>
                    <a:pt x="33" y="0"/>
                  </a:lnTo>
                  <a:lnTo>
                    <a:pt x="34" y="0"/>
                  </a:lnTo>
                  <a:lnTo>
                    <a:pt x="40" y="1"/>
                  </a:lnTo>
                  <a:lnTo>
                    <a:pt x="43" y="3"/>
                  </a:lnTo>
                  <a:lnTo>
                    <a:pt x="46" y="4"/>
                  </a:lnTo>
                  <a:lnTo>
                    <a:pt x="59" y="15"/>
                  </a:lnTo>
                  <a:lnTo>
                    <a:pt x="71" y="22"/>
                  </a:lnTo>
                  <a:lnTo>
                    <a:pt x="80" y="26"/>
                  </a:lnTo>
                  <a:lnTo>
                    <a:pt x="84" y="28"/>
                  </a:lnTo>
                  <a:lnTo>
                    <a:pt x="88" y="32"/>
                  </a:lnTo>
                  <a:lnTo>
                    <a:pt x="91" y="36"/>
                  </a:lnTo>
                  <a:lnTo>
                    <a:pt x="94" y="39"/>
                  </a:lnTo>
                  <a:lnTo>
                    <a:pt x="98" y="41"/>
                  </a:lnTo>
                  <a:lnTo>
                    <a:pt x="102" y="39"/>
                  </a:lnTo>
                  <a:lnTo>
                    <a:pt x="104" y="38"/>
                  </a:lnTo>
                  <a:lnTo>
                    <a:pt x="107" y="38"/>
                  </a:lnTo>
                  <a:lnTo>
                    <a:pt x="112" y="41"/>
                  </a:lnTo>
                  <a:lnTo>
                    <a:pt x="115" y="47"/>
                  </a:lnTo>
                  <a:lnTo>
                    <a:pt x="116" y="49"/>
                  </a:lnTo>
                  <a:lnTo>
                    <a:pt x="118" y="52"/>
                  </a:lnTo>
                  <a:lnTo>
                    <a:pt x="123" y="54"/>
                  </a:lnTo>
                  <a:lnTo>
                    <a:pt x="128" y="58"/>
                  </a:lnTo>
                  <a:lnTo>
                    <a:pt x="132" y="60"/>
                  </a:lnTo>
                  <a:lnTo>
                    <a:pt x="137" y="60"/>
                  </a:lnTo>
                  <a:lnTo>
                    <a:pt x="139" y="60"/>
                  </a:lnTo>
                  <a:lnTo>
                    <a:pt x="141" y="60"/>
                  </a:lnTo>
                  <a:lnTo>
                    <a:pt x="143" y="60"/>
                  </a:lnTo>
                  <a:lnTo>
                    <a:pt x="145" y="62"/>
                  </a:lnTo>
                  <a:lnTo>
                    <a:pt x="145" y="64"/>
                  </a:lnTo>
                  <a:lnTo>
                    <a:pt x="143" y="65"/>
                  </a:lnTo>
                  <a:lnTo>
                    <a:pt x="143" y="66"/>
                  </a:lnTo>
                  <a:lnTo>
                    <a:pt x="145" y="69"/>
                  </a:lnTo>
                  <a:lnTo>
                    <a:pt x="148" y="70"/>
                  </a:lnTo>
                  <a:lnTo>
                    <a:pt x="152" y="71"/>
                  </a:lnTo>
                  <a:lnTo>
                    <a:pt x="157" y="71"/>
                  </a:lnTo>
                  <a:lnTo>
                    <a:pt x="161" y="69"/>
                  </a:lnTo>
                  <a:lnTo>
                    <a:pt x="162" y="73"/>
                  </a:lnTo>
                  <a:lnTo>
                    <a:pt x="166" y="75"/>
                  </a:lnTo>
                  <a:lnTo>
                    <a:pt x="168" y="78"/>
                  </a:lnTo>
                  <a:lnTo>
                    <a:pt x="171" y="81"/>
                  </a:lnTo>
                  <a:lnTo>
                    <a:pt x="172" y="82"/>
                  </a:lnTo>
                  <a:lnTo>
                    <a:pt x="173" y="82"/>
                  </a:lnTo>
                  <a:lnTo>
                    <a:pt x="174" y="80"/>
                  </a:lnTo>
                  <a:lnTo>
                    <a:pt x="174" y="78"/>
                  </a:lnTo>
                  <a:lnTo>
                    <a:pt x="175" y="75"/>
                  </a:lnTo>
                  <a:lnTo>
                    <a:pt x="177" y="78"/>
                  </a:lnTo>
                  <a:lnTo>
                    <a:pt x="180" y="81"/>
                  </a:lnTo>
                  <a:lnTo>
                    <a:pt x="184" y="82"/>
                  </a:lnTo>
                  <a:lnTo>
                    <a:pt x="187" y="80"/>
                  </a:lnTo>
                  <a:lnTo>
                    <a:pt x="188" y="78"/>
                  </a:lnTo>
                  <a:lnTo>
                    <a:pt x="189" y="78"/>
                  </a:lnTo>
                  <a:lnTo>
                    <a:pt x="191" y="78"/>
                  </a:lnTo>
                  <a:lnTo>
                    <a:pt x="194" y="79"/>
                  </a:lnTo>
                  <a:lnTo>
                    <a:pt x="198" y="80"/>
                  </a:lnTo>
                  <a:lnTo>
                    <a:pt x="201" y="82"/>
                  </a:lnTo>
                  <a:lnTo>
                    <a:pt x="205" y="84"/>
                  </a:lnTo>
                  <a:lnTo>
                    <a:pt x="209" y="85"/>
                  </a:lnTo>
                  <a:lnTo>
                    <a:pt x="212" y="85"/>
                  </a:lnTo>
                  <a:lnTo>
                    <a:pt x="216" y="85"/>
                  </a:lnTo>
                  <a:lnTo>
                    <a:pt x="221" y="84"/>
                  </a:lnTo>
                  <a:lnTo>
                    <a:pt x="227" y="84"/>
                  </a:lnTo>
                  <a:lnTo>
                    <a:pt x="231" y="85"/>
                  </a:lnTo>
                  <a:lnTo>
                    <a:pt x="232" y="86"/>
                  </a:lnTo>
                  <a:lnTo>
                    <a:pt x="233" y="87"/>
                  </a:lnTo>
                  <a:lnTo>
                    <a:pt x="233" y="94"/>
                  </a:lnTo>
                  <a:lnTo>
                    <a:pt x="232" y="101"/>
                  </a:lnTo>
                  <a:lnTo>
                    <a:pt x="232" y="106"/>
                  </a:lnTo>
                  <a:lnTo>
                    <a:pt x="233" y="112"/>
                  </a:lnTo>
                  <a:lnTo>
                    <a:pt x="237" y="117"/>
                  </a:lnTo>
                  <a:lnTo>
                    <a:pt x="239" y="122"/>
                  </a:lnTo>
                  <a:lnTo>
                    <a:pt x="239" y="128"/>
                  </a:lnTo>
                  <a:lnTo>
                    <a:pt x="237" y="132"/>
                  </a:lnTo>
                  <a:lnTo>
                    <a:pt x="233" y="133"/>
                  </a:lnTo>
                  <a:lnTo>
                    <a:pt x="230" y="133"/>
                  </a:lnTo>
                  <a:lnTo>
                    <a:pt x="223" y="133"/>
                  </a:lnTo>
                  <a:lnTo>
                    <a:pt x="220" y="133"/>
                  </a:lnTo>
                  <a:lnTo>
                    <a:pt x="215" y="133"/>
                  </a:lnTo>
                  <a:lnTo>
                    <a:pt x="211" y="132"/>
                  </a:lnTo>
                  <a:lnTo>
                    <a:pt x="210" y="127"/>
                  </a:lnTo>
                  <a:lnTo>
                    <a:pt x="206" y="129"/>
                  </a:lnTo>
                  <a:lnTo>
                    <a:pt x="204" y="130"/>
                  </a:lnTo>
                  <a:lnTo>
                    <a:pt x="200" y="132"/>
                  </a:lnTo>
                  <a:lnTo>
                    <a:pt x="196" y="130"/>
                  </a:lnTo>
                  <a:lnTo>
                    <a:pt x="193" y="128"/>
                  </a:lnTo>
                  <a:lnTo>
                    <a:pt x="188" y="127"/>
                  </a:lnTo>
                  <a:lnTo>
                    <a:pt x="182" y="126"/>
                  </a:lnTo>
                  <a:lnTo>
                    <a:pt x="178" y="126"/>
                  </a:lnTo>
                  <a:lnTo>
                    <a:pt x="175" y="126"/>
                  </a:lnTo>
                  <a:lnTo>
                    <a:pt x="173" y="126"/>
                  </a:lnTo>
                  <a:lnTo>
                    <a:pt x="172" y="123"/>
                  </a:lnTo>
                  <a:lnTo>
                    <a:pt x="171" y="122"/>
                  </a:lnTo>
                  <a:lnTo>
                    <a:pt x="167" y="119"/>
                  </a:lnTo>
                  <a:lnTo>
                    <a:pt x="163" y="121"/>
                  </a:lnTo>
                  <a:lnTo>
                    <a:pt x="161" y="122"/>
                  </a:lnTo>
                  <a:lnTo>
                    <a:pt x="157" y="122"/>
                  </a:lnTo>
                  <a:lnTo>
                    <a:pt x="155" y="119"/>
                  </a:lnTo>
                  <a:lnTo>
                    <a:pt x="152" y="118"/>
                  </a:lnTo>
                  <a:lnTo>
                    <a:pt x="150" y="116"/>
                  </a:lnTo>
                  <a:lnTo>
                    <a:pt x="146" y="114"/>
                  </a:lnTo>
                  <a:lnTo>
                    <a:pt x="142" y="113"/>
                  </a:lnTo>
                  <a:lnTo>
                    <a:pt x="141" y="111"/>
                  </a:lnTo>
                  <a:lnTo>
                    <a:pt x="140" y="108"/>
                  </a:lnTo>
                  <a:lnTo>
                    <a:pt x="139" y="106"/>
                  </a:lnTo>
                  <a:lnTo>
                    <a:pt x="136" y="103"/>
                  </a:lnTo>
                  <a:lnTo>
                    <a:pt x="132" y="102"/>
                  </a:lnTo>
                  <a:lnTo>
                    <a:pt x="124" y="100"/>
                  </a:lnTo>
                  <a:lnTo>
                    <a:pt x="120" y="98"/>
                  </a:lnTo>
                  <a:lnTo>
                    <a:pt x="116" y="98"/>
                  </a:lnTo>
                  <a:lnTo>
                    <a:pt x="114" y="100"/>
                  </a:lnTo>
                  <a:lnTo>
                    <a:pt x="114" y="101"/>
                  </a:lnTo>
                  <a:lnTo>
                    <a:pt x="109" y="98"/>
                  </a:lnTo>
                  <a:lnTo>
                    <a:pt x="105" y="98"/>
                  </a:lnTo>
                  <a:lnTo>
                    <a:pt x="103" y="98"/>
                  </a:lnTo>
                  <a:lnTo>
                    <a:pt x="99" y="100"/>
                  </a:lnTo>
                  <a:lnTo>
                    <a:pt x="97" y="101"/>
                  </a:lnTo>
                  <a:lnTo>
                    <a:pt x="94" y="100"/>
                  </a:lnTo>
                  <a:lnTo>
                    <a:pt x="91" y="98"/>
                  </a:lnTo>
                  <a:lnTo>
                    <a:pt x="86" y="97"/>
                  </a:lnTo>
                  <a:lnTo>
                    <a:pt x="83" y="96"/>
                  </a:lnTo>
                  <a:lnTo>
                    <a:pt x="82" y="94"/>
                  </a:lnTo>
                  <a:lnTo>
                    <a:pt x="80" y="91"/>
                  </a:lnTo>
                  <a:lnTo>
                    <a:pt x="77" y="90"/>
                  </a:lnTo>
                  <a:lnTo>
                    <a:pt x="75" y="90"/>
                  </a:lnTo>
                  <a:lnTo>
                    <a:pt x="71" y="90"/>
                  </a:lnTo>
                  <a:lnTo>
                    <a:pt x="65" y="85"/>
                  </a:lnTo>
                  <a:lnTo>
                    <a:pt x="62" y="84"/>
                  </a:lnTo>
                  <a:lnTo>
                    <a:pt x="59" y="84"/>
                  </a:lnTo>
                  <a:lnTo>
                    <a:pt x="55" y="84"/>
                  </a:lnTo>
                  <a:lnTo>
                    <a:pt x="50" y="81"/>
                  </a:lnTo>
                  <a:lnTo>
                    <a:pt x="41" y="76"/>
                  </a:lnTo>
                  <a:lnTo>
                    <a:pt x="35" y="71"/>
                  </a:lnTo>
                  <a:lnTo>
                    <a:pt x="29" y="66"/>
                  </a:lnTo>
                  <a:lnTo>
                    <a:pt x="22" y="63"/>
                  </a:lnTo>
                  <a:lnTo>
                    <a:pt x="13" y="58"/>
                  </a:lnTo>
                  <a:lnTo>
                    <a:pt x="12" y="60"/>
                  </a:lnTo>
                  <a:lnTo>
                    <a:pt x="11" y="60"/>
                  </a:lnTo>
                  <a:lnTo>
                    <a:pt x="7" y="58"/>
                  </a:lnTo>
                  <a:lnTo>
                    <a:pt x="5" y="57"/>
                  </a:lnTo>
                  <a:lnTo>
                    <a:pt x="1" y="53"/>
                  </a:lnTo>
                  <a:lnTo>
                    <a:pt x="0" y="51"/>
                  </a:lnTo>
                  <a:lnTo>
                    <a:pt x="0" y="4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7" name="Freeform 1945">
              <a:extLst>
                <a:ext uri="{FF2B5EF4-FFF2-40B4-BE49-F238E27FC236}">
                  <a16:creationId xmlns:a16="http://schemas.microsoft.com/office/drawing/2014/main" id="{2853D171-6719-4E8E-B66A-7BB629FE7E5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5680" y="2985194"/>
              <a:ext cx="147553" cy="63237"/>
            </a:xfrm>
            <a:custGeom>
              <a:avLst/>
              <a:gdLst>
                <a:gd name="T0" fmla="*/ 34 w 141"/>
                <a:gd name="T1" fmla="*/ 2 h 60"/>
                <a:gd name="T2" fmla="*/ 45 w 141"/>
                <a:gd name="T3" fmla="*/ 2 h 60"/>
                <a:gd name="T4" fmla="*/ 53 w 141"/>
                <a:gd name="T5" fmla="*/ 0 h 60"/>
                <a:gd name="T6" fmla="*/ 64 w 141"/>
                <a:gd name="T7" fmla="*/ 4 h 60"/>
                <a:gd name="T8" fmla="*/ 73 w 141"/>
                <a:gd name="T9" fmla="*/ 5 h 60"/>
                <a:gd name="T10" fmla="*/ 80 w 141"/>
                <a:gd name="T11" fmla="*/ 7 h 60"/>
                <a:gd name="T12" fmla="*/ 83 w 141"/>
                <a:gd name="T13" fmla="*/ 6 h 60"/>
                <a:gd name="T14" fmla="*/ 88 w 141"/>
                <a:gd name="T15" fmla="*/ 8 h 60"/>
                <a:gd name="T16" fmla="*/ 100 w 141"/>
                <a:gd name="T17" fmla="*/ 5 h 60"/>
                <a:gd name="T18" fmla="*/ 118 w 141"/>
                <a:gd name="T19" fmla="*/ 11 h 60"/>
                <a:gd name="T20" fmla="*/ 123 w 141"/>
                <a:gd name="T21" fmla="*/ 4 h 60"/>
                <a:gd name="T22" fmla="*/ 132 w 141"/>
                <a:gd name="T23" fmla="*/ 6 h 60"/>
                <a:gd name="T24" fmla="*/ 131 w 141"/>
                <a:gd name="T25" fmla="*/ 1 h 60"/>
                <a:gd name="T26" fmla="*/ 141 w 141"/>
                <a:gd name="T27" fmla="*/ 4 h 60"/>
                <a:gd name="T28" fmla="*/ 138 w 141"/>
                <a:gd name="T29" fmla="*/ 7 h 60"/>
                <a:gd name="T30" fmla="*/ 137 w 141"/>
                <a:gd name="T31" fmla="*/ 12 h 60"/>
                <a:gd name="T32" fmla="*/ 128 w 141"/>
                <a:gd name="T33" fmla="*/ 15 h 60"/>
                <a:gd name="T34" fmla="*/ 123 w 141"/>
                <a:gd name="T35" fmla="*/ 17 h 60"/>
                <a:gd name="T36" fmla="*/ 113 w 141"/>
                <a:gd name="T37" fmla="*/ 17 h 60"/>
                <a:gd name="T38" fmla="*/ 101 w 141"/>
                <a:gd name="T39" fmla="*/ 13 h 60"/>
                <a:gd name="T40" fmla="*/ 93 w 141"/>
                <a:gd name="T41" fmla="*/ 11 h 60"/>
                <a:gd name="T42" fmla="*/ 74 w 141"/>
                <a:gd name="T43" fmla="*/ 11 h 60"/>
                <a:gd name="T44" fmla="*/ 52 w 141"/>
                <a:gd name="T45" fmla="*/ 10 h 60"/>
                <a:gd name="T46" fmla="*/ 45 w 141"/>
                <a:gd name="T47" fmla="*/ 5 h 60"/>
                <a:gd name="T48" fmla="*/ 42 w 141"/>
                <a:gd name="T49" fmla="*/ 7 h 60"/>
                <a:gd name="T50" fmla="*/ 38 w 141"/>
                <a:gd name="T51" fmla="*/ 12 h 60"/>
                <a:gd name="T52" fmla="*/ 34 w 141"/>
                <a:gd name="T53" fmla="*/ 15 h 60"/>
                <a:gd name="T54" fmla="*/ 30 w 141"/>
                <a:gd name="T55" fmla="*/ 18 h 60"/>
                <a:gd name="T56" fmla="*/ 24 w 141"/>
                <a:gd name="T57" fmla="*/ 26 h 60"/>
                <a:gd name="T58" fmla="*/ 20 w 141"/>
                <a:gd name="T59" fmla="*/ 29 h 60"/>
                <a:gd name="T60" fmla="*/ 21 w 141"/>
                <a:gd name="T61" fmla="*/ 39 h 60"/>
                <a:gd name="T62" fmla="*/ 22 w 141"/>
                <a:gd name="T63" fmla="*/ 50 h 60"/>
                <a:gd name="T64" fmla="*/ 22 w 141"/>
                <a:gd name="T65" fmla="*/ 60 h 60"/>
                <a:gd name="T66" fmla="*/ 19 w 141"/>
                <a:gd name="T67" fmla="*/ 53 h 60"/>
                <a:gd name="T68" fmla="*/ 9 w 141"/>
                <a:gd name="T69" fmla="*/ 45 h 60"/>
                <a:gd name="T70" fmla="*/ 0 w 141"/>
                <a:gd name="T71" fmla="*/ 39 h 60"/>
                <a:gd name="T72" fmla="*/ 2 w 141"/>
                <a:gd name="T73" fmla="*/ 34 h 60"/>
                <a:gd name="T74" fmla="*/ 4 w 141"/>
                <a:gd name="T75" fmla="*/ 29 h 60"/>
                <a:gd name="T76" fmla="*/ 2 w 141"/>
                <a:gd name="T77" fmla="*/ 23 h 60"/>
                <a:gd name="T78" fmla="*/ 6 w 141"/>
                <a:gd name="T79" fmla="*/ 20 h 60"/>
                <a:gd name="T80" fmla="*/ 8 w 141"/>
                <a:gd name="T81" fmla="*/ 17 h 60"/>
                <a:gd name="T82" fmla="*/ 18 w 141"/>
                <a:gd name="T83" fmla="*/ 8 h 60"/>
                <a:gd name="T84" fmla="*/ 19 w 141"/>
                <a:gd name="T85" fmla="*/ 4 h 60"/>
                <a:gd name="T86" fmla="*/ 24 w 141"/>
                <a:gd name="T87" fmla="*/ 1 h 60"/>
                <a:gd name="T88" fmla="*/ 29 w 141"/>
                <a:gd name="T8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41" h="60">
                  <a:moveTo>
                    <a:pt x="29" y="0"/>
                  </a:moveTo>
                  <a:lnTo>
                    <a:pt x="30" y="1"/>
                  </a:lnTo>
                  <a:lnTo>
                    <a:pt x="34" y="2"/>
                  </a:lnTo>
                  <a:lnTo>
                    <a:pt x="38" y="4"/>
                  </a:lnTo>
                  <a:lnTo>
                    <a:pt x="41" y="4"/>
                  </a:lnTo>
                  <a:lnTo>
                    <a:pt x="45" y="2"/>
                  </a:lnTo>
                  <a:lnTo>
                    <a:pt x="47" y="1"/>
                  </a:lnTo>
                  <a:lnTo>
                    <a:pt x="51" y="0"/>
                  </a:lnTo>
                  <a:lnTo>
                    <a:pt x="53" y="0"/>
                  </a:lnTo>
                  <a:lnTo>
                    <a:pt x="57" y="1"/>
                  </a:lnTo>
                  <a:lnTo>
                    <a:pt x="61" y="1"/>
                  </a:lnTo>
                  <a:lnTo>
                    <a:pt x="64" y="4"/>
                  </a:lnTo>
                  <a:lnTo>
                    <a:pt x="67" y="6"/>
                  </a:lnTo>
                  <a:lnTo>
                    <a:pt x="69" y="6"/>
                  </a:lnTo>
                  <a:lnTo>
                    <a:pt x="73" y="5"/>
                  </a:lnTo>
                  <a:lnTo>
                    <a:pt x="75" y="6"/>
                  </a:lnTo>
                  <a:lnTo>
                    <a:pt x="79" y="7"/>
                  </a:lnTo>
                  <a:lnTo>
                    <a:pt x="80" y="7"/>
                  </a:lnTo>
                  <a:lnTo>
                    <a:pt x="80" y="7"/>
                  </a:lnTo>
                  <a:lnTo>
                    <a:pt x="79" y="5"/>
                  </a:lnTo>
                  <a:lnTo>
                    <a:pt x="83" y="6"/>
                  </a:lnTo>
                  <a:lnTo>
                    <a:pt x="84" y="6"/>
                  </a:lnTo>
                  <a:lnTo>
                    <a:pt x="86" y="7"/>
                  </a:lnTo>
                  <a:lnTo>
                    <a:pt x="88" y="8"/>
                  </a:lnTo>
                  <a:lnTo>
                    <a:pt x="90" y="8"/>
                  </a:lnTo>
                  <a:lnTo>
                    <a:pt x="94" y="6"/>
                  </a:lnTo>
                  <a:lnTo>
                    <a:pt x="100" y="5"/>
                  </a:lnTo>
                  <a:lnTo>
                    <a:pt x="106" y="6"/>
                  </a:lnTo>
                  <a:lnTo>
                    <a:pt x="112" y="8"/>
                  </a:lnTo>
                  <a:lnTo>
                    <a:pt x="118" y="11"/>
                  </a:lnTo>
                  <a:lnTo>
                    <a:pt x="118" y="5"/>
                  </a:lnTo>
                  <a:lnTo>
                    <a:pt x="121" y="5"/>
                  </a:lnTo>
                  <a:lnTo>
                    <a:pt x="123" y="4"/>
                  </a:lnTo>
                  <a:lnTo>
                    <a:pt x="125" y="2"/>
                  </a:lnTo>
                  <a:lnTo>
                    <a:pt x="127" y="4"/>
                  </a:lnTo>
                  <a:lnTo>
                    <a:pt x="132" y="6"/>
                  </a:lnTo>
                  <a:lnTo>
                    <a:pt x="129" y="4"/>
                  </a:lnTo>
                  <a:lnTo>
                    <a:pt x="127" y="1"/>
                  </a:lnTo>
                  <a:lnTo>
                    <a:pt x="131" y="1"/>
                  </a:lnTo>
                  <a:lnTo>
                    <a:pt x="136" y="1"/>
                  </a:lnTo>
                  <a:lnTo>
                    <a:pt x="139" y="2"/>
                  </a:lnTo>
                  <a:lnTo>
                    <a:pt x="141" y="4"/>
                  </a:lnTo>
                  <a:lnTo>
                    <a:pt x="141" y="6"/>
                  </a:lnTo>
                  <a:lnTo>
                    <a:pt x="139" y="7"/>
                  </a:lnTo>
                  <a:lnTo>
                    <a:pt x="138" y="7"/>
                  </a:lnTo>
                  <a:lnTo>
                    <a:pt x="137" y="8"/>
                  </a:lnTo>
                  <a:lnTo>
                    <a:pt x="137" y="10"/>
                  </a:lnTo>
                  <a:lnTo>
                    <a:pt x="137" y="12"/>
                  </a:lnTo>
                  <a:lnTo>
                    <a:pt x="137" y="13"/>
                  </a:lnTo>
                  <a:lnTo>
                    <a:pt x="134" y="15"/>
                  </a:lnTo>
                  <a:lnTo>
                    <a:pt x="128" y="15"/>
                  </a:lnTo>
                  <a:lnTo>
                    <a:pt x="123" y="15"/>
                  </a:lnTo>
                  <a:lnTo>
                    <a:pt x="122" y="16"/>
                  </a:lnTo>
                  <a:lnTo>
                    <a:pt x="123" y="17"/>
                  </a:lnTo>
                  <a:lnTo>
                    <a:pt x="121" y="16"/>
                  </a:lnTo>
                  <a:lnTo>
                    <a:pt x="118" y="16"/>
                  </a:lnTo>
                  <a:lnTo>
                    <a:pt x="113" y="17"/>
                  </a:lnTo>
                  <a:lnTo>
                    <a:pt x="109" y="15"/>
                  </a:lnTo>
                  <a:lnTo>
                    <a:pt x="105" y="13"/>
                  </a:lnTo>
                  <a:lnTo>
                    <a:pt x="101" y="13"/>
                  </a:lnTo>
                  <a:lnTo>
                    <a:pt x="99" y="12"/>
                  </a:lnTo>
                  <a:lnTo>
                    <a:pt x="95" y="11"/>
                  </a:lnTo>
                  <a:lnTo>
                    <a:pt x="93" y="11"/>
                  </a:lnTo>
                  <a:lnTo>
                    <a:pt x="84" y="11"/>
                  </a:lnTo>
                  <a:lnTo>
                    <a:pt x="77" y="11"/>
                  </a:lnTo>
                  <a:lnTo>
                    <a:pt x="74" y="11"/>
                  </a:lnTo>
                  <a:lnTo>
                    <a:pt x="69" y="11"/>
                  </a:lnTo>
                  <a:lnTo>
                    <a:pt x="58" y="11"/>
                  </a:lnTo>
                  <a:lnTo>
                    <a:pt x="52" y="10"/>
                  </a:lnTo>
                  <a:lnTo>
                    <a:pt x="48" y="10"/>
                  </a:lnTo>
                  <a:lnTo>
                    <a:pt x="45" y="7"/>
                  </a:lnTo>
                  <a:lnTo>
                    <a:pt x="45" y="5"/>
                  </a:lnTo>
                  <a:lnTo>
                    <a:pt x="43" y="6"/>
                  </a:lnTo>
                  <a:lnTo>
                    <a:pt x="42" y="6"/>
                  </a:lnTo>
                  <a:lnTo>
                    <a:pt x="42" y="7"/>
                  </a:lnTo>
                  <a:lnTo>
                    <a:pt x="43" y="8"/>
                  </a:lnTo>
                  <a:lnTo>
                    <a:pt x="42" y="11"/>
                  </a:lnTo>
                  <a:lnTo>
                    <a:pt x="38" y="12"/>
                  </a:lnTo>
                  <a:lnTo>
                    <a:pt x="36" y="13"/>
                  </a:lnTo>
                  <a:lnTo>
                    <a:pt x="35" y="12"/>
                  </a:lnTo>
                  <a:lnTo>
                    <a:pt x="34" y="15"/>
                  </a:lnTo>
                  <a:lnTo>
                    <a:pt x="31" y="16"/>
                  </a:lnTo>
                  <a:lnTo>
                    <a:pt x="31" y="17"/>
                  </a:lnTo>
                  <a:lnTo>
                    <a:pt x="30" y="18"/>
                  </a:lnTo>
                  <a:lnTo>
                    <a:pt x="30" y="22"/>
                  </a:lnTo>
                  <a:lnTo>
                    <a:pt x="27" y="26"/>
                  </a:lnTo>
                  <a:lnTo>
                    <a:pt x="24" y="26"/>
                  </a:lnTo>
                  <a:lnTo>
                    <a:pt x="20" y="27"/>
                  </a:lnTo>
                  <a:lnTo>
                    <a:pt x="20" y="28"/>
                  </a:lnTo>
                  <a:lnTo>
                    <a:pt x="20" y="29"/>
                  </a:lnTo>
                  <a:lnTo>
                    <a:pt x="20" y="32"/>
                  </a:lnTo>
                  <a:lnTo>
                    <a:pt x="21" y="34"/>
                  </a:lnTo>
                  <a:lnTo>
                    <a:pt x="21" y="39"/>
                  </a:lnTo>
                  <a:lnTo>
                    <a:pt x="19" y="42"/>
                  </a:lnTo>
                  <a:lnTo>
                    <a:pt x="20" y="47"/>
                  </a:lnTo>
                  <a:lnTo>
                    <a:pt x="22" y="50"/>
                  </a:lnTo>
                  <a:lnTo>
                    <a:pt x="25" y="55"/>
                  </a:lnTo>
                  <a:lnTo>
                    <a:pt x="25" y="59"/>
                  </a:lnTo>
                  <a:lnTo>
                    <a:pt x="22" y="60"/>
                  </a:lnTo>
                  <a:lnTo>
                    <a:pt x="22" y="59"/>
                  </a:lnTo>
                  <a:lnTo>
                    <a:pt x="21" y="55"/>
                  </a:lnTo>
                  <a:lnTo>
                    <a:pt x="19" y="53"/>
                  </a:lnTo>
                  <a:lnTo>
                    <a:pt x="16" y="50"/>
                  </a:lnTo>
                  <a:lnTo>
                    <a:pt x="11" y="48"/>
                  </a:lnTo>
                  <a:lnTo>
                    <a:pt x="9" y="45"/>
                  </a:lnTo>
                  <a:lnTo>
                    <a:pt x="5" y="44"/>
                  </a:lnTo>
                  <a:lnTo>
                    <a:pt x="3" y="42"/>
                  </a:lnTo>
                  <a:lnTo>
                    <a:pt x="0" y="39"/>
                  </a:lnTo>
                  <a:lnTo>
                    <a:pt x="0" y="38"/>
                  </a:lnTo>
                  <a:lnTo>
                    <a:pt x="0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3" y="32"/>
                  </a:lnTo>
                  <a:lnTo>
                    <a:pt x="4" y="29"/>
                  </a:lnTo>
                  <a:lnTo>
                    <a:pt x="4" y="27"/>
                  </a:lnTo>
                  <a:lnTo>
                    <a:pt x="3" y="24"/>
                  </a:lnTo>
                  <a:lnTo>
                    <a:pt x="2" y="23"/>
                  </a:lnTo>
                  <a:lnTo>
                    <a:pt x="2" y="22"/>
                  </a:lnTo>
                  <a:lnTo>
                    <a:pt x="4" y="21"/>
                  </a:lnTo>
                  <a:lnTo>
                    <a:pt x="6" y="20"/>
                  </a:lnTo>
                  <a:lnTo>
                    <a:pt x="10" y="20"/>
                  </a:lnTo>
                  <a:lnTo>
                    <a:pt x="8" y="18"/>
                  </a:lnTo>
                  <a:lnTo>
                    <a:pt x="8" y="17"/>
                  </a:lnTo>
                  <a:lnTo>
                    <a:pt x="10" y="13"/>
                  </a:lnTo>
                  <a:lnTo>
                    <a:pt x="14" y="10"/>
                  </a:lnTo>
                  <a:lnTo>
                    <a:pt x="18" y="8"/>
                  </a:lnTo>
                  <a:lnTo>
                    <a:pt x="19" y="7"/>
                  </a:lnTo>
                  <a:lnTo>
                    <a:pt x="19" y="5"/>
                  </a:lnTo>
                  <a:lnTo>
                    <a:pt x="19" y="4"/>
                  </a:lnTo>
                  <a:lnTo>
                    <a:pt x="20" y="1"/>
                  </a:lnTo>
                  <a:lnTo>
                    <a:pt x="22" y="1"/>
                  </a:lnTo>
                  <a:lnTo>
                    <a:pt x="24" y="1"/>
                  </a:lnTo>
                  <a:lnTo>
                    <a:pt x="26" y="1"/>
                  </a:lnTo>
                  <a:lnTo>
                    <a:pt x="29" y="0"/>
                  </a:lnTo>
                  <a:lnTo>
                    <a:pt x="29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8" name="Freeform 1951">
              <a:extLst>
                <a:ext uri="{FF2B5EF4-FFF2-40B4-BE49-F238E27FC236}">
                  <a16:creationId xmlns:a16="http://schemas.microsoft.com/office/drawing/2014/main" id="{BF55D3CF-966D-482E-9070-2FD18C737C2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1375" y="2806022"/>
              <a:ext cx="908504" cy="356235"/>
            </a:xfrm>
            <a:custGeom>
              <a:avLst/>
              <a:gdLst>
                <a:gd name="T0" fmla="*/ 10 w 861"/>
                <a:gd name="T1" fmla="*/ 84 h 338"/>
                <a:gd name="T2" fmla="*/ 29 w 861"/>
                <a:gd name="T3" fmla="*/ 84 h 338"/>
                <a:gd name="T4" fmla="*/ 38 w 861"/>
                <a:gd name="T5" fmla="*/ 70 h 338"/>
                <a:gd name="T6" fmla="*/ 54 w 861"/>
                <a:gd name="T7" fmla="*/ 62 h 338"/>
                <a:gd name="T8" fmla="*/ 77 w 861"/>
                <a:gd name="T9" fmla="*/ 48 h 338"/>
                <a:gd name="T10" fmla="*/ 97 w 861"/>
                <a:gd name="T11" fmla="*/ 43 h 338"/>
                <a:gd name="T12" fmla="*/ 112 w 861"/>
                <a:gd name="T13" fmla="*/ 48 h 338"/>
                <a:gd name="T14" fmla="*/ 161 w 861"/>
                <a:gd name="T15" fmla="*/ 65 h 338"/>
                <a:gd name="T16" fmla="*/ 195 w 861"/>
                <a:gd name="T17" fmla="*/ 68 h 338"/>
                <a:gd name="T18" fmla="*/ 233 w 861"/>
                <a:gd name="T19" fmla="*/ 75 h 338"/>
                <a:gd name="T20" fmla="*/ 248 w 861"/>
                <a:gd name="T21" fmla="*/ 58 h 338"/>
                <a:gd name="T22" fmla="*/ 226 w 861"/>
                <a:gd name="T23" fmla="*/ 35 h 338"/>
                <a:gd name="T24" fmla="*/ 228 w 861"/>
                <a:gd name="T25" fmla="*/ 14 h 338"/>
                <a:gd name="T26" fmla="*/ 262 w 861"/>
                <a:gd name="T27" fmla="*/ 10 h 338"/>
                <a:gd name="T28" fmla="*/ 311 w 861"/>
                <a:gd name="T29" fmla="*/ 20 h 338"/>
                <a:gd name="T30" fmla="*/ 345 w 861"/>
                <a:gd name="T31" fmla="*/ 46 h 338"/>
                <a:gd name="T32" fmla="*/ 372 w 861"/>
                <a:gd name="T33" fmla="*/ 58 h 338"/>
                <a:gd name="T34" fmla="*/ 396 w 861"/>
                <a:gd name="T35" fmla="*/ 62 h 338"/>
                <a:gd name="T36" fmla="*/ 458 w 861"/>
                <a:gd name="T37" fmla="*/ 57 h 338"/>
                <a:gd name="T38" fmla="*/ 501 w 861"/>
                <a:gd name="T39" fmla="*/ 73 h 338"/>
                <a:gd name="T40" fmla="*/ 557 w 861"/>
                <a:gd name="T41" fmla="*/ 92 h 338"/>
                <a:gd name="T42" fmla="*/ 597 w 861"/>
                <a:gd name="T43" fmla="*/ 88 h 338"/>
                <a:gd name="T44" fmla="*/ 633 w 861"/>
                <a:gd name="T45" fmla="*/ 80 h 338"/>
                <a:gd name="T46" fmla="*/ 666 w 861"/>
                <a:gd name="T47" fmla="*/ 59 h 338"/>
                <a:gd name="T48" fmla="*/ 709 w 861"/>
                <a:gd name="T49" fmla="*/ 68 h 338"/>
                <a:gd name="T50" fmla="*/ 728 w 861"/>
                <a:gd name="T51" fmla="*/ 126 h 338"/>
                <a:gd name="T52" fmla="*/ 741 w 861"/>
                <a:gd name="T53" fmla="*/ 140 h 338"/>
                <a:gd name="T54" fmla="*/ 772 w 861"/>
                <a:gd name="T55" fmla="*/ 140 h 338"/>
                <a:gd name="T56" fmla="*/ 803 w 861"/>
                <a:gd name="T57" fmla="*/ 133 h 338"/>
                <a:gd name="T58" fmla="*/ 861 w 861"/>
                <a:gd name="T59" fmla="*/ 171 h 338"/>
                <a:gd name="T60" fmla="*/ 837 w 861"/>
                <a:gd name="T61" fmla="*/ 174 h 338"/>
                <a:gd name="T62" fmla="*/ 816 w 861"/>
                <a:gd name="T63" fmla="*/ 175 h 338"/>
                <a:gd name="T64" fmla="*/ 798 w 861"/>
                <a:gd name="T65" fmla="*/ 185 h 338"/>
                <a:gd name="T66" fmla="*/ 782 w 861"/>
                <a:gd name="T67" fmla="*/ 201 h 338"/>
                <a:gd name="T68" fmla="*/ 766 w 861"/>
                <a:gd name="T69" fmla="*/ 217 h 338"/>
                <a:gd name="T70" fmla="*/ 738 w 861"/>
                <a:gd name="T71" fmla="*/ 231 h 338"/>
                <a:gd name="T72" fmla="*/ 697 w 861"/>
                <a:gd name="T73" fmla="*/ 228 h 338"/>
                <a:gd name="T74" fmla="*/ 679 w 861"/>
                <a:gd name="T75" fmla="*/ 244 h 338"/>
                <a:gd name="T76" fmla="*/ 701 w 861"/>
                <a:gd name="T77" fmla="*/ 266 h 338"/>
                <a:gd name="T78" fmla="*/ 686 w 861"/>
                <a:gd name="T79" fmla="*/ 284 h 338"/>
                <a:gd name="T80" fmla="*/ 650 w 861"/>
                <a:gd name="T81" fmla="*/ 312 h 338"/>
                <a:gd name="T82" fmla="*/ 564 w 861"/>
                <a:gd name="T83" fmla="*/ 330 h 338"/>
                <a:gd name="T84" fmla="*/ 537 w 861"/>
                <a:gd name="T85" fmla="*/ 336 h 338"/>
                <a:gd name="T86" fmla="*/ 493 w 861"/>
                <a:gd name="T87" fmla="*/ 327 h 338"/>
                <a:gd name="T88" fmla="*/ 446 w 861"/>
                <a:gd name="T89" fmla="*/ 309 h 338"/>
                <a:gd name="T90" fmla="*/ 385 w 861"/>
                <a:gd name="T91" fmla="*/ 308 h 338"/>
                <a:gd name="T92" fmla="*/ 316 w 861"/>
                <a:gd name="T93" fmla="*/ 303 h 338"/>
                <a:gd name="T94" fmla="*/ 289 w 861"/>
                <a:gd name="T95" fmla="*/ 285 h 338"/>
                <a:gd name="T96" fmla="*/ 259 w 861"/>
                <a:gd name="T97" fmla="*/ 253 h 338"/>
                <a:gd name="T98" fmla="*/ 215 w 861"/>
                <a:gd name="T99" fmla="*/ 237 h 338"/>
                <a:gd name="T100" fmla="*/ 135 w 861"/>
                <a:gd name="T101" fmla="*/ 223 h 338"/>
                <a:gd name="T102" fmla="*/ 121 w 861"/>
                <a:gd name="T103" fmla="*/ 193 h 338"/>
                <a:gd name="T104" fmla="*/ 96 w 861"/>
                <a:gd name="T105" fmla="*/ 156 h 338"/>
                <a:gd name="T106" fmla="*/ 72 w 861"/>
                <a:gd name="T107" fmla="*/ 137 h 338"/>
                <a:gd name="T108" fmla="*/ 53 w 861"/>
                <a:gd name="T109" fmla="*/ 132 h 338"/>
                <a:gd name="T110" fmla="*/ 13 w 861"/>
                <a:gd name="T111" fmla="*/ 113 h 338"/>
                <a:gd name="T112" fmla="*/ 5 w 861"/>
                <a:gd name="T113" fmla="*/ 101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61" h="338">
                  <a:moveTo>
                    <a:pt x="0" y="95"/>
                  </a:moveTo>
                  <a:lnTo>
                    <a:pt x="3" y="94"/>
                  </a:lnTo>
                  <a:lnTo>
                    <a:pt x="5" y="92"/>
                  </a:lnTo>
                  <a:lnTo>
                    <a:pt x="5" y="90"/>
                  </a:lnTo>
                  <a:lnTo>
                    <a:pt x="6" y="88"/>
                  </a:lnTo>
                  <a:lnTo>
                    <a:pt x="7" y="85"/>
                  </a:lnTo>
                  <a:lnTo>
                    <a:pt x="10" y="84"/>
                  </a:lnTo>
                  <a:lnTo>
                    <a:pt x="16" y="84"/>
                  </a:lnTo>
                  <a:lnTo>
                    <a:pt x="21" y="85"/>
                  </a:lnTo>
                  <a:lnTo>
                    <a:pt x="22" y="85"/>
                  </a:lnTo>
                  <a:lnTo>
                    <a:pt x="22" y="83"/>
                  </a:lnTo>
                  <a:lnTo>
                    <a:pt x="26" y="84"/>
                  </a:lnTo>
                  <a:lnTo>
                    <a:pt x="27" y="84"/>
                  </a:lnTo>
                  <a:lnTo>
                    <a:pt x="29" y="84"/>
                  </a:lnTo>
                  <a:lnTo>
                    <a:pt x="30" y="84"/>
                  </a:lnTo>
                  <a:lnTo>
                    <a:pt x="29" y="80"/>
                  </a:lnTo>
                  <a:lnTo>
                    <a:pt x="35" y="79"/>
                  </a:lnTo>
                  <a:lnTo>
                    <a:pt x="40" y="76"/>
                  </a:lnTo>
                  <a:lnTo>
                    <a:pt x="38" y="74"/>
                  </a:lnTo>
                  <a:lnTo>
                    <a:pt x="37" y="70"/>
                  </a:lnTo>
                  <a:lnTo>
                    <a:pt x="38" y="70"/>
                  </a:lnTo>
                  <a:lnTo>
                    <a:pt x="41" y="69"/>
                  </a:lnTo>
                  <a:lnTo>
                    <a:pt x="44" y="69"/>
                  </a:lnTo>
                  <a:lnTo>
                    <a:pt x="45" y="67"/>
                  </a:lnTo>
                  <a:lnTo>
                    <a:pt x="45" y="65"/>
                  </a:lnTo>
                  <a:lnTo>
                    <a:pt x="46" y="64"/>
                  </a:lnTo>
                  <a:lnTo>
                    <a:pt x="49" y="63"/>
                  </a:lnTo>
                  <a:lnTo>
                    <a:pt x="54" y="62"/>
                  </a:lnTo>
                  <a:lnTo>
                    <a:pt x="59" y="60"/>
                  </a:lnTo>
                  <a:lnTo>
                    <a:pt x="62" y="57"/>
                  </a:lnTo>
                  <a:lnTo>
                    <a:pt x="67" y="53"/>
                  </a:lnTo>
                  <a:lnTo>
                    <a:pt x="71" y="53"/>
                  </a:lnTo>
                  <a:lnTo>
                    <a:pt x="73" y="52"/>
                  </a:lnTo>
                  <a:lnTo>
                    <a:pt x="75" y="51"/>
                  </a:lnTo>
                  <a:lnTo>
                    <a:pt x="77" y="48"/>
                  </a:lnTo>
                  <a:lnTo>
                    <a:pt x="80" y="46"/>
                  </a:lnTo>
                  <a:lnTo>
                    <a:pt x="83" y="46"/>
                  </a:lnTo>
                  <a:lnTo>
                    <a:pt x="87" y="46"/>
                  </a:lnTo>
                  <a:lnTo>
                    <a:pt x="91" y="44"/>
                  </a:lnTo>
                  <a:lnTo>
                    <a:pt x="91" y="41"/>
                  </a:lnTo>
                  <a:lnTo>
                    <a:pt x="94" y="42"/>
                  </a:lnTo>
                  <a:lnTo>
                    <a:pt x="97" y="43"/>
                  </a:lnTo>
                  <a:lnTo>
                    <a:pt x="99" y="46"/>
                  </a:lnTo>
                  <a:lnTo>
                    <a:pt x="102" y="46"/>
                  </a:lnTo>
                  <a:lnTo>
                    <a:pt x="104" y="43"/>
                  </a:lnTo>
                  <a:lnTo>
                    <a:pt x="107" y="43"/>
                  </a:lnTo>
                  <a:lnTo>
                    <a:pt x="108" y="43"/>
                  </a:lnTo>
                  <a:lnTo>
                    <a:pt x="110" y="47"/>
                  </a:lnTo>
                  <a:lnTo>
                    <a:pt x="112" y="48"/>
                  </a:lnTo>
                  <a:lnTo>
                    <a:pt x="114" y="48"/>
                  </a:lnTo>
                  <a:lnTo>
                    <a:pt x="132" y="48"/>
                  </a:lnTo>
                  <a:lnTo>
                    <a:pt x="141" y="49"/>
                  </a:lnTo>
                  <a:lnTo>
                    <a:pt x="145" y="52"/>
                  </a:lnTo>
                  <a:lnTo>
                    <a:pt x="148" y="54"/>
                  </a:lnTo>
                  <a:lnTo>
                    <a:pt x="155" y="62"/>
                  </a:lnTo>
                  <a:lnTo>
                    <a:pt x="161" y="65"/>
                  </a:lnTo>
                  <a:lnTo>
                    <a:pt x="168" y="67"/>
                  </a:lnTo>
                  <a:lnTo>
                    <a:pt x="177" y="69"/>
                  </a:lnTo>
                  <a:lnTo>
                    <a:pt x="182" y="69"/>
                  </a:lnTo>
                  <a:lnTo>
                    <a:pt x="184" y="69"/>
                  </a:lnTo>
                  <a:lnTo>
                    <a:pt x="192" y="68"/>
                  </a:lnTo>
                  <a:lnTo>
                    <a:pt x="193" y="68"/>
                  </a:lnTo>
                  <a:lnTo>
                    <a:pt x="195" y="68"/>
                  </a:lnTo>
                  <a:lnTo>
                    <a:pt x="198" y="68"/>
                  </a:lnTo>
                  <a:lnTo>
                    <a:pt x="199" y="68"/>
                  </a:lnTo>
                  <a:lnTo>
                    <a:pt x="210" y="70"/>
                  </a:lnTo>
                  <a:lnTo>
                    <a:pt x="221" y="72"/>
                  </a:lnTo>
                  <a:lnTo>
                    <a:pt x="226" y="73"/>
                  </a:lnTo>
                  <a:lnTo>
                    <a:pt x="230" y="75"/>
                  </a:lnTo>
                  <a:lnTo>
                    <a:pt x="233" y="75"/>
                  </a:lnTo>
                  <a:lnTo>
                    <a:pt x="236" y="74"/>
                  </a:lnTo>
                  <a:lnTo>
                    <a:pt x="238" y="72"/>
                  </a:lnTo>
                  <a:lnTo>
                    <a:pt x="239" y="70"/>
                  </a:lnTo>
                  <a:lnTo>
                    <a:pt x="244" y="69"/>
                  </a:lnTo>
                  <a:lnTo>
                    <a:pt x="247" y="67"/>
                  </a:lnTo>
                  <a:lnTo>
                    <a:pt x="248" y="64"/>
                  </a:lnTo>
                  <a:lnTo>
                    <a:pt x="248" y="58"/>
                  </a:lnTo>
                  <a:lnTo>
                    <a:pt x="247" y="53"/>
                  </a:lnTo>
                  <a:lnTo>
                    <a:pt x="242" y="49"/>
                  </a:lnTo>
                  <a:lnTo>
                    <a:pt x="238" y="47"/>
                  </a:lnTo>
                  <a:lnTo>
                    <a:pt x="235" y="44"/>
                  </a:lnTo>
                  <a:lnTo>
                    <a:pt x="228" y="38"/>
                  </a:lnTo>
                  <a:lnTo>
                    <a:pt x="227" y="37"/>
                  </a:lnTo>
                  <a:lnTo>
                    <a:pt x="226" y="35"/>
                  </a:lnTo>
                  <a:lnTo>
                    <a:pt x="225" y="28"/>
                  </a:lnTo>
                  <a:lnTo>
                    <a:pt x="225" y="22"/>
                  </a:lnTo>
                  <a:lnTo>
                    <a:pt x="226" y="21"/>
                  </a:lnTo>
                  <a:lnTo>
                    <a:pt x="228" y="21"/>
                  </a:lnTo>
                  <a:lnTo>
                    <a:pt x="227" y="19"/>
                  </a:lnTo>
                  <a:lnTo>
                    <a:pt x="227" y="16"/>
                  </a:lnTo>
                  <a:lnTo>
                    <a:pt x="228" y="14"/>
                  </a:lnTo>
                  <a:lnTo>
                    <a:pt x="231" y="13"/>
                  </a:lnTo>
                  <a:lnTo>
                    <a:pt x="233" y="10"/>
                  </a:lnTo>
                  <a:lnTo>
                    <a:pt x="235" y="6"/>
                  </a:lnTo>
                  <a:lnTo>
                    <a:pt x="235" y="0"/>
                  </a:lnTo>
                  <a:lnTo>
                    <a:pt x="243" y="3"/>
                  </a:lnTo>
                  <a:lnTo>
                    <a:pt x="252" y="6"/>
                  </a:lnTo>
                  <a:lnTo>
                    <a:pt x="262" y="10"/>
                  </a:lnTo>
                  <a:lnTo>
                    <a:pt x="271" y="13"/>
                  </a:lnTo>
                  <a:lnTo>
                    <a:pt x="280" y="14"/>
                  </a:lnTo>
                  <a:lnTo>
                    <a:pt x="290" y="15"/>
                  </a:lnTo>
                  <a:lnTo>
                    <a:pt x="295" y="17"/>
                  </a:lnTo>
                  <a:lnTo>
                    <a:pt x="301" y="19"/>
                  </a:lnTo>
                  <a:lnTo>
                    <a:pt x="306" y="20"/>
                  </a:lnTo>
                  <a:lnTo>
                    <a:pt x="311" y="20"/>
                  </a:lnTo>
                  <a:lnTo>
                    <a:pt x="319" y="20"/>
                  </a:lnTo>
                  <a:lnTo>
                    <a:pt x="327" y="24"/>
                  </a:lnTo>
                  <a:lnTo>
                    <a:pt x="333" y="28"/>
                  </a:lnTo>
                  <a:lnTo>
                    <a:pt x="335" y="33"/>
                  </a:lnTo>
                  <a:lnTo>
                    <a:pt x="338" y="37"/>
                  </a:lnTo>
                  <a:lnTo>
                    <a:pt x="340" y="41"/>
                  </a:lnTo>
                  <a:lnTo>
                    <a:pt x="345" y="46"/>
                  </a:lnTo>
                  <a:lnTo>
                    <a:pt x="349" y="49"/>
                  </a:lnTo>
                  <a:lnTo>
                    <a:pt x="353" y="52"/>
                  </a:lnTo>
                  <a:lnTo>
                    <a:pt x="358" y="54"/>
                  </a:lnTo>
                  <a:lnTo>
                    <a:pt x="360" y="56"/>
                  </a:lnTo>
                  <a:lnTo>
                    <a:pt x="364" y="57"/>
                  </a:lnTo>
                  <a:lnTo>
                    <a:pt x="367" y="57"/>
                  </a:lnTo>
                  <a:lnTo>
                    <a:pt x="372" y="58"/>
                  </a:lnTo>
                  <a:lnTo>
                    <a:pt x="376" y="60"/>
                  </a:lnTo>
                  <a:lnTo>
                    <a:pt x="378" y="62"/>
                  </a:lnTo>
                  <a:lnTo>
                    <a:pt x="382" y="63"/>
                  </a:lnTo>
                  <a:lnTo>
                    <a:pt x="386" y="63"/>
                  </a:lnTo>
                  <a:lnTo>
                    <a:pt x="390" y="62"/>
                  </a:lnTo>
                  <a:lnTo>
                    <a:pt x="392" y="62"/>
                  </a:lnTo>
                  <a:lnTo>
                    <a:pt x="396" y="62"/>
                  </a:lnTo>
                  <a:lnTo>
                    <a:pt x="398" y="62"/>
                  </a:lnTo>
                  <a:lnTo>
                    <a:pt x="403" y="59"/>
                  </a:lnTo>
                  <a:lnTo>
                    <a:pt x="420" y="54"/>
                  </a:lnTo>
                  <a:lnTo>
                    <a:pt x="429" y="53"/>
                  </a:lnTo>
                  <a:lnTo>
                    <a:pt x="439" y="54"/>
                  </a:lnTo>
                  <a:lnTo>
                    <a:pt x="450" y="56"/>
                  </a:lnTo>
                  <a:lnTo>
                    <a:pt x="458" y="57"/>
                  </a:lnTo>
                  <a:lnTo>
                    <a:pt x="463" y="58"/>
                  </a:lnTo>
                  <a:lnTo>
                    <a:pt x="467" y="59"/>
                  </a:lnTo>
                  <a:lnTo>
                    <a:pt x="474" y="64"/>
                  </a:lnTo>
                  <a:lnTo>
                    <a:pt x="479" y="67"/>
                  </a:lnTo>
                  <a:lnTo>
                    <a:pt x="484" y="68"/>
                  </a:lnTo>
                  <a:lnTo>
                    <a:pt x="495" y="69"/>
                  </a:lnTo>
                  <a:lnTo>
                    <a:pt x="501" y="73"/>
                  </a:lnTo>
                  <a:lnTo>
                    <a:pt x="505" y="76"/>
                  </a:lnTo>
                  <a:lnTo>
                    <a:pt x="510" y="81"/>
                  </a:lnTo>
                  <a:lnTo>
                    <a:pt x="516" y="85"/>
                  </a:lnTo>
                  <a:lnTo>
                    <a:pt x="526" y="89"/>
                  </a:lnTo>
                  <a:lnTo>
                    <a:pt x="535" y="89"/>
                  </a:lnTo>
                  <a:lnTo>
                    <a:pt x="546" y="90"/>
                  </a:lnTo>
                  <a:lnTo>
                    <a:pt x="557" y="92"/>
                  </a:lnTo>
                  <a:lnTo>
                    <a:pt x="565" y="94"/>
                  </a:lnTo>
                  <a:lnTo>
                    <a:pt x="574" y="94"/>
                  </a:lnTo>
                  <a:lnTo>
                    <a:pt x="581" y="94"/>
                  </a:lnTo>
                  <a:lnTo>
                    <a:pt x="585" y="94"/>
                  </a:lnTo>
                  <a:lnTo>
                    <a:pt x="588" y="92"/>
                  </a:lnTo>
                  <a:lnTo>
                    <a:pt x="594" y="89"/>
                  </a:lnTo>
                  <a:lnTo>
                    <a:pt x="597" y="88"/>
                  </a:lnTo>
                  <a:lnTo>
                    <a:pt x="603" y="86"/>
                  </a:lnTo>
                  <a:lnTo>
                    <a:pt x="607" y="86"/>
                  </a:lnTo>
                  <a:lnTo>
                    <a:pt x="612" y="85"/>
                  </a:lnTo>
                  <a:lnTo>
                    <a:pt x="618" y="84"/>
                  </a:lnTo>
                  <a:lnTo>
                    <a:pt x="623" y="84"/>
                  </a:lnTo>
                  <a:lnTo>
                    <a:pt x="631" y="83"/>
                  </a:lnTo>
                  <a:lnTo>
                    <a:pt x="633" y="80"/>
                  </a:lnTo>
                  <a:lnTo>
                    <a:pt x="634" y="78"/>
                  </a:lnTo>
                  <a:lnTo>
                    <a:pt x="638" y="70"/>
                  </a:lnTo>
                  <a:lnTo>
                    <a:pt x="644" y="65"/>
                  </a:lnTo>
                  <a:lnTo>
                    <a:pt x="650" y="62"/>
                  </a:lnTo>
                  <a:lnTo>
                    <a:pt x="654" y="60"/>
                  </a:lnTo>
                  <a:lnTo>
                    <a:pt x="658" y="60"/>
                  </a:lnTo>
                  <a:lnTo>
                    <a:pt x="666" y="59"/>
                  </a:lnTo>
                  <a:lnTo>
                    <a:pt x="670" y="60"/>
                  </a:lnTo>
                  <a:lnTo>
                    <a:pt x="675" y="63"/>
                  </a:lnTo>
                  <a:lnTo>
                    <a:pt x="683" y="68"/>
                  </a:lnTo>
                  <a:lnTo>
                    <a:pt x="692" y="72"/>
                  </a:lnTo>
                  <a:lnTo>
                    <a:pt x="698" y="72"/>
                  </a:lnTo>
                  <a:lnTo>
                    <a:pt x="704" y="69"/>
                  </a:lnTo>
                  <a:lnTo>
                    <a:pt x="709" y="68"/>
                  </a:lnTo>
                  <a:lnTo>
                    <a:pt x="715" y="69"/>
                  </a:lnTo>
                  <a:lnTo>
                    <a:pt x="720" y="72"/>
                  </a:lnTo>
                  <a:lnTo>
                    <a:pt x="724" y="73"/>
                  </a:lnTo>
                  <a:lnTo>
                    <a:pt x="726" y="121"/>
                  </a:lnTo>
                  <a:lnTo>
                    <a:pt x="728" y="122"/>
                  </a:lnTo>
                  <a:lnTo>
                    <a:pt x="729" y="123"/>
                  </a:lnTo>
                  <a:lnTo>
                    <a:pt x="728" y="126"/>
                  </a:lnTo>
                  <a:lnTo>
                    <a:pt x="725" y="128"/>
                  </a:lnTo>
                  <a:lnTo>
                    <a:pt x="725" y="131"/>
                  </a:lnTo>
                  <a:lnTo>
                    <a:pt x="729" y="134"/>
                  </a:lnTo>
                  <a:lnTo>
                    <a:pt x="733" y="137"/>
                  </a:lnTo>
                  <a:lnTo>
                    <a:pt x="735" y="139"/>
                  </a:lnTo>
                  <a:lnTo>
                    <a:pt x="739" y="140"/>
                  </a:lnTo>
                  <a:lnTo>
                    <a:pt x="741" y="140"/>
                  </a:lnTo>
                  <a:lnTo>
                    <a:pt x="744" y="139"/>
                  </a:lnTo>
                  <a:lnTo>
                    <a:pt x="746" y="138"/>
                  </a:lnTo>
                  <a:lnTo>
                    <a:pt x="750" y="137"/>
                  </a:lnTo>
                  <a:lnTo>
                    <a:pt x="760" y="137"/>
                  </a:lnTo>
                  <a:lnTo>
                    <a:pt x="765" y="137"/>
                  </a:lnTo>
                  <a:lnTo>
                    <a:pt x="768" y="138"/>
                  </a:lnTo>
                  <a:lnTo>
                    <a:pt x="772" y="140"/>
                  </a:lnTo>
                  <a:lnTo>
                    <a:pt x="776" y="140"/>
                  </a:lnTo>
                  <a:lnTo>
                    <a:pt x="778" y="140"/>
                  </a:lnTo>
                  <a:lnTo>
                    <a:pt x="782" y="138"/>
                  </a:lnTo>
                  <a:lnTo>
                    <a:pt x="787" y="132"/>
                  </a:lnTo>
                  <a:lnTo>
                    <a:pt x="789" y="131"/>
                  </a:lnTo>
                  <a:lnTo>
                    <a:pt x="794" y="131"/>
                  </a:lnTo>
                  <a:lnTo>
                    <a:pt x="803" y="133"/>
                  </a:lnTo>
                  <a:lnTo>
                    <a:pt x="811" y="135"/>
                  </a:lnTo>
                  <a:lnTo>
                    <a:pt x="820" y="140"/>
                  </a:lnTo>
                  <a:lnTo>
                    <a:pt x="827" y="145"/>
                  </a:lnTo>
                  <a:lnTo>
                    <a:pt x="843" y="155"/>
                  </a:lnTo>
                  <a:lnTo>
                    <a:pt x="851" y="160"/>
                  </a:lnTo>
                  <a:lnTo>
                    <a:pt x="857" y="167"/>
                  </a:lnTo>
                  <a:lnTo>
                    <a:pt x="861" y="171"/>
                  </a:lnTo>
                  <a:lnTo>
                    <a:pt x="861" y="174"/>
                  </a:lnTo>
                  <a:lnTo>
                    <a:pt x="859" y="175"/>
                  </a:lnTo>
                  <a:lnTo>
                    <a:pt x="857" y="176"/>
                  </a:lnTo>
                  <a:lnTo>
                    <a:pt x="851" y="176"/>
                  </a:lnTo>
                  <a:lnTo>
                    <a:pt x="845" y="176"/>
                  </a:lnTo>
                  <a:lnTo>
                    <a:pt x="841" y="175"/>
                  </a:lnTo>
                  <a:lnTo>
                    <a:pt x="837" y="174"/>
                  </a:lnTo>
                  <a:lnTo>
                    <a:pt x="835" y="172"/>
                  </a:lnTo>
                  <a:lnTo>
                    <a:pt x="831" y="174"/>
                  </a:lnTo>
                  <a:lnTo>
                    <a:pt x="830" y="175"/>
                  </a:lnTo>
                  <a:lnTo>
                    <a:pt x="827" y="174"/>
                  </a:lnTo>
                  <a:lnTo>
                    <a:pt x="825" y="174"/>
                  </a:lnTo>
                  <a:lnTo>
                    <a:pt x="822" y="174"/>
                  </a:lnTo>
                  <a:lnTo>
                    <a:pt x="816" y="175"/>
                  </a:lnTo>
                  <a:lnTo>
                    <a:pt x="810" y="178"/>
                  </a:lnTo>
                  <a:lnTo>
                    <a:pt x="808" y="178"/>
                  </a:lnTo>
                  <a:lnTo>
                    <a:pt x="805" y="178"/>
                  </a:lnTo>
                  <a:lnTo>
                    <a:pt x="803" y="177"/>
                  </a:lnTo>
                  <a:lnTo>
                    <a:pt x="800" y="180"/>
                  </a:lnTo>
                  <a:lnTo>
                    <a:pt x="799" y="183"/>
                  </a:lnTo>
                  <a:lnTo>
                    <a:pt x="798" y="185"/>
                  </a:lnTo>
                  <a:lnTo>
                    <a:pt x="795" y="185"/>
                  </a:lnTo>
                  <a:lnTo>
                    <a:pt x="787" y="185"/>
                  </a:lnTo>
                  <a:lnTo>
                    <a:pt x="784" y="186"/>
                  </a:lnTo>
                  <a:lnTo>
                    <a:pt x="782" y="190"/>
                  </a:lnTo>
                  <a:lnTo>
                    <a:pt x="781" y="197"/>
                  </a:lnTo>
                  <a:lnTo>
                    <a:pt x="781" y="198"/>
                  </a:lnTo>
                  <a:lnTo>
                    <a:pt x="782" y="201"/>
                  </a:lnTo>
                  <a:lnTo>
                    <a:pt x="783" y="202"/>
                  </a:lnTo>
                  <a:lnTo>
                    <a:pt x="783" y="204"/>
                  </a:lnTo>
                  <a:lnTo>
                    <a:pt x="781" y="207"/>
                  </a:lnTo>
                  <a:lnTo>
                    <a:pt x="778" y="209"/>
                  </a:lnTo>
                  <a:lnTo>
                    <a:pt x="774" y="212"/>
                  </a:lnTo>
                  <a:lnTo>
                    <a:pt x="772" y="213"/>
                  </a:lnTo>
                  <a:lnTo>
                    <a:pt x="766" y="217"/>
                  </a:lnTo>
                  <a:lnTo>
                    <a:pt x="757" y="217"/>
                  </a:lnTo>
                  <a:lnTo>
                    <a:pt x="751" y="215"/>
                  </a:lnTo>
                  <a:lnTo>
                    <a:pt x="749" y="215"/>
                  </a:lnTo>
                  <a:lnTo>
                    <a:pt x="746" y="218"/>
                  </a:lnTo>
                  <a:lnTo>
                    <a:pt x="744" y="224"/>
                  </a:lnTo>
                  <a:lnTo>
                    <a:pt x="741" y="229"/>
                  </a:lnTo>
                  <a:lnTo>
                    <a:pt x="738" y="231"/>
                  </a:lnTo>
                  <a:lnTo>
                    <a:pt x="736" y="231"/>
                  </a:lnTo>
                  <a:lnTo>
                    <a:pt x="734" y="234"/>
                  </a:lnTo>
                  <a:lnTo>
                    <a:pt x="733" y="236"/>
                  </a:lnTo>
                  <a:lnTo>
                    <a:pt x="729" y="237"/>
                  </a:lnTo>
                  <a:lnTo>
                    <a:pt x="712" y="234"/>
                  </a:lnTo>
                  <a:lnTo>
                    <a:pt x="704" y="231"/>
                  </a:lnTo>
                  <a:lnTo>
                    <a:pt x="697" y="228"/>
                  </a:lnTo>
                  <a:lnTo>
                    <a:pt x="688" y="226"/>
                  </a:lnTo>
                  <a:lnTo>
                    <a:pt x="685" y="226"/>
                  </a:lnTo>
                  <a:lnTo>
                    <a:pt x="681" y="229"/>
                  </a:lnTo>
                  <a:lnTo>
                    <a:pt x="679" y="231"/>
                  </a:lnTo>
                  <a:lnTo>
                    <a:pt x="677" y="234"/>
                  </a:lnTo>
                  <a:lnTo>
                    <a:pt x="679" y="240"/>
                  </a:lnTo>
                  <a:lnTo>
                    <a:pt x="679" y="244"/>
                  </a:lnTo>
                  <a:lnTo>
                    <a:pt x="679" y="247"/>
                  </a:lnTo>
                  <a:lnTo>
                    <a:pt x="681" y="251"/>
                  </a:lnTo>
                  <a:lnTo>
                    <a:pt x="683" y="252"/>
                  </a:lnTo>
                  <a:lnTo>
                    <a:pt x="686" y="255"/>
                  </a:lnTo>
                  <a:lnTo>
                    <a:pt x="690" y="257"/>
                  </a:lnTo>
                  <a:lnTo>
                    <a:pt x="697" y="262"/>
                  </a:lnTo>
                  <a:lnTo>
                    <a:pt x="701" y="266"/>
                  </a:lnTo>
                  <a:lnTo>
                    <a:pt x="702" y="268"/>
                  </a:lnTo>
                  <a:lnTo>
                    <a:pt x="703" y="271"/>
                  </a:lnTo>
                  <a:lnTo>
                    <a:pt x="701" y="273"/>
                  </a:lnTo>
                  <a:lnTo>
                    <a:pt x="697" y="276"/>
                  </a:lnTo>
                  <a:lnTo>
                    <a:pt x="692" y="279"/>
                  </a:lnTo>
                  <a:lnTo>
                    <a:pt x="688" y="283"/>
                  </a:lnTo>
                  <a:lnTo>
                    <a:pt x="686" y="284"/>
                  </a:lnTo>
                  <a:lnTo>
                    <a:pt x="683" y="287"/>
                  </a:lnTo>
                  <a:lnTo>
                    <a:pt x="680" y="295"/>
                  </a:lnTo>
                  <a:lnTo>
                    <a:pt x="675" y="303"/>
                  </a:lnTo>
                  <a:lnTo>
                    <a:pt x="667" y="306"/>
                  </a:lnTo>
                  <a:lnTo>
                    <a:pt x="660" y="310"/>
                  </a:lnTo>
                  <a:lnTo>
                    <a:pt x="655" y="312"/>
                  </a:lnTo>
                  <a:lnTo>
                    <a:pt x="650" y="312"/>
                  </a:lnTo>
                  <a:lnTo>
                    <a:pt x="639" y="312"/>
                  </a:lnTo>
                  <a:lnTo>
                    <a:pt x="628" y="312"/>
                  </a:lnTo>
                  <a:lnTo>
                    <a:pt x="617" y="312"/>
                  </a:lnTo>
                  <a:lnTo>
                    <a:pt x="595" y="317"/>
                  </a:lnTo>
                  <a:lnTo>
                    <a:pt x="584" y="320"/>
                  </a:lnTo>
                  <a:lnTo>
                    <a:pt x="574" y="325"/>
                  </a:lnTo>
                  <a:lnTo>
                    <a:pt x="564" y="330"/>
                  </a:lnTo>
                  <a:lnTo>
                    <a:pt x="557" y="335"/>
                  </a:lnTo>
                  <a:lnTo>
                    <a:pt x="553" y="337"/>
                  </a:lnTo>
                  <a:lnTo>
                    <a:pt x="552" y="338"/>
                  </a:lnTo>
                  <a:lnTo>
                    <a:pt x="549" y="338"/>
                  </a:lnTo>
                  <a:lnTo>
                    <a:pt x="547" y="338"/>
                  </a:lnTo>
                  <a:lnTo>
                    <a:pt x="542" y="338"/>
                  </a:lnTo>
                  <a:lnTo>
                    <a:pt x="537" y="336"/>
                  </a:lnTo>
                  <a:lnTo>
                    <a:pt x="533" y="333"/>
                  </a:lnTo>
                  <a:lnTo>
                    <a:pt x="531" y="332"/>
                  </a:lnTo>
                  <a:lnTo>
                    <a:pt x="528" y="332"/>
                  </a:lnTo>
                  <a:lnTo>
                    <a:pt x="524" y="332"/>
                  </a:lnTo>
                  <a:lnTo>
                    <a:pt x="514" y="332"/>
                  </a:lnTo>
                  <a:lnTo>
                    <a:pt x="503" y="330"/>
                  </a:lnTo>
                  <a:lnTo>
                    <a:pt x="493" y="327"/>
                  </a:lnTo>
                  <a:lnTo>
                    <a:pt x="483" y="325"/>
                  </a:lnTo>
                  <a:lnTo>
                    <a:pt x="473" y="322"/>
                  </a:lnTo>
                  <a:lnTo>
                    <a:pt x="463" y="320"/>
                  </a:lnTo>
                  <a:lnTo>
                    <a:pt x="460" y="316"/>
                  </a:lnTo>
                  <a:lnTo>
                    <a:pt x="455" y="314"/>
                  </a:lnTo>
                  <a:lnTo>
                    <a:pt x="451" y="310"/>
                  </a:lnTo>
                  <a:lnTo>
                    <a:pt x="446" y="309"/>
                  </a:lnTo>
                  <a:lnTo>
                    <a:pt x="436" y="308"/>
                  </a:lnTo>
                  <a:lnTo>
                    <a:pt x="426" y="308"/>
                  </a:lnTo>
                  <a:lnTo>
                    <a:pt x="409" y="304"/>
                  </a:lnTo>
                  <a:lnTo>
                    <a:pt x="404" y="304"/>
                  </a:lnTo>
                  <a:lnTo>
                    <a:pt x="401" y="305"/>
                  </a:lnTo>
                  <a:lnTo>
                    <a:pt x="392" y="308"/>
                  </a:lnTo>
                  <a:lnTo>
                    <a:pt x="385" y="308"/>
                  </a:lnTo>
                  <a:lnTo>
                    <a:pt x="378" y="308"/>
                  </a:lnTo>
                  <a:lnTo>
                    <a:pt x="365" y="306"/>
                  </a:lnTo>
                  <a:lnTo>
                    <a:pt x="355" y="305"/>
                  </a:lnTo>
                  <a:lnTo>
                    <a:pt x="344" y="303"/>
                  </a:lnTo>
                  <a:lnTo>
                    <a:pt x="334" y="301"/>
                  </a:lnTo>
                  <a:lnTo>
                    <a:pt x="323" y="301"/>
                  </a:lnTo>
                  <a:lnTo>
                    <a:pt x="316" y="303"/>
                  </a:lnTo>
                  <a:lnTo>
                    <a:pt x="311" y="303"/>
                  </a:lnTo>
                  <a:lnTo>
                    <a:pt x="308" y="301"/>
                  </a:lnTo>
                  <a:lnTo>
                    <a:pt x="306" y="300"/>
                  </a:lnTo>
                  <a:lnTo>
                    <a:pt x="303" y="298"/>
                  </a:lnTo>
                  <a:lnTo>
                    <a:pt x="301" y="294"/>
                  </a:lnTo>
                  <a:lnTo>
                    <a:pt x="296" y="292"/>
                  </a:lnTo>
                  <a:lnTo>
                    <a:pt x="289" y="285"/>
                  </a:lnTo>
                  <a:lnTo>
                    <a:pt x="283" y="279"/>
                  </a:lnTo>
                  <a:lnTo>
                    <a:pt x="278" y="272"/>
                  </a:lnTo>
                  <a:lnTo>
                    <a:pt x="271" y="265"/>
                  </a:lnTo>
                  <a:lnTo>
                    <a:pt x="265" y="261"/>
                  </a:lnTo>
                  <a:lnTo>
                    <a:pt x="263" y="260"/>
                  </a:lnTo>
                  <a:lnTo>
                    <a:pt x="262" y="256"/>
                  </a:lnTo>
                  <a:lnTo>
                    <a:pt x="259" y="253"/>
                  </a:lnTo>
                  <a:lnTo>
                    <a:pt x="254" y="252"/>
                  </a:lnTo>
                  <a:lnTo>
                    <a:pt x="249" y="251"/>
                  </a:lnTo>
                  <a:lnTo>
                    <a:pt x="244" y="250"/>
                  </a:lnTo>
                  <a:lnTo>
                    <a:pt x="227" y="241"/>
                  </a:lnTo>
                  <a:lnTo>
                    <a:pt x="223" y="240"/>
                  </a:lnTo>
                  <a:lnTo>
                    <a:pt x="219" y="239"/>
                  </a:lnTo>
                  <a:lnTo>
                    <a:pt x="215" y="237"/>
                  </a:lnTo>
                  <a:lnTo>
                    <a:pt x="211" y="235"/>
                  </a:lnTo>
                  <a:lnTo>
                    <a:pt x="203" y="230"/>
                  </a:lnTo>
                  <a:lnTo>
                    <a:pt x="193" y="229"/>
                  </a:lnTo>
                  <a:lnTo>
                    <a:pt x="183" y="229"/>
                  </a:lnTo>
                  <a:lnTo>
                    <a:pt x="173" y="229"/>
                  </a:lnTo>
                  <a:lnTo>
                    <a:pt x="142" y="224"/>
                  </a:lnTo>
                  <a:lnTo>
                    <a:pt x="135" y="223"/>
                  </a:lnTo>
                  <a:lnTo>
                    <a:pt x="128" y="219"/>
                  </a:lnTo>
                  <a:lnTo>
                    <a:pt x="123" y="214"/>
                  </a:lnTo>
                  <a:lnTo>
                    <a:pt x="120" y="207"/>
                  </a:lnTo>
                  <a:lnTo>
                    <a:pt x="120" y="203"/>
                  </a:lnTo>
                  <a:lnTo>
                    <a:pt x="121" y="199"/>
                  </a:lnTo>
                  <a:lnTo>
                    <a:pt x="123" y="196"/>
                  </a:lnTo>
                  <a:lnTo>
                    <a:pt x="121" y="193"/>
                  </a:lnTo>
                  <a:lnTo>
                    <a:pt x="120" y="188"/>
                  </a:lnTo>
                  <a:lnTo>
                    <a:pt x="119" y="183"/>
                  </a:lnTo>
                  <a:lnTo>
                    <a:pt x="118" y="180"/>
                  </a:lnTo>
                  <a:lnTo>
                    <a:pt x="115" y="176"/>
                  </a:lnTo>
                  <a:lnTo>
                    <a:pt x="109" y="167"/>
                  </a:lnTo>
                  <a:lnTo>
                    <a:pt x="101" y="160"/>
                  </a:lnTo>
                  <a:lnTo>
                    <a:pt x="96" y="156"/>
                  </a:lnTo>
                  <a:lnTo>
                    <a:pt x="93" y="153"/>
                  </a:lnTo>
                  <a:lnTo>
                    <a:pt x="87" y="145"/>
                  </a:lnTo>
                  <a:lnTo>
                    <a:pt x="81" y="140"/>
                  </a:lnTo>
                  <a:lnTo>
                    <a:pt x="75" y="137"/>
                  </a:lnTo>
                  <a:lnTo>
                    <a:pt x="72" y="135"/>
                  </a:lnTo>
                  <a:lnTo>
                    <a:pt x="72" y="135"/>
                  </a:lnTo>
                  <a:lnTo>
                    <a:pt x="72" y="137"/>
                  </a:lnTo>
                  <a:lnTo>
                    <a:pt x="70" y="138"/>
                  </a:lnTo>
                  <a:lnTo>
                    <a:pt x="66" y="137"/>
                  </a:lnTo>
                  <a:lnTo>
                    <a:pt x="64" y="134"/>
                  </a:lnTo>
                  <a:lnTo>
                    <a:pt x="60" y="133"/>
                  </a:lnTo>
                  <a:lnTo>
                    <a:pt x="57" y="132"/>
                  </a:lnTo>
                  <a:lnTo>
                    <a:pt x="55" y="132"/>
                  </a:lnTo>
                  <a:lnTo>
                    <a:pt x="53" y="132"/>
                  </a:lnTo>
                  <a:lnTo>
                    <a:pt x="46" y="132"/>
                  </a:lnTo>
                  <a:lnTo>
                    <a:pt x="41" y="129"/>
                  </a:lnTo>
                  <a:lnTo>
                    <a:pt x="33" y="124"/>
                  </a:lnTo>
                  <a:lnTo>
                    <a:pt x="27" y="119"/>
                  </a:lnTo>
                  <a:lnTo>
                    <a:pt x="19" y="116"/>
                  </a:lnTo>
                  <a:lnTo>
                    <a:pt x="14" y="115"/>
                  </a:lnTo>
                  <a:lnTo>
                    <a:pt x="13" y="113"/>
                  </a:lnTo>
                  <a:lnTo>
                    <a:pt x="12" y="111"/>
                  </a:lnTo>
                  <a:lnTo>
                    <a:pt x="11" y="108"/>
                  </a:lnTo>
                  <a:lnTo>
                    <a:pt x="8" y="107"/>
                  </a:lnTo>
                  <a:lnTo>
                    <a:pt x="5" y="105"/>
                  </a:lnTo>
                  <a:lnTo>
                    <a:pt x="2" y="103"/>
                  </a:lnTo>
                  <a:lnTo>
                    <a:pt x="3" y="102"/>
                  </a:lnTo>
                  <a:lnTo>
                    <a:pt x="5" y="101"/>
                  </a:lnTo>
                  <a:lnTo>
                    <a:pt x="5" y="100"/>
                  </a:lnTo>
                  <a:lnTo>
                    <a:pt x="3" y="97"/>
                  </a:lnTo>
                  <a:lnTo>
                    <a:pt x="1" y="96"/>
                  </a:lnTo>
                  <a:lnTo>
                    <a:pt x="0" y="95"/>
                  </a:lnTo>
                  <a:lnTo>
                    <a:pt x="0" y="9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9" name="Freeform 1952">
              <a:extLst>
                <a:ext uri="{FF2B5EF4-FFF2-40B4-BE49-F238E27FC236}">
                  <a16:creationId xmlns:a16="http://schemas.microsoft.com/office/drawing/2014/main" id="{EE587085-377B-4746-A125-3FF2F01CB0E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8538" y="3625995"/>
              <a:ext cx="99072" cy="54805"/>
            </a:xfrm>
            <a:custGeom>
              <a:avLst/>
              <a:gdLst>
                <a:gd name="T0" fmla="*/ 0 w 95"/>
                <a:gd name="T1" fmla="*/ 38 h 53"/>
                <a:gd name="T2" fmla="*/ 0 w 95"/>
                <a:gd name="T3" fmla="*/ 36 h 53"/>
                <a:gd name="T4" fmla="*/ 1 w 95"/>
                <a:gd name="T5" fmla="*/ 35 h 53"/>
                <a:gd name="T6" fmla="*/ 3 w 95"/>
                <a:gd name="T7" fmla="*/ 33 h 53"/>
                <a:gd name="T8" fmla="*/ 3 w 95"/>
                <a:gd name="T9" fmla="*/ 31 h 53"/>
                <a:gd name="T10" fmla="*/ 4 w 95"/>
                <a:gd name="T11" fmla="*/ 30 h 53"/>
                <a:gd name="T12" fmla="*/ 5 w 95"/>
                <a:gd name="T13" fmla="*/ 27 h 53"/>
                <a:gd name="T14" fmla="*/ 8 w 95"/>
                <a:gd name="T15" fmla="*/ 25 h 53"/>
                <a:gd name="T16" fmla="*/ 10 w 95"/>
                <a:gd name="T17" fmla="*/ 20 h 53"/>
                <a:gd name="T18" fmla="*/ 12 w 95"/>
                <a:gd name="T19" fmla="*/ 15 h 53"/>
                <a:gd name="T20" fmla="*/ 15 w 95"/>
                <a:gd name="T21" fmla="*/ 11 h 53"/>
                <a:gd name="T22" fmla="*/ 21 w 95"/>
                <a:gd name="T23" fmla="*/ 4 h 53"/>
                <a:gd name="T24" fmla="*/ 26 w 95"/>
                <a:gd name="T25" fmla="*/ 1 h 53"/>
                <a:gd name="T26" fmla="*/ 31 w 95"/>
                <a:gd name="T27" fmla="*/ 0 h 53"/>
                <a:gd name="T28" fmla="*/ 32 w 95"/>
                <a:gd name="T29" fmla="*/ 0 h 53"/>
                <a:gd name="T30" fmla="*/ 35 w 95"/>
                <a:gd name="T31" fmla="*/ 1 h 53"/>
                <a:gd name="T32" fmla="*/ 37 w 95"/>
                <a:gd name="T33" fmla="*/ 1 h 53"/>
                <a:gd name="T34" fmla="*/ 38 w 95"/>
                <a:gd name="T35" fmla="*/ 3 h 53"/>
                <a:gd name="T36" fmla="*/ 38 w 95"/>
                <a:gd name="T37" fmla="*/ 6 h 53"/>
                <a:gd name="T38" fmla="*/ 40 w 95"/>
                <a:gd name="T39" fmla="*/ 8 h 53"/>
                <a:gd name="T40" fmla="*/ 41 w 95"/>
                <a:gd name="T41" fmla="*/ 9 h 53"/>
                <a:gd name="T42" fmla="*/ 47 w 95"/>
                <a:gd name="T43" fmla="*/ 9 h 53"/>
                <a:gd name="T44" fmla="*/ 54 w 95"/>
                <a:gd name="T45" fmla="*/ 9 h 53"/>
                <a:gd name="T46" fmla="*/ 56 w 95"/>
                <a:gd name="T47" fmla="*/ 10 h 53"/>
                <a:gd name="T48" fmla="*/ 58 w 95"/>
                <a:gd name="T49" fmla="*/ 11 h 53"/>
                <a:gd name="T50" fmla="*/ 59 w 95"/>
                <a:gd name="T51" fmla="*/ 11 h 53"/>
                <a:gd name="T52" fmla="*/ 62 w 95"/>
                <a:gd name="T53" fmla="*/ 11 h 53"/>
                <a:gd name="T54" fmla="*/ 64 w 95"/>
                <a:gd name="T55" fmla="*/ 9 h 53"/>
                <a:gd name="T56" fmla="*/ 68 w 95"/>
                <a:gd name="T57" fmla="*/ 9 h 53"/>
                <a:gd name="T58" fmla="*/ 74 w 95"/>
                <a:gd name="T59" fmla="*/ 11 h 53"/>
                <a:gd name="T60" fmla="*/ 76 w 95"/>
                <a:gd name="T61" fmla="*/ 14 h 53"/>
                <a:gd name="T62" fmla="*/ 78 w 95"/>
                <a:gd name="T63" fmla="*/ 17 h 53"/>
                <a:gd name="T64" fmla="*/ 78 w 95"/>
                <a:gd name="T65" fmla="*/ 21 h 53"/>
                <a:gd name="T66" fmla="*/ 79 w 95"/>
                <a:gd name="T67" fmla="*/ 25 h 53"/>
                <a:gd name="T68" fmla="*/ 81 w 95"/>
                <a:gd name="T69" fmla="*/ 27 h 53"/>
                <a:gd name="T70" fmla="*/ 86 w 95"/>
                <a:gd name="T71" fmla="*/ 28 h 53"/>
                <a:gd name="T72" fmla="*/ 90 w 95"/>
                <a:gd name="T73" fmla="*/ 30 h 53"/>
                <a:gd name="T74" fmla="*/ 92 w 95"/>
                <a:gd name="T75" fmla="*/ 32 h 53"/>
                <a:gd name="T76" fmla="*/ 92 w 95"/>
                <a:gd name="T77" fmla="*/ 36 h 53"/>
                <a:gd name="T78" fmla="*/ 91 w 95"/>
                <a:gd name="T79" fmla="*/ 40 h 53"/>
                <a:gd name="T80" fmla="*/ 92 w 95"/>
                <a:gd name="T81" fmla="*/ 42 h 53"/>
                <a:gd name="T82" fmla="*/ 94 w 95"/>
                <a:gd name="T83" fmla="*/ 44 h 53"/>
                <a:gd name="T84" fmla="*/ 95 w 95"/>
                <a:gd name="T85" fmla="*/ 46 h 53"/>
                <a:gd name="T86" fmla="*/ 95 w 95"/>
                <a:gd name="T87" fmla="*/ 47 h 53"/>
                <a:gd name="T88" fmla="*/ 86 w 95"/>
                <a:gd name="T89" fmla="*/ 49 h 53"/>
                <a:gd name="T90" fmla="*/ 79 w 95"/>
                <a:gd name="T91" fmla="*/ 48 h 53"/>
                <a:gd name="T92" fmla="*/ 78 w 95"/>
                <a:gd name="T93" fmla="*/ 48 h 53"/>
                <a:gd name="T94" fmla="*/ 75 w 95"/>
                <a:gd name="T95" fmla="*/ 49 h 53"/>
                <a:gd name="T96" fmla="*/ 70 w 95"/>
                <a:gd name="T97" fmla="*/ 51 h 53"/>
                <a:gd name="T98" fmla="*/ 59 w 95"/>
                <a:gd name="T99" fmla="*/ 51 h 53"/>
                <a:gd name="T100" fmla="*/ 54 w 95"/>
                <a:gd name="T101" fmla="*/ 51 h 53"/>
                <a:gd name="T102" fmla="*/ 51 w 95"/>
                <a:gd name="T103" fmla="*/ 48 h 53"/>
                <a:gd name="T104" fmla="*/ 47 w 95"/>
                <a:gd name="T105" fmla="*/ 48 h 53"/>
                <a:gd name="T106" fmla="*/ 43 w 95"/>
                <a:gd name="T107" fmla="*/ 48 h 53"/>
                <a:gd name="T108" fmla="*/ 36 w 95"/>
                <a:gd name="T109" fmla="*/ 53 h 53"/>
                <a:gd name="T110" fmla="*/ 32 w 95"/>
                <a:gd name="T111" fmla="*/ 53 h 53"/>
                <a:gd name="T112" fmla="*/ 28 w 95"/>
                <a:gd name="T113" fmla="*/ 53 h 53"/>
                <a:gd name="T114" fmla="*/ 22 w 95"/>
                <a:gd name="T115" fmla="*/ 51 h 53"/>
                <a:gd name="T116" fmla="*/ 20 w 95"/>
                <a:gd name="T117" fmla="*/ 49 h 53"/>
                <a:gd name="T118" fmla="*/ 16 w 95"/>
                <a:gd name="T119" fmla="*/ 48 h 53"/>
                <a:gd name="T120" fmla="*/ 10 w 95"/>
                <a:gd name="T121" fmla="*/ 48 h 53"/>
                <a:gd name="T122" fmla="*/ 6 w 95"/>
                <a:gd name="T123" fmla="*/ 46 h 53"/>
                <a:gd name="T124" fmla="*/ 0 w 95"/>
                <a:gd name="T125" fmla="*/ 3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5" h="53">
                  <a:moveTo>
                    <a:pt x="0" y="38"/>
                  </a:moveTo>
                  <a:lnTo>
                    <a:pt x="0" y="36"/>
                  </a:lnTo>
                  <a:lnTo>
                    <a:pt x="1" y="35"/>
                  </a:lnTo>
                  <a:lnTo>
                    <a:pt x="3" y="33"/>
                  </a:lnTo>
                  <a:lnTo>
                    <a:pt x="3" y="31"/>
                  </a:lnTo>
                  <a:lnTo>
                    <a:pt x="4" y="30"/>
                  </a:lnTo>
                  <a:lnTo>
                    <a:pt x="5" y="27"/>
                  </a:lnTo>
                  <a:lnTo>
                    <a:pt x="8" y="25"/>
                  </a:lnTo>
                  <a:lnTo>
                    <a:pt x="10" y="20"/>
                  </a:lnTo>
                  <a:lnTo>
                    <a:pt x="12" y="15"/>
                  </a:lnTo>
                  <a:lnTo>
                    <a:pt x="15" y="11"/>
                  </a:lnTo>
                  <a:lnTo>
                    <a:pt x="21" y="4"/>
                  </a:lnTo>
                  <a:lnTo>
                    <a:pt x="26" y="1"/>
                  </a:lnTo>
                  <a:lnTo>
                    <a:pt x="31" y="0"/>
                  </a:lnTo>
                  <a:lnTo>
                    <a:pt x="32" y="0"/>
                  </a:lnTo>
                  <a:lnTo>
                    <a:pt x="35" y="1"/>
                  </a:lnTo>
                  <a:lnTo>
                    <a:pt x="37" y="1"/>
                  </a:lnTo>
                  <a:lnTo>
                    <a:pt x="38" y="3"/>
                  </a:lnTo>
                  <a:lnTo>
                    <a:pt x="38" y="6"/>
                  </a:lnTo>
                  <a:lnTo>
                    <a:pt x="40" y="8"/>
                  </a:lnTo>
                  <a:lnTo>
                    <a:pt x="41" y="9"/>
                  </a:lnTo>
                  <a:lnTo>
                    <a:pt x="47" y="9"/>
                  </a:lnTo>
                  <a:lnTo>
                    <a:pt x="54" y="9"/>
                  </a:lnTo>
                  <a:lnTo>
                    <a:pt x="56" y="10"/>
                  </a:lnTo>
                  <a:lnTo>
                    <a:pt x="58" y="11"/>
                  </a:lnTo>
                  <a:lnTo>
                    <a:pt x="59" y="11"/>
                  </a:lnTo>
                  <a:lnTo>
                    <a:pt x="62" y="11"/>
                  </a:lnTo>
                  <a:lnTo>
                    <a:pt x="64" y="9"/>
                  </a:lnTo>
                  <a:lnTo>
                    <a:pt x="68" y="9"/>
                  </a:lnTo>
                  <a:lnTo>
                    <a:pt x="74" y="11"/>
                  </a:lnTo>
                  <a:lnTo>
                    <a:pt x="76" y="14"/>
                  </a:lnTo>
                  <a:lnTo>
                    <a:pt x="78" y="17"/>
                  </a:lnTo>
                  <a:lnTo>
                    <a:pt x="78" y="21"/>
                  </a:lnTo>
                  <a:lnTo>
                    <a:pt x="79" y="25"/>
                  </a:lnTo>
                  <a:lnTo>
                    <a:pt x="81" y="27"/>
                  </a:lnTo>
                  <a:lnTo>
                    <a:pt x="86" y="28"/>
                  </a:lnTo>
                  <a:lnTo>
                    <a:pt x="90" y="30"/>
                  </a:lnTo>
                  <a:lnTo>
                    <a:pt x="92" y="32"/>
                  </a:lnTo>
                  <a:lnTo>
                    <a:pt x="92" y="36"/>
                  </a:lnTo>
                  <a:lnTo>
                    <a:pt x="91" y="40"/>
                  </a:lnTo>
                  <a:lnTo>
                    <a:pt x="92" y="42"/>
                  </a:lnTo>
                  <a:lnTo>
                    <a:pt x="94" y="44"/>
                  </a:lnTo>
                  <a:lnTo>
                    <a:pt x="95" y="46"/>
                  </a:lnTo>
                  <a:lnTo>
                    <a:pt x="95" y="47"/>
                  </a:lnTo>
                  <a:lnTo>
                    <a:pt x="86" y="49"/>
                  </a:lnTo>
                  <a:lnTo>
                    <a:pt x="79" y="48"/>
                  </a:lnTo>
                  <a:lnTo>
                    <a:pt x="78" y="48"/>
                  </a:lnTo>
                  <a:lnTo>
                    <a:pt x="75" y="49"/>
                  </a:lnTo>
                  <a:lnTo>
                    <a:pt x="70" y="51"/>
                  </a:lnTo>
                  <a:lnTo>
                    <a:pt x="59" y="51"/>
                  </a:lnTo>
                  <a:lnTo>
                    <a:pt x="54" y="51"/>
                  </a:lnTo>
                  <a:lnTo>
                    <a:pt x="51" y="48"/>
                  </a:lnTo>
                  <a:lnTo>
                    <a:pt x="47" y="48"/>
                  </a:lnTo>
                  <a:lnTo>
                    <a:pt x="43" y="48"/>
                  </a:lnTo>
                  <a:lnTo>
                    <a:pt x="36" y="53"/>
                  </a:lnTo>
                  <a:lnTo>
                    <a:pt x="32" y="53"/>
                  </a:lnTo>
                  <a:lnTo>
                    <a:pt x="28" y="53"/>
                  </a:lnTo>
                  <a:lnTo>
                    <a:pt x="22" y="51"/>
                  </a:lnTo>
                  <a:lnTo>
                    <a:pt x="20" y="49"/>
                  </a:lnTo>
                  <a:lnTo>
                    <a:pt x="16" y="48"/>
                  </a:lnTo>
                  <a:lnTo>
                    <a:pt x="10" y="48"/>
                  </a:lnTo>
                  <a:lnTo>
                    <a:pt x="6" y="46"/>
                  </a:lnTo>
                  <a:lnTo>
                    <a:pt x="0" y="3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0" name="Freeform 2045">
              <a:extLst>
                <a:ext uri="{FF2B5EF4-FFF2-40B4-BE49-F238E27FC236}">
                  <a16:creationId xmlns:a16="http://schemas.microsoft.com/office/drawing/2014/main" id="{5D3BE6FE-9790-4ED4-9550-ED6906C487D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5818" y="5303882"/>
              <a:ext cx="10540" cy="18972"/>
            </a:xfrm>
            <a:custGeom>
              <a:avLst/>
              <a:gdLst>
                <a:gd name="T0" fmla="*/ 8 w 11"/>
                <a:gd name="T1" fmla="*/ 0 h 18"/>
                <a:gd name="T2" fmla="*/ 5 w 11"/>
                <a:gd name="T3" fmla="*/ 4 h 18"/>
                <a:gd name="T4" fmla="*/ 1 w 11"/>
                <a:gd name="T5" fmla="*/ 9 h 18"/>
                <a:gd name="T6" fmla="*/ 0 w 11"/>
                <a:gd name="T7" fmla="*/ 15 h 18"/>
                <a:gd name="T8" fmla="*/ 0 w 11"/>
                <a:gd name="T9" fmla="*/ 16 h 18"/>
                <a:gd name="T10" fmla="*/ 3 w 11"/>
                <a:gd name="T11" fmla="*/ 18 h 18"/>
                <a:gd name="T12" fmla="*/ 6 w 11"/>
                <a:gd name="T13" fmla="*/ 16 h 18"/>
                <a:gd name="T14" fmla="*/ 9 w 11"/>
                <a:gd name="T15" fmla="*/ 15 h 18"/>
                <a:gd name="T16" fmla="*/ 11 w 11"/>
                <a:gd name="T17" fmla="*/ 9 h 18"/>
                <a:gd name="T18" fmla="*/ 11 w 11"/>
                <a:gd name="T19" fmla="*/ 3 h 18"/>
                <a:gd name="T20" fmla="*/ 9 w 11"/>
                <a:gd name="T21" fmla="*/ 0 h 18"/>
                <a:gd name="T22" fmla="*/ 8 w 11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" h="18">
                  <a:moveTo>
                    <a:pt x="8" y="0"/>
                  </a:moveTo>
                  <a:lnTo>
                    <a:pt x="5" y="4"/>
                  </a:lnTo>
                  <a:lnTo>
                    <a:pt x="1" y="9"/>
                  </a:lnTo>
                  <a:lnTo>
                    <a:pt x="0" y="15"/>
                  </a:lnTo>
                  <a:lnTo>
                    <a:pt x="0" y="16"/>
                  </a:lnTo>
                  <a:lnTo>
                    <a:pt x="3" y="18"/>
                  </a:lnTo>
                  <a:lnTo>
                    <a:pt x="6" y="16"/>
                  </a:lnTo>
                  <a:lnTo>
                    <a:pt x="9" y="15"/>
                  </a:lnTo>
                  <a:lnTo>
                    <a:pt x="11" y="9"/>
                  </a:lnTo>
                  <a:lnTo>
                    <a:pt x="11" y="3"/>
                  </a:lnTo>
                  <a:lnTo>
                    <a:pt x="9" y="0"/>
                  </a:lnTo>
                  <a:lnTo>
                    <a:pt x="8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1" name="Freeform 20">
              <a:extLst>
                <a:ext uri="{FF2B5EF4-FFF2-40B4-BE49-F238E27FC236}">
                  <a16:creationId xmlns:a16="http://schemas.microsoft.com/office/drawing/2014/main" id="{E507D34D-64BD-499D-847D-5F86FDD8AEF3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8367" y="5335500"/>
              <a:ext cx="16863" cy="16863"/>
            </a:xfrm>
            <a:custGeom>
              <a:avLst/>
              <a:gdLst>
                <a:gd name="T0" fmla="*/ 14 w 16"/>
                <a:gd name="T1" fmla="*/ 4 h 16"/>
                <a:gd name="T2" fmla="*/ 14 w 16"/>
                <a:gd name="T3" fmla="*/ 1 h 16"/>
                <a:gd name="T4" fmla="*/ 12 w 16"/>
                <a:gd name="T5" fmla="*/ 0 h 16"/>
                <a:gd name="T6" fmla="*/ 7 w 16"/>
                <a:gd name="T7" fmla="*/ 0 h 16"/>
                <a:gd name="T8" fmla="*/ 2 w 16"/>
                <a:gd name="T9" fmla="*/ 2 h 16"/>
                <a:gd name="T10" fmla="*/ 0 w 16"/>
                <a:gd name="T11" fmla="*/ 5 h 16"/>
                <a:gd name="T12" fmla="*/ 0 w 16"/>
                <a:gd name="T13" fmla="*/ 7 h 16"/>
                <a:gd name="T14" fmla="*/ 3 w 16"/>
                <a:gd name="T15" fmla="*/ 11 h 16"/>
                <a:gd name="T16" fmla="*/ 5 w 16"/>
                <a:gd name="T17" fmla="*/ 13 h 16"/>
                <a:gd name="T18" fmla="*/ 9 w 16"/>
                <a:gd name="T19" fmla="*/ 15 h 16"/>
                <a:gd name="T20" fmla="*/ 12 w 16"/>
                <a:gd name="T21" fmla="*/ 16 h 16"/>
                <a:gd name="T22" fmla="*/ 15 w 16"/>
                <a:gd name="T23" fmla="*/ 15 h 16"/>
                <a:gd name="T24" fmla="*/ 16 w 16"/>
                <a:gd name="T25" fmla="*/ 12 h 16"/>
                <a:gd name="T26" fmla="*/ 16 w 16"/>
                <a:gd name="T27" fmla="*/ 9 h 16"/>
                <a:gd name="T28" fmla="*/ 14 w 16"/>
                <a:gd name="T2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" h="16">
                  <a:moveTo>
                    <a:pt x="14" y="4"/>
                  </a:moveTo>
                  <a:lnTo>
                    <a:pt x="14" y="1"/>
                  </a:lnTo>
                  <a:lnTo>
                    <a:pt x="12" y="0"/>
                  </a:lnTo>
                  <a:lnTo>
                    <a:pt x="7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7"/>
                  </a:lnTo>
                  <a:lnTo>
                    <a:pt x="3" y="11"/>
                  </a:lnTo>
                  <a:lnTo>
                    <a:pt x="5" y="13"/>
                  </a:lnTo>
                  <a:lnTo>
                    <a:pt x="9" y="15"/>
                  </a:lnTo>
                  <a:lnTo>
                    <a:pt x="12" y="16"/>
                  </a:lnTo>
                  <a:lnTo>
                    <a:pt x="15" y="15"/>
                  </a:lnTo>
                  <a:lnTo>
                    <a:pt x="16" y="12"/>
                  </a:lnTo>
                  <a:lnTo>
                    <a:pt x="16" y="9"/>
                  </a:lnTo>
                  <a:lnTo>
                    <a:pt x="14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2" name="Freeform 25">
              <a:extLst>
                <a:ext uri="{FF2B5EF4-FFF2-40B4-BE49-F238E27FC236}">
                  <a16:creationId xmlns:a16="http://schemas.microsoft.com/office/drawing/2014/main" id="{C4998D2C-3041-4E38-8F41-1E6845CE30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7488" y="3322458"/>
              <a:ext cx="459522" cy="461630"/>
            </a:xfrm>
            <a:custGeom>
              <a:avLst/>
              <a:gdLst>
                <a:gd name="T0" fmla="*/ 74 w 435"/>
                <a:gd name="T1" fmla="*/ 248 h 437"/>
                <a:gd name="T2" fmla="*/ 118 w 435"/>
                <a:gd name="T3" fmla="*/ 245 h 437"/>
                <a:gd name="T4" fmla="*/ 151 w 435"/>
                <a:gd name="T5" fmla="*/ 231 h 437"/>
                <a:gd name="T6" fmla="*/ 150 w 435"/>
                <a:gd name="T7" fmla="*/ 201 h 437"/>
                <a:gd name="T8" fmla="*/ 170 w 435"/>
                <a:gd name="T9" fmla="*/ 191 h 437"/>
                <a:gd name="T10" fmla="*/ 192 w 435"/>
                <a:gd name="T11" fmla="*/ 174 h 437"/>
                <a:gd name="T12" fmla="*/ 209 w 435"/>
                <a:gd name="T13" fmla="*/ 174 h 437"/>
                <a:gd name="T14" fmla="*/ 221 w 435"/>
                <a:gd name="T15" fmla="*/ 153 h 437"/>
                <a:gd name="T16" fmla="*/ 225 w 435"/>
                <a:gd name="T17" fmla="*/ 130 h 437"/>
                <a:gd name="T18" fmla="*/ 241 w 435"/>
                <a:gd name="T19" fmla="*/ 118 h 437"/>
                <a:gd name="T20" fmla="*/ 250 w 435"/>
                <a:gd name="T21" fmla="*/ 100 h 437"/>
                <a:gd name="T22" fmla="*/ 255 w 435"/>
                <a:gd name="T23" fmla="*/ 83 h 437"/>
                <a:gd name="T24" fmla="*/ 266 w 435"/>
                <a:gd name="T25" fmla="*/ 67 h 437"/>
                <a:gd name="T26" fmla="*/ 266 w 435"/>
                <a:gd name="T27" fmla="*/ 51 h 437"/>
                <a:gd name="T28" fmla="*/ 255 w 435"/>
                <a:gd name="T29" fmla="*/ 25 h 437"/>
                <a:gd name="T30" fmla="*/ 290 w 435"/>
                <a:gd name="T31" fmla="*/ 6 h 437"/>
                <a:gd name="T32" fmla="*/ 325 w 435"/>
                <a:gd name="T33" fmla="*/ 4 h 437"/>
                <a:gd name="T34" fmla="*/ 357 w 435"/>
                <a:gd name="T35" fmla="*/ 3 h 437"/>
                <a:gd name="T36" fmla="*/ 379 w 435"/>
                <a:gd name="T37" fmla="*/ 27 h 437"/>
                <a:gd name="T38" fmla="*/ 396 w 435"/>
                <a:gd name="T39" fmla="*/ 38 h 437"/>
                <a:gd name="T40" fmla="*/ 435 w 435"/>
                <a:gd name="T41" fmla="*/ 50 h 437"/>
                <a:gd name="T42" fmla="*/ 416 w 435"/>
                <a:gd name="T43" fmla="*/ 68 h 437"/>
                <a:gd name="T44" fmla="*/ 402 w 435"/>
                <a:gd name="T45" fmla="*/ 77 h 437"/>
                <a:gd name="T46" fmla="*/ 359 w 435"/>
                <a:gd name="T47" fmla="*/ 77 h 437"/>
                <a:gd name="T48" fmla="*/ 339 w 435"/>
                <a:gd name="T49" fmla="*/ 90 h 437"/>
                <a:gd name="T50" fmla="*/ 349 w 435"/>
                <a:gd name="T51" fmla="*/ 99 h 437"/>
                <a:gd name="T52" fmla="*/ 349 w 435"/>
                <a:gd name="T53" fmla="*/ 116 h 437"/>
                <a:gd name="T54" fmla="*/ 360 w 435"/>
                <a:gd name="T55" fmla="*/ 138 h 437"/>
                <a:gd name="T56" fmla="*/ 384 w 435"/>
                <a:gd name="T57" fmla="*/ 152 h 437"/>
                <a:gd name="T58" fmla="*/ 375 w 435"/>
                <a:gd name="T59" fmla="*/ 167 h 437"/>
                <a:gd name="T60" fmla="*/ 379 w 435"/>
                <a:gd name="T61" fmla="*/ 195 h 437"/>
                <a:gd name="T62" fmla="*/ 364 w 435"/>
                <a:gd name="T63" fmla="*/ 223 h 437"/>
                <a:gd name="T64" fmla="*/ 349 w 435"/>
                <a:gd name="T65" fmla="*/ 243 h 437"/>
                <a:gd name="T66" fmla="*/ 326 w 435"/>
                <a:gd name="T67" fmla="*/ 281 h 437"/>
                <a:gd name="T68" fmla="*/ 306 w 435"/>
                <a:gd name="T69" fmla="*/ 302 h 437"/>
                <a:gd name="T70" fmla="*/ 279 w 435"/>
                <a:gd name="T71" fmla="*/ 297 h 437"/>
                <a:gd name="T72" fmla="*/ 257 w 435"/>
                <a:gd name="T73" fmla="*/ 338 h 437"/>
                <a:gd name="T74" fmla="*/ 278 w 435"/>
                <a:gd name="T75" fmla="*/ 366 h 437"/>
                <a:gd name="T76" fmla="*/ 295 w 435"/>
                <a:gd name="T77" fmla="*/ 382 h 437"/>
                <a:gd name="T78" fmla="*/ 306 w 435"/>
                <a:gd name="T79" fmla="*/ 410 h 437"/>
                <a:gd name="T80" fmla="*/ 294 w 435"/>
                <a:gd name="T81" fmla="*/ 415 h 437"/>
                <a:gd name="T82" fmla="*/ 276 w 435"/>
                <a:gd name="T83" fmla="*/ 424 h 437"/>
                <a:gd name="T84" fmla="*/ 245 w 435"/>
                <a:gd name="T85" fmla="*/ 429 h 437"/>
                <a:gd name="T86" fmla="*/ 229 w 435"/>
                <a:gd name="T87" fmla="*/ 437 h 437"/>
                <a:gd name="T88" fmla="*/ 214 w 435"/>
                <a:gd name="T89" fmla="*/ 436 h 437"/>
                <a:gd name="T90" fmla="*/ 203 w 435"/>
                <a:gd name="T91" fmla="*/ 421 h 437"/>
                <a:gd name="T92" fmla="*/ 186 w 435"/>
                <a:gd name="T93" fmla="*/ 400 h 437"/>
                <a:gd name="T94" fmla="*/ 167 w 435"/>
                <a:gd name="T95" fmla="*/ 377 h 437"/>
                <a:gd name="T96" fmla="*/ 160 w 435"/>
                <a:gd name="T97" fmla="*/ 383 h 437"/>
                <a:gd name="T98" fmla="*/ 129 w 435"/>
                <a:gd name="T99" fmla="*/ 387 h 437"/>
                <a:gd name="T100" fmla="*/ 113 w 435"/>
                <a:gd name="T101" fmla="*/ 386 h 437"/>
                <a:gd name="T102" fmla="*/ 91 w 435"/>
                <a:gd name="T103" fmla="*/ 387 h 437"/>
                <a:gd name="T104" fmla="*/ 62 w 435"/>
                <a:gd name="T105" fmla="*/ 393 h 437"/>
                <a:gd name="T106" fmla="*/ 41 w 435"/>
                <a:gd name="T107" fmla="*/ 390 h 437"/>
                <a:gd name="T108" fmla="*/ 54 w 435"/>
                <a:gd name="T109" fmla="*/ 351 h 437"/>
                <a:gd name="T110" fmla="*/ 79 w 435"/>
                <a:gd name="T111" fmla="*/ 335 h 437"/>
                <a:gd name="T112" fmla="*/ 65 w 435"/>
                <a:gd name="T113" fmla="*/ 318 h 437"/>
                <a:gd name="T114" fmla="*/ 46 w 435"/>
                <a:gd name="T115" fmla="*/ 283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35" h="437">
                  <a:moveTo>
                    <a:pt x="0" y="236"/>
                  </a:moveTo>
                  <a:lnTo>
                    <a:pt x="9" y="238"/>
                  </a:lnTo>
                  <a:lnTo>
                    <a:pt x="17" y="242"/>
                  </a:lnTo>
                  <a:lnTo>
                    <a:pt x="35" y="248"/>
                  </a:lnTo>
                  <a:lnTo>
                    <a:pt x="46" y="250"/>
                  </a:lnTo>
                  <a:lnTo>
                    <a:pt x="54" y="249"/>
                  </a:lnTo>
                  <a:lnTo>
                    <a:pt x="64" y="249"/>
                  </a:lnTo>
                  <a:lnTo>
                    <a:pt x="74" y="248"/>
                  </a:lnTo>
                  <a:lnTo>
                    <a:pt x="81" y="249"/>
                  </a:lnTo>
                  <a:lnTo>
                    <a:pt x="89" y="250"/>
                  </a:lnTo>
                  <a:lnTo>
                    <a:pt x="92" y="250"/>
                  </a:lnTo>
                  <a:lnTo>
                    <a:pt x="95" y="249"/>
                  </a:lnTo>
                  <a:lnTo>
                    <a:pt x="101" y="245"/>
                  </a:lnTo>
                  <a:lnTo>
                    <a:pt x="106" y="245"/>
                  </a:lnTo>
                  <a:lnTo>
                    <a:pt x="110" y="245"/>
                  </a:lnTo>
                  <a:lnTo>
                    <a:pt x="118" y="245"/>
                  </a:lnTo>
                  <a:lnTo>
                    <a:pt x="126" y="244"/>
                  </a:lnTo>
                  <a:lnTo>
                    <a:pt x="133" y="242"/>
                  </a:lnTo>
                  <a:lnTo>
                    <a:pt x="138" y="242"/>
                  </a:lnTo>
                  <a:lnTo>
                    <a:pt x="143" y="240"/>
                  </a:lnTo>
                  <a:lnTo>
                    <a:pt x="148" y="238"/>
                  </a:lnTo>
                  <a:lnTo>
                    <a:pt x="151" y="234"/>
                  </a:lnTo>
                  <a:lnTo>
                    <a:pt x="153" y="233"/>
                  </a:lnTo>
                  <a:lnTo>
                    <a:pt x="151" y="231"/>
                  </a:lnTo>
                  <a:lnTo>
                    <a:pt x="150" y="229"/>
                  </a:lnTo>
                  <a:lnTo>
                    <a:pt x="150" y="227"/>
                  </a:lnTo>
                  <a:lnTo>
                    <a:pt x="150" y="222"/>
                  </a:lnTo>
                  <a:lnTo>
                    <a:pt x="149" y="217"/>
                  </a:lnTo>
                  <a:lnTo>
                    <a:pt x="149" y="212"/>
                  </a:lnTo>
                  <a:lnTo>
                    <a:pt x="149" y="207"/>
                  </a:lnTo>
                  <a:lnTo>
                    <a:pt x="149" y="204"/>
                  </a:lnTo>
                  <a:lnTo>
                    <a:pt x="150" y="201"/>
                  </a:lnTo>
                  <a:lnTo>
                    <a:pt x="153" y="200"/>
                  </a:lnTo>
                  <a:lnTo>
                    <a:pt x="155" y="197"/>
                  </a:lnTo>
                  <a:lnTo>
                    <a:pt x="157" y="193"/>
                  </a:lnTo>
                  <a:lnTo>
                    <a:pt x="161" y="189"/>
                  </a:lnTo>
                  <a:lnTo>
                    <a:pt x="164" y="189"/>
                  </a:lnTo>
                  <a:lnTo>
                    <a:pt x="166" y="189"/>
                  </a:lnTo>
                  <a:lnTo>
                    <a:pt x="167" y="190"/>
                  </a:lnTo>
                  <a:lnTo>
                    <a:pt x="170" y="191"/>
                  </a:lnTo>
                  <a:lnTo>
                    <a:pt x="178" y="190"/>
                  </a:lnTo>
                  <a:lnTo>
                    <a:pt x="186" y="188"/>
                  </a:lnTo>
                  <a:lnTo>
                    <a:pt x="182" y="185"/>
                  </a:lnTo>
                  <a:lnTo>
                    <a:pt x="180" y="184"/>
                  </a:lnTo>
                  <a:lnTo>
                    <a:pt x="178" y="181"/>
                  </a:lnTo>
                  <a:lnTo>
                    <a:pt x="183" y="180"/>
                  </a:lnTo>
                  <a:lnTo>
                    <a:pt x="187" y="179"/>
                  </a:lnTo>
                  <a:lnTo>
                    <a:pt x="192" y="174"/>
                  </a:lnTo>
                  <a:lnTo>
                    <a:pt x="193" y="173"/>
                  </a:lnTo>
                  <a:lnTo>
                    <a:pt x="196" y="173"/>
                  </a:lnTo>
                  <a:lnTo>
                    <a:pt x="199" y="173"/>
                  </a:lnTo>
                  <a:lnTo>
                    <a:pt x="202" y="174"/>
                  </a:lnTo>
                  <a:lnTo>
                    <a:pt x="203" y="173"/>
                  </a:lnTo>
                  <a:lnTo>
                    <a:pt x="203" y="172"/>
                  </a:lnTo>
                  <a:lnTo>
                    <a:pt x="208" y="173"/>
                  </a:lnTo>
                  <a:lnTo>
                    <a:pt x="209" y="174"/>
                  </a:lnTo>
                  <a:lnTo>
                    <a:pt x="212" y="177"/>
                  </a:lnTo>
                  <a:lnTo>
                    <a:pt x="213" y="178"/>
                  </a:lnTo>
                  <a:lnTo>
                    <a:pt x="215" y="178"/>
                  </a:lnTo>
                  <a:lnTo>
                    <a:pt x="219" y="177"/>
                  </a:lnTo>
                  <a:lnTo>
                    <a:pt x="223" y="172"/>
                  </a:lnTo>
                  <a:lnTo>
                    <a:pt x="224" y="165"/>
                  </a:lnTo>
                  <a:lnTo>
                    <a:pt x="223" y="159"/>
                  </a:lnTo>
                  <a:lnTo>
                    <a:pt x="221" y="153"/>
                  </a:lnTo>
                  <a:lnTo>
                    <a:pt x="221" y="151"/>
                  </a:lnTo>
                  <a:lnTo>
                    <a:pt x="221" y="148"/>
                  </a:lnTo>
                  <a:lnTo>
                    <a:pt x="223" y="147"/>
                  </a:lnTo>
                  <a:lnTo>
                    <a:pt x="224" y="145"/>
                  </a:lnTo>
                  <a:lnTo>
                    <a:pt x="225" y="140"/>
                  </a:lnTo>
                  <a:lnTo>
                    <a:pt x="224" y="134"/>
                  </a:lnTo>
                  <a:lnTo>
                    <a:pt x="224" y="131"/>
                  </a:lnTo>
                  <a:lnTo>
                    <a:pt x="225" y="130"/>
                  </a:lnTo>
                  <a:lnTo>
                    <a:pt x="229" y="129"/>
                  </a:lnTo>
                  <a:lnTo>
                    <a:pt x="234" y="129"/>
                  </a:lnTo>
                  <a:lnTo>
                    <a:pt x="236" y="127"/>
                  </a:lnTo>
                  <a:lnTo>
                    <a:pt x="239" y="126"/>
                  </a:lnTo>
                  <a:lnTo>
                    <a:pt x="242" y="124"/>
                  </a:lnTo>
                  <a:lnTo>
                    <a:pt x="242" y="122"/>
                  </a:lnTo>
                  <a:lnTo>
                    <a:pt x="242" y="121"/>
                  </a:lnTo>
                  <a:lnTo>
                    <a:pt x="241" y="118"/>
                  </a:lnTo>
                  <a:lnTo>
                    <a:pt x="239" y="113"/>
                  </a:lnTo>
                  <a:lnTo>
                    <a:pt x="234" y="108"/>
                  </a:lnTo>
                  <a:lnTo>
                    <a:pt x="230" y="104"/>
                  </a:lnTo>
                  <a:lnTo>
                    <a:pt x="229" y="100"/>
                  </a:lnTo>
                  <a:lnTo>
                    <a:pt x="230" y="99"/>
                  </a:lnTo>
                  <a:lnTo>
                    <a:pt x="236" y="99"/>
                  </a:lnTo>
                  <a:lnTo>
                    <a:pt x="242" y="100"/>
                  </a:lnTo>
                  <a:lnTo>
                    <a:pt x="250" y="100"/>
                  </a:lnTo>
                  <a:lnTo>
                    <a:pt x="257" y="99"/>
                  </a:lnTo>
                  <a:lnTo>
                    <a:pt x="260" y="97"/>
                  </a:lnTo>
                  <a:lnTo>
                    <a:pt x="261" y="94"/>
                  </a:lnTo>
                  <a:lnTo>
                    <a:pt x="261" y="90"/>
                  </a:lnTo>
                  <a:lnTo>
                    <a:pt x="260" y="87"/>
                  </a:lnTo>
                  <a:lnTo>
                    <a:pt x="258" y="86"/>
                  </a:lnTo>
                  <a:lnTo>
                    <a:pt x="256" y="84"/>
                  </a:lnTo>
                  <a:lnTo>
                    <a:pt x="255" y="83"/>
                  </a:lnTo>
                  <a:lnTo>
                    <a:pt x="255" y="82"/>
                  </a:lnTo>
                  <a:lnTo>
                    <a:pt x="257" y="81"/>
                  </a:lnTo>
                  <a:lnTo>
                    <a:pt x="257" y="78"/>
                  </a:lnTo>
                  <a:lnTo>
                    <a:pt x="258" y="77"/>
                  </a:lnTo>
                  <a:lnTo>
                    <a:pt x="260" y="73"/>
                  </a:lnTo>
                  <a:lnTo>
                    <a:pt x="262" y="72"/>
                  </a:lnTo>
                  <a:lnTo>
                    <a:pt x="263" y="70"/>
                  </a:lnTo>
                  <a:lnTo>
                    <a:pt x="266" y="67"/>
                  </a:lnTo>
                  <a:lnTo>
                    <a:pt x="266" y="66"/>
                  </a:lnTo>
                  <a:lnTo>
                    <a:pt x="268" y="61"/>
                  </a:lnTo>
                  <a:lnTo>
                    <a:pt x="268" y="60"/>
                  </a:lnTo>
                  <a:lnTo>
                    <a:pt x="267" y="59"/>
                  </a:lnTo>
                  <a:lnTo>
                    <a:pt x="266" y="56"/>
                  </a:lnTo>
                  <a:lnTo>
                    <a:pt x="266" y="55"/>
                  </a:lnTo>
                  <a:lnTo>
                    <a:pt x="267" y="52"/>
                  </a:lnTo>
                  <a:lnTo>
                    <a:pt x="266" y="51"/>
                  </a:lnTo>
                  <a:lnTo>
                    <a:pt x="264" y="47"/>
                  </a:lnTo>
                  <a:lnTo>
                    <a:pt x="262" y="44"/>
                  </a:lnTo>
                  <a:lnTo>
                    <a:pt x="261" y="41"/>
                  </a:lnTo>
                  <a:lnTo>
                    <a:pt x="260" y="40"/>
                  </a:lnTo>
                  <a:lnTo>
                    <a:pt x="256" y="36"/>
                  </a:lnTo>
                  <a:lnTo>
                    <a:pt x="251" y="33"/>
                  </a:lnTo>
                  <a:lnTo>
                    <a:pt x="251" y="30"/>
                  </a:lnTo>
                  <a:lnTo>
                    <a:pt x="255" y="25"/>
                  </a:lnTo>
                  <a:lnTo>
                    <a:pt x="258" y="20"/>
                  </a:lnTo>
                  <a:lnTo>
                    <a:pt x="261" y="19"/>
                  </a:lnTo>
                  <a:lnTo>
                    <a:pt x="264" y="19"/>
                  </a:lnTo>
                  <a:lnTo>
                    <a:pt x="266" y="18"/>
                  </a:lnTo>
                  <a:lnTo>
                    <a:pt x="268" y="13"/>
                  </a:lnTo>
                  <a:lnTo>
                    <a:pt x="273" y="9"/>
                  </a:lnTo>
                  <a:lnTo>
                    <a:pt x="278" y="8"/>
                  </a:lnTo>
                  <a:lnTo>
                    <a:pt x="290" y="6"/>
                  </a:lnTo>
                  <a:lnTo>
                    <a:pt x="303" y="4"/>
                  </a:lnTo>
                  <a:lnTo>
                    <a:pt x="310" y="3"/>
                  </a:lnTo>
                  <a:lnTo>
                    <a:pt x="314" y="3"/>
                  </a:lnTo>
                  <a:lnTo>
                    <a:pt x="317" y="4"/>
                  </a:lnTo>
                  <a:lnTo>
                    <a:pt x="320" y="6"/>
                  </a:lnTo>
                  <a:lnTo>
                    <a:pt x="321" y="6"/>
                  </a:lnTo>
                  <a:lnTo>
                    <a:pt x="322" y="6"/>
                  </a:lnTo>
                  <a:lnTo>
                    <a:pt x="325" y="4"/>
                  </a:lnTo>
                  <a:lnTo>
                    <a:pt x="330" y="2"/>
                  </a:lnTo>
                  <a:lnTo>
                    <a:pt x="335" y="0"/>
                  </a:lnTo>
                  <a:lnTo>
                    <a:pt x="341" y="0"/>
                  </a:lnTo>
                  <a:lnTo>
                    <a:pt x="343" y="1"/>
                  </a:lnTo>
                  <a:lnTo>
                    <a:pt x="344" y="3"/>
                  </a:lnTo>
                  <a:lnTo>
                    <a:pt x="348" y="1"/>
                  </a:lnTo>
                  <a:lnTo>
                    <a:pt x="352" y="1"/>
                  </a:lnTo>
                  <a:lnTo>
                    <a:pt x="357" y="3"/>
                  </a:lnTo>
                  <a:lnTo>
                    <a:pt x="359" y="7"/>
                  </a:lnTo>
                  <a:lnTo>
                    <a:pt x="362" y="8"/>
                  </a:lnTo>
                  <a:lnTo>
                    <a:pt x="365" y="9"/>
                  </a:lnTo>
                  <a:lnTo>
                    <a:pt x="369" y="11"/>
                  </a:lnTo>
                  <a:lnTo>
                    <a:pt x="373" y="12"/>
                  </a:lnTo>
                  <a:lnTo>
                    <a:pt x="376" y="17"/>
                  </a:lnTo>
                  <a:lnTo>
                    <a:pt x="379" y="22"/>
                  </a:lnTo>
                  <a:lnTo>
                    <a:pt x="379" y="27"/>
                  </a:lnTo>
                  <a:lnTo>
                    <a:pt x="380" y="31"/>
                  </a:lnTo>
                  <a:lnTo>
                    <a:pt x="381" y="33"/>
                  </a:lnTo>
                  <a:lnTo>
                    <a:pt x="384" y="35"/>
                  </a:lnTo>
                  <a:lnTo>
                    <a:pt x="387" y="38"/>
                  </a:lnTo>
                  <a:lnTo>
                    <a:pt x="389" y="39"/>
                  </a:lnTo>
                  <a:lnTo>
                    <a:pt x="391" y="40"/>
                  </a:lnTo>
                  <a:lnTo>
                    <a:pt x="394" y="39"/>
                  </a:lnTo>
                  <a:lnTo>
                    <a:pt x="396" y="38"/>
                  </a:lnTo>
                  <a:lnTo>
                    <a:pt x="399" y="36"/>
                  </a:lnTo>
                  <a:lnTo>
                    <a:pt x="400" y="41"/>
                  </a:lnTo>
                  <a:lnTo>
                    <a:pt x="403" y="44"/>
                  </a:lnTo>
                  <a:lnTo>
                    <a:pt x="408" y="46"/>
                  </a:lnTo>
                  <a:lnTo>
                    <a:pt x="413" y="49"/>
                  </a:lnTo>
                  <a:lnTo>
                    <a:pt x="426" y="51"/>
                  </a:lnTo>
                  <a:lnTo>
                    <a:pt x="432" y="51"/>
                  </a:lnTo>
                  <a:lnTo>
                    <a:pt x="435" y="50"/>
                  </a:lnTo>
                  <a:lnTo>
                    <a:pt x="434" y="51"/>
                  </a:lnTo>
                  <a:lnTo>
                    <a:pt x="432" y="54"/>
                  </a:lnTo>
                  <a:lnTo>
                    <a:pt x="426" y="57"/>
                  </a:lnTo>
                  <a:lnTo>
                    <a:pt x="419" y="61"/>
                  </a:lnTo>
                  <a:lnTo>
                    <a:pt x="418" y="63"/>
                  </a:lnTo>
                  <a:lnTo>
                    <a:pt x="418" y="65"/>
                  </a:lnTo>
                  <a:lnTo>
                    <a:pt x="418" y="66"/>
                  </a:lnTo>
                  <a:lnTo>
                    <a:pt x="416" y="68"/>
                  </a:lnTo>
                  <a:lnTo>
                    <a:pt x="416" y="70"/>
                  </a:lnTo>
                  <a:lnTo>
                    <a:pt x="416" y="70"/>
                  </a:lnTo>
                  <a:lnTo>
                    <a:pt x="416" y="70"/>
                  </a:lnTo>
                  <a:lnTo>
                    <a:pt x="414" y="71"/>
                  </a:lnTo>
                  <a:lnTo>
                    <a:pt x="411" y="73"/>
                  </a:lnTo>
                  <a:lnTo>
                    <a:pt x="411" y="75"/>
                  </a:lnTo>
                  <a:lnTo>
                    <a:pt x="408" y="75"/>
                  </a:lnTo>
                  <a:lnTo>
                    <a:pt x="402" y="77"/>
                  </a:lnTo>
                  <a:lnTo>
                    <a:pt x="395" y="78"/>
                  </a:lnTo>
                  <a:lnTo>
                    <a:pt x="392" y="79"/>
                  </a:lnTo>
                  <a:lnTo>
                    <a:pt x="391" y="79"/>
                  </a:lnTo>
                  <a:lnTo>
                    <a:pt x="385" y="82"/>
                  </a:lnTo>
                  <a:lnTo>
                    <a:pt x="379" y="82"/>
                  </a:lnTo>
                  <a:lnTo>
                    <a:pt x="371" y="81"/>
                  </a:lnTo>
                  <a:lnTo>
                    <a:pt x="365" y="79"/>
                  </a:lnTo>
                  <a:lnTo>
                    <a:pt x="359" y="77"/>
                  </a:lnTo>
                  <a:lnTo>
                    <a:pt x="352" y="76"/>
                  </a:lnTo>
                  <a:lnTo>
                    <a:pt x="346" y="75"/>
                  </a:lnTo>
                  <a:lnTo>
                    <a:pt x="339" y="77"/>
                  </a:lnTo>
                  <a:lnTo>
                    <a:pt x="336" y="79"/>
                  </a:lnTo>
                  <a:lnTo>
                    <a:pt x="335" y="83"/>
                  </a:lnTo>
                  <a:lnTo>
                    <a:pt x="335" y="87"/>
                  </a:lnTo>
                  <a:lnTo>
                    <a:pt x="337" y="89"/>
                  </a:lnTo>
                  <a:lnTo>
                    <a:pt x="339" y="90"/>
                  </a:lnTo>
                  <a:lnTo>
                    <a:pt x="339" y="92"/>
                  </a:lnTo>
                  <a:lnTo>
                    <a:pt x="339" y="94"/>
                  </a:lnTo>
                  <a:lnTo>
                    <a:pt x="338" y="97"/>
                  </a:lnTo>
                  <a:lnTo>
                    <a:pt x="339" y="97"/>
                  </a:lnTo>
                  <a:lnTo>
                    <a:pt x="341" y="98"/>
                  </a:lnTo>
                  <a:lnTo>
                    <a:pt x="343" y="98"/>
                  </a:lnTo>
                  <a:lnTo>
                    <a:pt x="347" y="98"/>
                  </a:lnTo>
                  <a:lnTo>
                    <a:pt x="349" y="99"/>
                  </a:lnTo>
                  <a:lnTo>
                    <a:pt x="349" y="100"/>
                  </a:lnTo>
                  <a:lnTo>
                    <a:pt x="349" y="102"/>
                  </a:lnTo>
                  <a:lnTo>
                    <a:pt x="346" y="105"/>
                  </a:lnTo>
                  <a:lnTo>
                    <a:pt x="343" y="108"/>
                  </a:lnTo>
                  <a:lnTo>
                    <a:pt x="343" y="110"/>
                  </a:lnTo>
                  <a:lnTo>
                    <a:pt x="347" y="113"/>
                  </a:lnTo>
                  <a:lnTo>
                    <a:pt x="349" y="115"/>
                  </a:lnTo>
                  <a:lnTo>
                    <a:pt x="349" y="116"/>
                  </a:lnTo>
                  <a:lnTo>
                    <a:pt x="349" y="120"/>
                  </a:lnTo>
                  <a:lnTo>
                    <a:pt x="348" y="124"/>
                  </a:lnTo>
                  <a:lnTo>
                    <a:pt x="349" y="127"/>
                  </a:lnTo>
                  <a:lnTo>
                    <a:pt x="353" y="130"/>
                  </a:lnTo>
                  <a:lnTo>
                    <a:pt x="357" y="132"/>
                  </a:lnTo>
                  <a:lnTo>
                    <a:pt x="358" y="135"/>
                  </a:lnTo>
                  <a:lnTo>
                    <a:pt x="359" y="136"/>
                  </a:lnTo>
                  <a:lnTo>
                    <a:pt x="360" y="138"/>
                  </a:lnTo>
                  <a:lnTo>
                    <a:pt x="362" y="140"/>
                  </a:lnTo>
                  <a:lnTo>
                    <a:pt x="364" y="140"/>
                  </a:lnTo>
                  <a:lnTo>
                    <a:pt x="368" y="142"/>
                  </a:lnTo>
                  <a:lnTo>
                    <a:pt x="370" y="145"/>
                  </a:lnTo>
                  <a:lnTo>
                    <a:pt x="371" y="148"/>
                  </a:lnTo>
                  <a:lnTo>
                    <a:pt x="375" y="149"/>
                  </a:lnTo>
                  <a:lnTo>
                    <a:pt x="379" y="151"/>
                  </a:lnTo>
                  <a:lnTo>
                    <a:pt x="384" y="152"/>
                  </a:lnTo>
                  <a:lnTo>
                    <a:pt x="387" y="153"/>
                  </a:lnTo>
                  <a:lnTo>
                    <a:pt x="390" y="156"/>
                  </a:lnTo>
                  <a:lnTo>
                    <a:pt x="391" y="157"/>
                  </a:lnTo>
                  <a:lnTo>
                    <a:pt x="391" y="158"/>
                  </a:lnTo>
                  <a:lnTo>
                    <a:pt x="387" y="162"/>
                  </a:lnTo>
                  <a:lnTo>
                    <a:pt x="384" y="163"/>
                  </a:lnTo>
                  <a:lnTo>
                    <a:pt x="380" y="164"/>
                  </a:lnTo>
                  <a:lnTo>
                    <a:pt x="375" y="167"/>
                  </a:lnTo>
                  <a:lnTo>
                    <a:pt x="373" y="170"/>
                  </a:lnTo>
                  <a:lnTo>
                    <a:pt x="371" y="174"/>
                  </a:lnTo>
                  <a:lnTo>
                    <a:pt x="373" y="179"/>
                  </a:lnTo>
                  <a:lnTo>
                    <a:pt x="375" y="184"/>
                  </a:lnTo>
                  <a:lnTo>
                    <a:pt x="375" y="189"/>
                  </a:lnTo>
                  <a:lnTo>
                    <a:pt x="376" y="194"/>
                  </a:lnTo>
                  <a:lnTo>
                    <a:pt x="378" y="195"/>
                  </a:lnTo>
                  <a:lnTo>
                    <a:pt x="379" y="195"/>
                  </a:lnTo>
                  <a:lnTo>
                    <a:pt x="378" y="197"/>
                  </a:lnTo>
                  <a:lnTo>
                    <a:pt x="375" y="200"/>
                  </a:lnTo>
                  <a:lnTo>
                    <a:pt x="370" y="205"/>
                  </a:lnTo>
                  <a:lnTo>
                    <a:pt x="367" y="209"/>
                  </a:lnTo>
                  <a:lnTo>
                    <a:pt x="363" y="213"/>
                  </a:lnTo>
                  <a:lnTo>
                    <a:pt x="362" y="218"/>
                  </a:lnTo>
                  <a:lnTo>
                    <a:pt x="363" y="221"/>
                  </a:lnTo>
                  <a:lnTo>
                    <a:pt x="364" y="223"/>
                  </a:lnTo>
                  <a:lnTo>
                    <a:pt x="364" y="226"/>
                  </a:lnTo>
                  <a:lnTo>
                    <a:pt x="364" y="227"/>
                  </a:lnTo>
                  <a:lnTo>
                    <a:pt x="362" y="228"/>
                  </a:lnTo>
                  <a:lnTo>
                    <a:pt x="357" y="231"/>
                  </a:lnTo>
                  <a:lnTo>
                    <a:pt x="353" y="232"/>
                  </a:lnTo>
                  <a:lnTo>
                    <a:pt x="351" y="234"/>
                  </a:lnTo>
                  <a:lnTo>
                    <a:pt x="349" y="237"/>
                  </a:lnTo>
                  <a:lnTo>
                    <a:pt x="349" y="243"/>
                  </a:lnTo>
                  <a:lnTo>
                    <a:pt x="347" y="250"/>
                  </a:lnTo>
                  <a:lnTo>
                    <a:pt x="344" y="258"/>
                  </a:lnTo>
                  <a:lnTo>
                    <a:pt x="341" y="263"/>
                  </a:lnTo>
                  <a:lnTo>
                    <a:pt x="337" y="265"/>
                  </a:lnTo>
                  <a:lnTo>
                    <a:pt x="333" y="269"/>
                  </a:lnTo>
                  <a:lnTo>
                    <a:pt x="330" y="271"/>
                  </a:lnTo>
                  <a:lnTo>
                    <a:pt x="327" y="276"/>
                  </a:lnTo>
                  <a:lnTo>
                    <a:pt x="326" y="281"/>
                  </a:lnTo>
                  <a:lnTo>
                    <a:pt x="325" y="285"/>
                  </a:lnTo>
                  <a:lnTo>
                    <a:pt x="323" y="287"/>
                  </a:lnTo>
                  <a:lnTo>
                    <a:pt x="320" y="291"/>
                  </a:lnTo>
                  <a:lnTo>
                    <a:pt x="319" y="293"/>
                  </a:lnTo>
                  <a:lnTo>
                    <a:pt x="317" y="297"/>
                  </a:lnTo>
                  <a:lnTo>
                    <a:pt x="315" y="299"/>
                  </a:lnTo>
                  <a:lnTo>
                    <a:pt x="311" y="301"/>
                  </a:lnTo>
                  <a:lnTo>
                    <a:pt x="306" y="302"/>
                  </a:lnTo>
                  <a:lnTo>
                    <a:pt x="300" y="303"/>
                  </a:lnTo>
                  <a:lnTo>
                    <a:pt x="295" y="306"/>
                  </a:lnTo>
                  <a:lnTo>
                    <a:pt x="293" y="307"/>
                  </a:lnTo>
                  <a:lnTo>
                    <a:pt x="289" y="307"/>
                  </a:lnTo>
                  <a:lnTo>
                    <a:pt x="287" y="306"/>
                  </a:lnTo>
                  <a:lnTo>
                    <a:pt x="285" y="303"/>
                  </a:lnTo>
                  <a:lnTo>
                    <a:pt x="282" y="298"/>
                  </a:lnTo>
                  <a:lnTo>
                    <a:pt x="279" y="297"/>
                  </a:lnTo>
                  <a:lnTo>
                    <a:pt x="278" y="296"/>
                  </a:lnTo>
                  <a:lnTo>
                    <a:pt x="273" y="298"/>
                  </a:lnTo>
                  <a:lnTo>
                    <a:pt x="271" y="302"/>
                  </a:lnTo>
                  <a:lnTo>
                    <a:pt x="268" y="306"/>
                  </a:lnTo>
                  <a:lnTo>
                    <a:pt x="262" y="317"/>
                  </a:lnTo>
                  <a:lnTo>
                    <a:pt x="256" y="327"/>
                  </a:lnTo>
                  <a:lnTo>
                    <a:pt x="255" y="333"/>
                  </a:lnTo>
                  <a:lnTo>
                    <a:pt x="257" y="338"/>
                  </a:lnTo>
                  <a:lnTo>
                    <a:pt x="261" y="341"/>
                  </a:lnTo>
                  <a:lnTo>
                    <a:pt x="266" y="343"/>
                  </a:lnTo>
                  <a:lnTo>
                    <a:pt x="272" y="345"/>
                  </a:lnTo>
                  <a:lnTo>
                    <a:pt x="276" y="346"/>
                  </a:lnTo>
                  <a:lnTo>
                    <a:pt x="277" y="350"/>
                  </a:lnTo>
                  <a:lnTo>
                    <a:pt x="277" y="355"/>
                  </a:lnTo>
                  <a:lnTo>
                    <a:pt x="277" y="361"/>
                  </a:lnTo>
                  <a:lnTo>
                    <a:pt x="278" y="366"/>
                  </a:lnTo>
                  <a:lnTo>
                    <a:pt x="280" y="371"/>
                  </a:lnTo>
                  <a:lnTo>
                    <a:pt x="285" y="373"/>
                  </a:lnTo>
                  <a:lnTo>
                    <a:pt x="290" y="373"/>
                  </a:lnTo>
                  <a:lnTo>
                    <a:pt x="292" y="373"/>
                  </a:lnTo>
                  <a:lnTo>
                    <a:pt x="294" y="373"/>
                  </a:lnTo>
                  <a:lnTo>
                    <a:pt x="295" y="376"/>
                  </a:lnTo>
                  <a:lnTo>
                    <a:pt x="295" y="379"/>
                  </a:lnTo>
                  <a:lnTo>
                    <a:pt x="295" y="382"/>
                  </a:lnTo>
                  <a:lnTo>
                    <a:pt x="296" y="386"/>
                  </a:lnTo>
                  <a:lnTo>
                    <a:pt x="303" y="394"/>
                  </a:lnTo>
                  <a:lnTo>
                    <a:pt x="308" y="404"/>
                  </a:lnTo>
                  <a:lnTo>
                    <a:pt x="309" y="405"/>
                  </a:lnTo>
                  <a:lnTo>
                    <a:pt x="309" y="406"/>
                  </a:lnTo>
                  <a:lnTo>
                    <a:pt x="309" y="406"/>
                  </a:lnTo>
                  <a:lnTo>
                    <a:pt x="308" y="408"/>
                  </a:lnTo>
                  <a:lnTo>
                    <a:pt x="306" y="410"/>
                  </a:lnTo>
                  <a:lnTo>
                    <a:pt x="308" y="413"/>
                  </a:lnTo>
                  <a:lnTo>
                    <a:pt x="309" y="415"/>
                  </a:lnTo>
                  <a:lnTo>
                    <a:pt x="311" y="415"/>
                  </a:lnTo>
                  <a:lnTo>
                    <a:pt x="306" y="419"/>
                  </a:lnTo>
                  <a:lnTo>
                    <a:pt x="303" y="421"/>
                  </a:lnTo>
                  <a:lnTo>
                    <a:pt x="299" y="420"/>
                  </a:lnTo>
                  <a:lnTo>
                    <a:pt x="295" y="417"/>
                  </a:lnTo>
                  <a:lnTo>
                    <a:pt x="294" y="415"/>
                  </a:lnTo>
                  <a:lnTo>
                    <a:pt x="293" y="415"/>
                  </a:lnTo>
                  <a:lnTo>
                    <a:pt x="288" y="417"/>
                  </a:lnTo>
                  <a:lnTo>
                    <a:pt x="284" y="419"/>
                  </a:lnTo>
                  <a:lnTo>
                    <a:pt x="283" y="420"/>
                  </a:lnTo>
                  <a:lnTo>
                    <a:pt x="283" y="421"/>
                  </a:lnTo>
                  <a:lnTo>
                    <a:pt x="283" y="422"/>
                  </a:lnTo>
                  <a:lnTo>
                    <a:pt x="282" y="424"/>
                  </a:lnTo>
                  <a:lnTo>
                    <a:pt x="276" y="424"/>
                  </a:lnTo>
                  <a:lnTo>
                    <a:pt x="269" y="422"/>
                  </a:lnTo>
                  <a:lnTo>
                    <a:pt x="263" y="420"/>
                  </a:lnTo>
                  <a:lnTo>
                    <a:pt x="258" y="420"/>
                  </a:lnTo>
                  <a:lnTo>
                    <a:pt x="251" y="420"/>
                  </a:lnTo>
                  <a:lnTo>
                    <a:pt x="245" y="419"/>
                  </a:lnTo>
                  <a:lnTo>
                    <a:pt x="245" y="421"/>
                  </a:lnTo>
                  <a:lnTo>
                    <a:pt x="245" y="426"/>
                  </a:lnTo>
                  <a:lnTo>
                    <a:pt x="245" y="429"/>
                  </a:lnTo>
                  <a:lnTo>
                    <a:pt x="242" y="430"/>
                  </a:lnTo>
                  <a:lnTo>
                    <a:pt x="234" y="431"/>
                  </a:lnTo>
                  <a:lnTo>
                    <a:pt x="231" y="433"/>
                  </a:lnTo>
                  <a:lnTo>
                    <a:pt x="230" y="437"/>
                  </a:lnTo>
                  <a:lnTo>
                    <a:pt x="230" y="435"/>
                  </a:lnTo>
                  <a:lnTo>
                    <a:pt x="230" y="433"/>
                  </a:lnTo>
                  <a:lnTo>
                    <a:pt x="230" y="435"/>
                  </a:lnTo>
                  <a:lnTo>
                    <a:pt x="229" y="437"/>
                  </a:lnTo>
                  <a:lnTo>
                    <a:pt x="225" y="431"/>
                  </a:lnTo>
                  <a:lnTo>
                    <a:pt x="225" y="433"/>
                  </a:lnTo>
                  <a:lnTo>
                    <a:pt x="225" y="437"/>
                  </a:lnTo>
                  <a:lnTo>
                    <a:pt x="220" y="432"/>
                  </a:lnTo>
                  <a:lnTo>
                    <a:pt x="220" y="435"/>
                  </a:lnTo>
                  <a:lnTo>
                    <a:pt x="219" y="435"/>
                  </a:lnTo>
                  <a:lnTo>
                    <a:pt x="217" y="435"/>
                  </a:lnTo>
                  <a:lnTo>
                    <a:pt x="214" y="436"/>
                  </a:lnTo>
                  <a:lnTo>
                    <a:pt x="214" y="431"/>
                  </a:lnTo>
                  <a:lnTo>
                    <a:pt x="212" y="432"/>
                  </a:lnTo>
                  <a:lnTo>
                    <a:pt x="210" y="431"/>
                  </a:lnTo>
                  <a:lnTo>
                    <a:pt x="209" y="429"/>
                  </a:lnTo>
                  <a:lnTo>
                    <a:pt x="210" y="427"/>
                  </a:lnTo>
                  <a:lnTo>
                    <a:pt x="207" y="426"/>
                  </a:lnTo>
                  <a:lnTo>
                    <a:pt x="204" y="424"/>
                  </a:lnTo>
                  <a:lnTo>
                    <a:pt x="203" y="421"/>
                  </a:lnTo>
                  <a:lnTo>
                    <a:pt x="204" y="417"/>
                  </a:lnTo>
                  <a:lnTo>
                    <a:pt x="202" y="415"/>
                  </a:lnTo>
                  <a:lnTo>
                    <a:pt x="201" y="411"/>
                  </a:lnTo>
                  <a:lnTo>
                    <a:pt x="201" y="406"/>
                  </a:lnTo>
                  <a:lnTo>
                    <a:pt x="198" y="404"/>
                  </a:lnTo>
                  <a:lnTo>
                    <a:pt x="194" y="403"/>
                  </a:lnTo>
                  <a:lnTo>
                    <a:pt x="189" y="403"/>
                  </a:lnTo>
                  <a:lnTo>
                    <a:pt x="186" y="400"/>
                  </a:lnTo>
                  <a:lnTo>
                    <a:pt x="183" y="398"/>
                  </a:lnTo>
                  <a:lnTo>
                    <a:pt x="183" y="393"/>
                  </a:lnTo>
                  <a:lnTo>
                    <a:pt x="182" y="389"/>
                  </a:lnTo>
                  <a:lnTo>
                    <a:pt x="181" y="386"/>
                  </a:lnTo>
                  <a:lnTo>
                    <a:pt x="178" y="382"/>
                  </a:lnTo>
                  <a:lnTo>
                    <a:pt x="176" y="378"/>
                  </a:lnTo>
                  <a:lnTo>
                    <a:pt x="171" y="377"/>
                  </a:lnTo>
                  <a:lnTo>
                    <a:pt x="167" y="377"/>
                  </a:lnTo>
                  <a:lnTo>
                    <a:pt x="165" y="381"/>
                  </a:lnTo>
                  <a:lnTo>
                    <a:pt x="169" y="381"/>
                  </a:lnTo>
                  <a:lnTo>
                    <a:pt x="171" y="379"/>
                  </a:lnTo>
                  <a:lnTo>
                    <a:pt x="173" y="379"/>
                  </a:lnTo>
                  <a:lnTo>
                    <a:pt x="176" y="383"/>
                  </a:lnTo>
                  <a:lnTo>
                    <a:pt x="172" y="381"/>
                  </a:lnTo>
                  <a:lnTo>
                    <a:pt x="167" y="381"/>
                  </a:lnTo>
                  <a:lnTo>
                    <a:pt x="160" y="383"/>
                  </a:lnTo>
                  <a:lnTo>
                    <a:pt x="156" y="384"/>
                  </a:lnTo>
                  <a:lnTo>
                    <a:pt x="153" y="384"/>
                  </a:lnTo>
                  <a:lnTo>
                    <a:pt x="148" y="384"/>
                  </a:lnTo>
                  <a:lnTo>
                    <a:pt x="144" y="384"/>
                  </a:lnTo>
                  <a:lnTo>
                    <a:pt x="143" y="384"/>
                  </a:lnTo>
                  <a:lnTo>
                    <a:pt x="139" y="386"/>
                  </a:lnTo>
                  <a:lnTo>
                    <a:pt x="133" y="386"/>
                  </a:lnTo>
                  <a:lnTo>
                    <a:pt x="129" y="387"/>
                  </a:lnTo>
                  <a:lnTo>
                    <a:pt x="127" y="387"/>
                  </a:lnTo>
                  <a:lnTo>
                    <a:pt x="127" y="389"/>
                  </a:lnTo>
                  <a:lnTo>
                    <a:pt x="127" y="390"/>
                  </a:lnTo>
                  <a:lnTo>
                    <a:pt x="124" y="390"/>
                  </a:lnTo>
                  <a:lnTo>
                    <a:pt x="123" y="388"/>
                  </a:lnTo>
                  <a:lnTo>
                    <a:pt x="121" y="388"/>
                  </a:lnTo>
                  <a:lnTo>
                    <a:pt x="118" y="388"/>
                  </a:lnTo>
                  <a:lnTo>
                    <a:pt x="113" y="386"/>
                  </a:lnTo>
                  <a:lnTo>
                    <a:pt x="110" y="383"/>
                  </a:lnTo>
                  <a:lnTo>
                    <a:pt x="107" y="382"/>
                  </a:lnTo>
                  <a:lnTo>
                    <a:pt x="106" y="382"/>
                  </a:lnTo>
                  <a:lnTo>
                    <a:pt x="107" y="384"/>
                  </a:lnTo>
                  <a:lnTo>
                    <a:pt x="103" y="384"/>
                  </a:lnTo>
                  <a:lnTo>
                    <a:pt x="97" y="384"/>
                  </a:lnTo>
                  <a:lnTo>
                    <a:pt x="92" y="386"/>
                  </a:lnTo>
                  <a:lnTo>
                    <a:pt x="91" y="387"/>
                  </a:lnTo>
                  <a:lnTo>
                    <a:pt x="92" y="389"/>
                  </a:lnTo>
                  <a:lnTo>
                    <a:pt x="90" y="389"/>
                  </a:lnTo>
                  <a:lnTo>
                    <a:pt x="85" y="388"/>
                  </a:lnTo>
                  <a:lnTo>
                    <a:pt x="74" y="388"/>
                  </a:lnTo>
                  <a:lnTo>
                    <a:pt x="69" y="388"/>
                  </a:lnTo>
                  <a:lnTo>
                    <a:pt x="64" y="389"/>
                  </a:lnTo>
                  <a:lnTo>
                    <a:pt x="62" y="390"/>
                  </a:lnTo>
                  <a:lnTo>
                    <a:pt x="62" y="393"/>
                  </a:lnTo>
                  <a:lnTo>
                    <a:pt x="58" y="392"/>
                  </a:lnTo>
                  <a:lnTo>
                    <a:pt x="55" y="389"/>
                  </a:lnTo>
                  <a:lnTo>
                    <a:pt x="54" y="389"/>
                  </a:lnTo>
                  <a:lnTo>
                    <a:pt x="53" y="390"/>
                  </a:lnTo>
                  <a:lnTo>
                    <a:pt x="52" y="393"/>
                  </a:lnTo>
                  <a:lnTo>
                    <a:pt x="47" y="394"/>
                  </a:lnTo>
                  <a:lnTo>
                    <a:pt x="43" y="393"/>
                  </a:lnTo>
                  <a:lnTo>
                    <a:pt x="41" y="390"/>
                  </a:lnTo>
                  <a:lnTo>
                    <a:pt x="39" y="386"/>
                  </a:lnTo>
                  <a:lnTo>
                    <a:pt x="39" y="382"/>
                  </a:lnTo>
                  <a:lnTo>
                    <a:pt x="39" y="377"/>
                  </a:lnTo>
                  <a:lnTo>
                    <a:pt x="41" y="365"/>
                  </a:lnTo>
                  <a:lnTo>
                    <a:pt x="42" y="358"/>
                  </a:lnTo>
                  <a:lnTo>
                    <a:pt x="46" y="354"/>
                  </a:lnTo>
                  <a:lnTo>
                    <a:pt x="49" y="351"/>
                  </a:lnTo>
                  <a:lnTo>
                    <a:pt x="54" y="351"/>
                  </a:lnTo>
                  <a:lnTo>
                    <a:pt x="53" y="347"/>
                  </a:lnTo>
                  <a:lnTo>
                    <a:pt x="55" y="345"/>
                  </a:lnTo>
                  <a:lnTo>
                    <a:pt x="59" y="344"/>
                  </a:lnTo>
                  <a:lnTo>
                    <a:pt x="64" y="344"/>
                  </a:lnTo>
                  <a:lnTo>
                    <a:pt x="74" y="343"/>
                  </a:lnTo>
                  <a:lnTo>
                    <a:pt x="78" y="341"/>
                  </a:lnTo>
                  <a:lnTo>
                    <a:pt x="79" y="339"/>
                  </a:lnTo>
                  <a:lnTo>
                    <a:pt x="79" y="335"/>
                  </a:lnTo>
                  <a:lnTo>
                    <a:pt x="80" y="330"/>
                  </a:lnTo>
                  <a:lnTo>
                    <a:pt x="80" y="327"/>
                  </a:lnTo>
                  <a:lnTo>
                    <a:pt x="79" y="324"/>
                  </a:lnTo>
                  <a:lnTo>
                    <a:pt x="76" y="323"/>
                  </a:lnTo>
                  <a:lnTo>
                    <a:pt x="74" y="323"/>
                  </a:lnTo>
                  <a:lnTo>
                    <a:pt x="69" y="323"/>
                  </a:lnTo>
                  <a:lnTo>
                    <a:pt x="66" y="322"/>
                  </a:lnTo>
                  <a:lnTo>
                    <a:pt x="65" y="318"/>
                  </a:lnTo>
                  <a:lnTo>
                    <a:pt x="64" y="314"/>
                  </a:lnTo>
                  <a:lnTo>
                    <a:pt x="64" y="312"/>
                  </a:lnTo>
                  <a:lnTo>
                    <a:pt x="63" y="301"/>
                  </a:lnTo>
                  <a:lnTo>
                    <a:pt x="60" y="291"/>
                  </a:lnTo>
                  <a:lnTo>
                    <a:pt x="59" y="290"/>
                  </a:lnTo>
                  <a:lnTo>
                    <a:pt x="57" y="288"/>
                  </a:lnTo>
                  <a:lnTo>
                    <a:pt x="52" y="286"/>
                  </a:lnTo>
                  <a:lnTo>
                    <a:pt x="46" y="283"/>
                  </a:lnTo>
                  <a:lnTo>
                    <a:pt x="39" y="280"/>
                  </a:lnTo>
                  <a:lnTo>
                    <a:pt x="33" y="276"/>
                  </a:lnTo>
                  <a:lnTo>
                    <a:pt x="28" y="272"/>
                  </a:lnTo>
                  <a:lnTo>
                    <a:pt x="21" y="260"/>
                  </a:lnTo>
                  <a:lnTo>
                    <a:pt x="11" y="248"/>
                  </a:lnTo>
                  <a:lnTo>
                    <a:pt x="0" y="23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3" name="Freeform 195">
              <a:extLst>
                <a:ext uri="{FF2B5EF4-FFF2-40B4-BE49-F238E27FC236}">
                  <a16:creationId xmlns:a16="http://schemas.microsoft.com/office/drawing/2014/main" id="{DCE7016E-363F-4156-92BB-F5831DD39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2483" y="4184587"/>
              <a:ext cx="6324" cy="2109"/>
            </a:xfrm>
            <a:custGeom>
              <a:avLst/>
              <a:gdLst>
                <a:gd name="T0" fmla="*/ 6 w 6"/>
                <a:gd name="T1" fmla="*/ 3 h 3"/>
                <a:gd name="T2" fmla="*/ 5 w 6"/>
                <a:gd name="T3" fmla="*/ 0 h 3"/>
                <a:gd name="T4" fmla="*/ 4 w 6"/>
                <a:gd name="T5" fmla="*/ 0 h 3"/>
                <a:gd name="T6" fmla="*/ 0 w 6"/>
                <a:gd name="T7" fmla="*/ 0 h 3"/>
                <a:gd name="T8" fmla="*/ 6 w 6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">
                  <a:moveTo>
                    <a:pt x="6" y="3"/>
                  </a:moveTo>
                  <a:lnTo>
                    <a:pt x="5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6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4" name="Freeform 196">
              <a:extLst>
                <a:ext uri="{FF2B5EF4-FFF2-40B4-BE49-F238E27FC236}">
                  <a16:creationId xmlns:a16="http://schemas.microsoft.com/office/drawing/2014/main" id="{86D75081-25CB-4B82-AE79-CA38D57A8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0425" y="4167724"/>
              <a:ext cx="33726" cy="12647"/>
            </a:xfrm>
            <a:custGeom>
              <a:avLst/>
              <a:gdLst>
                <a:gd name="T0" fmla="*/ 11 w 32"/>
                <a:gd name="T1" fmla="*/ 14 h 14"/>
                <a:gd name="T2" fmla="*/ 16 w 32"/>
                <a:gd name="T3" fmla="*/ 12 h 14"/>
                <a:gd name="T4" fmla="*/ 22 w 32"/>
                <a:gd name="T5" fmla="*/ 12 h 14"/>
                <a:gd name="T6" fmla="*/ 28 w 32"/>
                <a:gd name="T7" fmla="*/ 10 h 14"/>
                <a:gd name="T8" fmla="*/ 32 w 32"/>
                <a:gd name="T9" fmla="*/ 6 h 14"/>
                <a:gd name="T10" fmla="*/ 24 w 32"/>
                <a:gd name="T11" fmla="*/ 3 h 14"/>
                <a:gd name="T12" fmla="*/ 22 w 32"/>
                <a:gd name="T13" fmla="*/ 1 h 14"/>
                <a:gd name="T14" fmla="*/ 18 w 32"/>
                <a:gd name="T15" fmla="*/ 1 h 14"/>
                <a:gd name="T16" fmla="*/ 14 w 32"/>
                <a:gd name="T17" fmla="*/ 3 h 14"/>
                <a:gd name="T18" fmla="*/ 11 w 32"/>
                <a:gd name="T19" fmla="*/ 3 h 14"/>
                <a:gd name="T20" fmla="*/ 7 w 32"/>
                <a:gd name="T21" fmla="*/ 1 h 14"/>
                <a:gd name="T22" fmla="*/ 3 w 32"/>
                <a:gd name="T23" fmla="*/ 0 h 14"/>
                <a:gd name="T24" fmla="*/ 2 w 32"/>
                <a:gd name="T25" fmla="*/ 1 h 14"/>
                <a:gd name="T26" fmla="*/ 0 w 32"/>
                <a:gd name="T27" fmla="*/ 4 h 14"/>
                <a:gd name="T28" fmla="*/ 0 w 32"/>
                <a:gd name="T29" fmla="*/ 7 h 14"/>
                <a:gd name="T30" fmla="*/ 1 w 32"/>
                <a:gd name="T31" fmla="*/ 9 h 14"/>
                <a:gd name="T32" fmla="*/ 6 w 32"/>
                <a:gd name="T33" fmla="*/ 12 h 14"/>
                <a:gd name="T34" fmla="*/ 11 w 32"/>
                <a:gd name="T3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" h="14">
                  <a:moveTo>
                    <a:pt x="11" y="14"/>
                  </a:moveTo>
                  <a:lnTo>
                    <a:pt x="16" y="12"/>
                  </a:lnTo>
                  <a:lnTo>
                    <a:pt x="22" y="12"/>
                  </a:lnTo>
                  <a:lnTo>
                    <a:pt x="28" y="10"/>
                  </a:lnTo>
                  <a:lnTo>
                    <a:pt x="32" y="6"/>
                  </a:lnTo>
                  <a:lnTo>
                    <a:pt x="24" y="3"/>
                  </a:lnTo>
                  <a:lnTo>
                    <a:pt x="22" y="1"/>
                  </a:lnTo>
                  <a:lnTo>
                    <a:pt x="18" y="1"/>
                  </a:lnTo>
                  <a:lnTo>
                    <a:pt x="14" y="3"/>
                  </a:lnTo>
                  <a:lnTo>
                    <a:pt x="11" y="3"/>
                  </a:lnTo>
                  <a:lnTo>
                    <a:pt x="7" y="1"/>
                  </a:lnTo>
                  <a:lnTo>
                    <a:pt x="3" y="0"/>
                  </a:lnTo>
                  <a:lnTo>
                    <a:pt x="2" y="1"/>
                  </a:lnTo>
                  <a:lnTo>
                    <a:pt x="0" y="4"/>
                  </a:lnTo>
                  <a:lnTo>
                    <a:pt x="0" y="7"/>
                  </a:lnTo>
                  <a:lnTo>
                    <a:pt x="1" y="9"/>
                  </a:lnTo>
                  <a:lnTo>
                    <a:pt x="6" y="12"/>
                  </a:lnTo>
                  <a:lnTo>
                    <a:pt x="11" y="1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5" name="Freeform 199">
              <a:extLst>
                <a:ext uri="{FF2B5EF4-FFF2-40B4-BE49-F238E27FC236}">
                  <a16:creationId xmlns:a16="http://schemas.microsoft.com/office/drawing/2014/main" id="{0517ECDD-3059-43A7-9A25-531CB72BF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0225" y="5067797"/>
              <a:ext cx="4216" cy="6324"/>
            </a:xfrm>
            <a:custGeom>
              <a:avLst/>
              <a:gdLst>
                <a:gd name="T0" fmla="*/ 4 w 4"/>
                <a:gd name="T1" fmla="*/ 6 h 6"/>
                <a:gd name="T2" fmla="*/ 4 w 4"/>
                <a:gd name="T3" fmla="*/ 2 h 6"/>
                <a:gd name="T4" fmla="*/ 3 w 4"/>
                <a:gd name="T5" fmla="*/ 0 h 6"/>
                <a:gd name="T6" fmla="*/ 2 w 4"/>
                <a:gd name="T7" fmla="*/ 2 h 6"/>
                <a:gd name="T8" fmla="*/ 0 w 4"/>
                <a:gd name="T9" fmla="*/ 3 h 6"/>
                <a:gd name="T10" fmla="*/ 2 w 4"/>
                <a:gd name="T11" fmla="*/ 6 h 6"/>
                <a:gd name="T12" fmla="*/ 4 w 4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6">
                  <a:moveTo>
                    <a:pt x="4" y="6"/>
                  </a:moveTo>
                  <a:lnTo>
                    <a:pt x="4" y="2"/>
                  </a:lnTo>
                  <a:lnTo>
                    <a:pt x="3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6"/>
                  </a:lnTo>
                  <a:lnTo>
                    <a:pt x="4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6" name="Freeform 200">
              <a:extLst>
                <a:ext uri="{FF2B5EF4-FFF2-40B4-BE49-F238E27FC236}">
                  <a16:creationId xmlns:a16="http://schemas.microsoft.com/office/drawing/2014/main" id="{D641C113-233E-4F18-8D76-9F0654845C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6598" y="5190055"/>
              <a:ext cx="4216" cy="10540"/>
            </a:xfrm>
            <a:custGeom>
              <a:avLst/>
              <a:gdLst>
                <a:gd name="T0" fmla="*/ 4 w 4"/>
                <a:gd name="T1" fmla="*/ 2 h 11"/>
                <a:gd name="T2" fmla="*/ 4 w 4"/>
                <a:gd name="T3" fmla="*/ 0 h 11"/>
                <a:gd name="T4" fmla="*/ 2 w 4"/>
                <a:gd name="T5" fmla="*/ 5 h 11"/>
                <a:gd name="T6" fmla="*/ 0 w 4"/>
                <a:gd name="T7" fmla="*/ 9 h 11"/>
                <a:gd name="T8" fmla="*/ 0 w 4"/>
                <a:gd name="T9" fmla="*/ 11 h 11"/>
                <a:gd name="T10" fmla="*/ 3 w 4"/>
                <a:gd name="T11" fmla="*/ 6 h 11"/>
                <a:gd name="T12" fmla="*/ 4 w 4"/>
                <a:gd name="T1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11">
                  <a:moveTo>
                    <a:pt x="4" y="2"/>
                  </a:moveTo>
                  <a:lnTo>
                    <a:pt x="4" y="0"/>
                  </a:lnTo>
                  <a:lnTo>
                    <a:pt x="2" y="5"/>
                  </a:lnTo>
                  <a:lnTo>
                    <a:pt x="0" y="9"/>
                  </a:lnTo>
                  <a:lnTo>
                    <a:pt x="0" y="11"/>
                  </a:lnTo>
                  <a:lnTo>
                    <a:pt x="3" y="6"/>
                  </a:lnTo>
                  <a:lnTo>
                    <a:pt x="4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7" name="Freeform 212">
              <a:extLst>
                <a:ext uri="{FF2B5EF4-FFF2-40B4-BE49-F238E27FC236}">
                  <a16:creationId xmlns:a16="http://schemas.microsoft.com/office/drawing/2014/main" id="{5D825D99-4FBD-4500-9391-44DD0E86CF1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6503" y="3756685"/>
              <a:ext cx="6324" cy="4216"/>
            </a:xfrm>
            <a:custGeom>
              <a:avLst/>
              <a:gdLst>
                <a:gd name="T0" fmla="*/ 4 w 5"/>
                <a:gd name="T1" fmla="*/ 0 h 2"/>
                <a:gd name="T2" fmla="*/ 0 w 5"/>
                <a:gd name="T3" fmla="*/ 1 h 2"/>
                <a:gd name="T4" fmla="*/ 5 w 5"/>
                <a:gd name="T5" fmla="*/ 2 h 2"/>
                <a:gd name="T6" fmla="*/ 4 w 5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4" y="0"/>
                  </a:moveTo>
                  <a:lnTo>
                    <a:pt x="0" y="1"/>
                  </a:lnTo>
                  <a:lnTo>
                    <a:pt x="5" y="2"/>
                  </a:lnTo>
                  <a:lnTo>
                    <a:pt x="4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8" name="Freeform 213">
              <a:extLst>
                <a:ext uri="{FF2B5EF4-FFF2-40B4-BE49-F238E27FC236}">
                  <a16:creationId xmlns:a16="http://schemas.microsoft.com/office/drawing/2014/main" id="{F92A5265-3A13-44CA-91C0-2FD3EA3A8E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7631" y="3731390"/>
              <a:ext cx="42158" cy="113826"/>
            </a:xfrm>
            <a:custGeom>
              <a:avLst/>
              <a:gdLst>
                <a:gd name="T0" fmla="*/ 0 w 41"/>
                <a:gd name="T1" fmla="*/ 57 h 108"/>
                <a:gd name="T2" fmla="*/ 1 w 41"/>
                <a:gd name="T3" fmla="*/ 61 h 108"/>
                <a:gd name="T4" fmla="*/ 1 w 41"/>
                <a:gd name="T5" fmla="*/ 65 h 108"/>
                <a:gd name="T6" fmla="*/ 0 w 41"/>
                <a:gd name="T7" fmla="*/ 69 h 108"/>
                <a:gd name="T8" fmla="*/ 1 w 41"/>
                <a:gd name="T9" fmla="*/ 71 h 108"/>
                <a:gd name="T10" fmla="*/ 6 w 41"/>
                <a:gd name="T11" fmla="*/ 79 h 108"/>
                <a:gd name="T12" fmla="*/ 9 w 41"/>
                <a:gd name="T13" fmla="*/ 86 h 108"/>
                <a:gd name="T14" fmla="*/ 12 w 41"/>
                <a:gd name="T15" fmla="*/ 90 h 108"/>
                <a:gd name="T16" fmla="*/ 15 w 41"/>
                <a:gd name="T17" fmla="*/ 92 h 108"/>
                <a:gd name="T18" fmla="*/ 19 w 41"/>
                <a:gd name="T19" fmla="*/ 95 h 108"/>
                <a:gd name="T20" fmla="*/ 21 w 41"/>
                <a:gd name="T21" fmla="*/ 98 h 108"/>
                <a:gd name="T22" fmla="*/ 22 w 41"/>
                <a:gd name="T23" fmla="*/ 101 h 108"/>
                <a:gd name="T24" fmla="*/ 25 w 41"/>
                <a:gd name="T25" fmla="*/ 104 h 108"/>
                <a:gd name="T26" fmla="*/ 26 w 41"/>
                <a:gd name="T27" fmla="*/ 108 h 108"/>
                <a:gd name="T28" fmla="*/ 28 w 41"/>
                <a:gd name="T29" fmla="*/ 108 h 108"/>
                <a:gd name="T30" fmla="*/ 30 w 41"/>
                <a:gd name="T31" fmla="*/ 106 h 108"/>
                <a:gd name="T32" fmla="*/ 30 w 41"/>
                <a:gd name="T33" fmla="*/ 103 h 108"/>
                <a:gd name="T34" fmla="*/ 30 w 41"/>
                <a:gd name="T35" fmla="*/ 97 h 108"/>
                <a:gd name="T36" fmla="*/ 30 w 41"/>
                <a:gd name="T37" fmla="*/ 90 h 108"/>
                <a:gd name="T38" fmla="*/ 33 w 41"/>
                <a:gd name="T39" fmla="*/ 84 h 108"/>
                <a:gd name="T40" fmla="*/ 37 w 41"/>
                <a:gd name="T41" fmla="*/ 75 h 108"/>
                <a:gd name="T42" fmla="*/ 40 w 41"/>
                <a:gd name="T43" fmla="*/ 65 h 108"/>
                <a:gd name="T44" fmla="*/ 40 w 41"/>
                <a:gd name="T45" fmla="*/ 54 h 108"/>
                <a:gd name="T46" fmla="*/ 40 w 41"/>
                <a:gd name="T47" fmla="*/ 44 h 108"/>
                <a:gd name="T48" fmla="*/ 40 w 41"/>
                <a:gd name="T49" fmla="*/ 41 h 108"/>
                <a:gd name="T50" fmla="*/ 40 w 41"/>
                <a:gd name="T51" fmla="*/ 37 h 108"/>
                <a:gd name="T52" fmla="*/ 41 w 41"/>
                <a:gd name="T53" fmla="*/ 33 h 108"/>
                <a:gd name="T54" fmla="*/ 41 w 41"/>
                <a:gd name="T55" fmla="*/ 31 h 108"/>
                <a:gd name="T56" fmla="*/ 41 w 41"/>
                <a:gd name="T57" fmla="*/ 22 h 108"/>
                <a:gd name="T58" fmla="*/ 40 w 41"/>
                <a:gd name="T59" fmla="*/ 14 h 108"/>
                <a:gd name="T60" fmla="*/ 41 w 41"/>
                <a:gd name="T61" fmla="*/ 10 h 108"/>
                <a:gd name="T62" fmla="*/ 41 w 41"/>
                <a:gd name="T63" fmla="*/ 7 h 108"/>
                <a:gd name="T64" fmla="*/ 40 w 41"/>
                <a:gd name="T65" fmla="*/ 6 h 108"/>
                <a:gd name="T66" fmla="*/ 38 w 41"/>
                <a:gd name="T67" fmla="*/ 4 h 108"/>
                <a:gd name="T68" fmla="*/ 35 w 41"/>
                <a:gd name="T69" fmla="*/ 1 h 108"/>
                <a:gd name="T70" fmla="*/ 31 w 41"/>
                <a:gd name="T71" fmla="*/ 0 h 108"/>
                <a:gd name="T72" fmla="*/ 27 w 41"/>
                <a:gd name="T73" fmla="*/ 0 h 108"/>
                <a:gd name="T74" fmla="*/ 21 w 41"/>
                <a:gd name="T75" fmla="*/ 4 h 108"/>
                <a:gd name="T76" fmla="*/ 17 w 41"/>
                <a:gd name="T77" fmla="*/ 6 h 108"/>
                <a:gd name="T78" fmla="*/ 15 w 41"/>
                <a:gd name="T79" fmla="*/ 9 h 108"/>
                <a:gd name="T80" fmla="*/ 14 w 41"/>
                <a:gd name="T81" fmla="*/ 15 h 108"/>
                <a:gd name="T82" fmla="*/ 12 w 41"/>
                <a:gd name="T83" fmla="*/ 18 h 108"/>
                <a:gd name="T84" fmla="*/ 10 w 41"/>
                <a:gd name="T85" fmla="*/ 21 h 108"/>
                <a:gd name="T86" fmla="*/ 8 w 41"/>
                <a:gd name="T87" fmla="*/ 28 h 108"/>
                <a:gd name="T88" fmla="*/ 5 w 41"/>
                <a:gd name="T89" fmla="*/ 36 h 108"/>
                <a:gd name="T90" fmla="*/ 1 w 41"/>
                <a:gd name="T91" fmla="*/ 45 h 108"/>
                <a:gd name="T92" fmla="*/ 0 w 41"/>
                <a:gd name="T93" fmla="*/ 52 h 108"/>
                <a:gd name="T94" fmla="*/ 0 w 41"/>
                <a:gd name="T95" fmla="*/ 5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1" h="108">
                  <a:moveTo>
                    <a:pt x="0" y="57"/>
                  </a:moveTo>
                  <a:lnTo>
                    <a:pt x="1" y="61"/>
                  </a:lnTo>
                  <a:lnTo>
                    <a:pt x="1" y="65"/>
                  </a:lnTo>
                  <a:lnTo>
                    <a:pt x="0" y="69"/>
                  </a:lnTo>
                  <a:lnTo>
                    <a:pt x="1" y="71"/>
                  </a:lnTo>
                  <a:lnTo>
                    <a:pt x="6" y="79"/>
                  </a:lnTo>
                  <a:lnTo>
                    <a:pt x="9" y="86"/>
                  </a:lnTo>
                  <a:lnTo>
                    <a:pt x="12" y="90"/>
                  </a:lnTo>
                  <a:lnTo>
                    <a:pt x="15" y="92"/>
                  </a:lnTo>
                  <a:lnTo>
                    <a:pt x="19" y="95"/>
                  </a:lnTo>
                  <a:lnTo>
                    <a:pt x="21" y="98"/>
                  </a:lnTo>
                  <a:lnTo>
                    <a:pt x="22" y="101"/>
                  </a:lnTo>
                  <a:lnTo>
                    <a:pt x="25" y="104"/>
                  </a:lnTo>
                  <a:lnTo>
                    <a:pt x="26" y="108"/>
                  </a:lnTo>
                  <a:lnTo>
                    <a:pt x="28" y="108"/>
                  </a:lnTo>
                  <a:lnTo>
                    <a:pt x="30" y="106"/>
                  </a:lnTo>
                  <a:lnTo>
                    <a:pt x="30" y="103"/>
                  </a:lnTo>
                  <a:lnTo>
                    <a:pt x="30" y="97"/>
                  </a:lnTo>
                  <a:lnTo>
                    <a:pt x="30" y="90"/>
                  </a:lnTo>
                  <a:lnTo>
                    <a:pt x="33" y="84"/>
                  </a:lnTo>
                  <a:lnTo>
                    <a:pt x="37" y="75"/>
                  </a:lnTo>
                  <a:lnTo>
                    <a:pt x="40" y="65"/>
                  </a:lnTo>
                  <a:lnTo>
                    <a:pt x="40" y="54"/>
                  </a:lnTo>
                  <a:lnTo>
                    <a:pt x="40" y="44"/>
                  </a:lnTo>
                  <a:lnTo>
                    <a:pt x="40" y="41"/>
                  </a:lnTo>
                  <a:lnTo>
                    <a:pt x="40" y="37"/>
                  </a:lnTo>
                  <a:lnTo>
                    <a:pt x="41" y="33"/>
                  </a:lnTo>
                  <a:lnTo>
                    <a:pt x="41" y="31"/>
                  </a:lnTo>
                  <a:lnTo>
                    <a:pt x="41" y="22"/>
                  </a:lnTo>
                  <a:lnTo>
                    <a:pt x="40" y="14"/>
                  </a:lnTo>
                  <a:lnTo>
                    <a:pt x="41" y="10"/>
                  </a:lnTo>
                  <a:lnTo>
                    <a:pt x="41" y="7"/>
                  </a:lnTo>
                  <a:lnTo>
                    <a:pt x="40" y="6"/>
                  </a:lnTo>
                  <a:lnTo>
                    <a:pt x="38" y="4"/>
                  </a:lnTo>
                  <a:lnTo>
                    <a:pt x="35" y="1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1" y="4"/>
                  </a:lnTo>
                  <a:lnTo>
                    <a:pt x="17" y="6"/>
                  </a:lnTo>
                  <a:lnTo>
                    <a:pt x="15" y="9"/>
                  </a:lnTo>
                  <a:lnTo>
                    <a:pt x="14" y="15"/>
                  </a:lnTo>
                  <a:lnTo>
                    <a:pt x="12" y="18"/>
                  </a:lnTo>
                  <a:lnTo>
                    <a:pt x="10" y="21"/>
                  </a:lnTo>
                  <a:lnTo>
                    <a:pt x="8" y="28"/>
                  </a:lnTo>
                  <a:lnTo>
                    <a:pt x="5" y="36"/>
                  </a:lnTo>
                  <a:lnTo>
                    <a:pt x="1" y="45"/>
                  </a:lnTo>
                  <a:lnTo>
                    <a:pt x="0" y="52"/>
                  </a:lnTo>
                  <a:lnTo>
                    <a:pt x="0" y="57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9" name="Freeform 283">
              <a:extLst>
                <a:ext uri="{FF2B5EF4-FFF2-40B4-BE49-F238E27FC236}">
                  <a16:creationId xmlns:a16="http://schemas.microsoft.com/office/drawing/2014/main" id="{E233E8C4-79EA-4131-AD57-C914388ECDEC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5869" y="3271868"/>
              <a:ext cx="394177" cy="314077"/>
            </a:xfrm>
            <a:custGeom>
              <a:avLst/>
              <a:gdLst>
                <a:gd name="T0" fmla="*/ 6 w 374"/>
                <a:gd name="T1" fmla="*/ 133 h 297"/>
                <a:gd name="T2" fmla="*/ 11 w 374"/>
                <a:gd name="T3" fmla="*/ 110 h 297"/>
                <a:gd name="T4" fmla="*/ 13 w 374"/>
                <a:gd name="T5" fmla="*/ 94 h 297"/>
                <a:gd name="T6" fmla="*/ 29 w 374"/>
                <a:gd name="T7" fmla="*/ 99 h 297"/>
                <a:gd name="T8" fmla="*/ 50 w 374"/>
                <a:gd name="T9" fmla="*/ 104 h 297"/>
                <a:gd name="T10" fmla="*/ 64 w 374"/>
                <a:gd name="T11" fmla="*/ 93 h 297"/>
                <a:gd name="T12" fmla="*/ 79 w 374"/>
                <a:gd name="T13" fmla="*/ 82 h 297"/>
                <a:gd name="T14" fmla="*/ 99 w 374"/>
                <a:gd name="T15" fmla="*/ 47 h 297"/>
                <a:gd name="T16" fmla="*/ 118 w 374"/>
                <a:gd name="T17" fmla="*/ 39 h 297"/>
                <a:gd name="T18" fmla="*/ 128 w 374"/>
                <a:gd name="T19" fmla="*/ 32 h 297"/>
                <a:gd name="T20" fmla="*/ 159 w 374"/>
                <a:gd name="T21" fmla="*/ 37 h 297"/>
                <a:gd name="T22" fmla="*/ 179 w 374"/>
                <a:gd name="T23" fmla="*/ 42 h 297"/>
                <a:gd name="T24" fmla="*/ 191 w 374"/>
                <a:gd name="T25" fmla="*/ 48 h 297"/>
                <a:gd name="T26" fmla="*/ 204 w 374"/>
                <a:gd name="T27" fmla="*/ 39 h 297"/>
                <a:gd name="T28" fmla="*/ 213 w 374"/>
                <a:gd name="T29" fmla="*/ 38 h 297"/>
                <a:gd name="T30" fmla="*/ 223 w 374"/>
                <a:gd name="T31" fmla="*/ 34 h 297"/>
                <a:gd name="T32" fmla="*/ 243 w 374"/>
                <a:gd name="T33" fmla="*/ 29 h 297"/>
                <a:gd name="T34" fmla="*/ 243 w 374"/>
                <a:gd name="T35" fmla="*/ 13 h 297"/>
                <a:gd name="T36" fmla="*/ 268 w 374"/>
                <a:gd name="T37" fmla="*/ 7 h 297"/>
                <a:gd name="T38" fmla="*/ 275 w 374"/>
                <a:gd name="T39" fmla="*/ 17 h 297"/>
                <a:gd name="T40" fmla="*/ 279 w 374"/>
                <a:gd name="T41" fmla="*/ 35 h 297"/>
                <a:gd name="T42" fmla="*/ 292 w 374"/>
                <a:gd name="T43" fmla="*/ 58 h 297"/>
                <a:gd name="T44" fmla="*/ 315 w 374"/>
                <a:gd name="T45" fmla="*/ 45 h 297"/>
                <a:gd name="T46" fmla="*/ 341 w 374"/>
                <a:gd name="T47" fmla="*/ 35 h 297"/>
                <a:gd name="T48" fmla="*/ 357 w 374"/>
                <a:gd name="T49" fmla="*/ 34 h 297"/>
                <a:gd name="T50" fmla="*/ 369 w 374"/>
                <a:gd name="T51" fmla="*/ 40 h 297"/>
                <a:gd name="T52" fmla="*/ 367 w 374"/>
                <a:gd name="T53" fmla="*/ 47 h 297"/>
                <a:gd name="T54" fmla="*/ 343 w 374"/>
                <a:gd name="T55" fmla="*/ 50 h 297"/>
                <a:gd name="T56" fmla="*/ 302 w 374"/>
                <a:gd name="T57" fmla="*/ 59 h 297"/>
                <a:gd name="T58" fmla="*/ 291 w 374"/>
                <a:gd name="T59" fmla="*/ 66 h 297"/>
                <a:gd name="T60" fmla="*/ 288 w 374"/>
                <a:gd name="T61" fmla="*/ 83 h 297"/>
                <a:gd name="T62" fmla="*/ 300 w 374"/>
                <a:gd name="T63" fmla="*/ 108 h 297"/>
                <a:gd name="T64" fmla="*/ 288 w 374"/>
                <a:gd name="T65" fmla="*/ 125 h 297"/>
                <a:gd name="T66" fmla="*/ 293 w 374"/>
                <a:gd name="T67" fmla="*/ 137 h 297"/>
                <a:gd name="T68" fmla="*/ 271 w 374"/>
                <a:gd name="T69" fmla="*/ 147 h 297"/>
                <a:gd name="T70" fmla="*/ 260 w 374"/>
                <a:gd name="T71" fmla="*/ 150 h 297"/>
                <a:gd name="T72" fmla="*/ 275 w 374"/>
                <a:gd name="T73" fmla="*/ 167 h 297"/>
                <a:gd name="T74" fmla="*/ 260 w 374"/>
                <a:gd name="T75" fmla="*/ 176 h 297"/>
                <a:gd name="T76" fmla="*/ 252 w 374"/>
                <a:gd name="T77" fmla="*/ 195 h 297"/>
                <a:gd name="T78" fmla="*/ 252 w 374"/>
                <a:gd name="T79" fmla="*/ 221 h 297"/>
                <a:gd name="T80" fmla="*/ 234 w 374"/>
                <a:gd name="T81" fmla="*/ 219 h 297"/>
                <a:gd name="T82" fmla="*/ 223 w 374"/>
                <a:gd name="T83" fmla="*/ 221 h 297"/>
                <a:gd name="T84" fmla="*/ 213 w 374"/>
                <a:gd name="T85" fmla="*/ 232 h 297"/>
                <a:gd name="T86" fmla="*/ 196 w 374"/>
                <a:gd name="T87" fmla="*/ 236 h 297"/>
                <a:gd name="T88" fmla="*/ 182 w 374"/>
                <a:gd name="T89" fmla="*/ 247 h 297"/>
                <a:gd name="T90" fmla="*/ 181 w 374"/>
                <a:gd name="T91" fmla="*/ 271 h 297"/>
                <a:gd name="T92" fmla="*/ 179 w 374"/>
                <a:gd name="T93" fmla="*/ 285 h 297"/>
                <a:gd name="T94" fmla="*/ 147 w 374"/>
                <a:gd name="T95" fmla="*/ 294 h 297"/>
                <a:gd name="T96" fmla="*/ 118 w 374"/>
                <a:gd name="T97" fmla="*/ 297 h 297"/>
                <a:gd name="T98" fmla="*/ 57 w 374"/>
                <a:gd name="T99" fmla="*/ 292 h 297"/>
                <a:gd name="T100" fmla="*/ 48 w 374"/>
                <a:gd name="T101" fmla="*/ 257 h 297"/>
                <a:gd name="T102" fmla="*/ 36 w 374"/>
                <a:gd name="T103" fmla="*/ 231 h 297"/>
                <a:gd name="T104" fmla="*/ 16 w 374"/>
                <a:gd name="T105" fmla="*/ 200 h 297"/>
                <a:gd name="T106" fmla="*/ 13 w 374"/>
                <a:gd name="T107" fmla="*/ 165 h 297"/>
                <a:gd name="T108" fmla="*/ 0 w 374"/>
                <a:gd name="T109" fmla="*/ 149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74" h="297">
                  <a:moveTo>
                    <a:pt x="0" y="145"/>
                  </a:moveTo>
                  <a:lnTo>
                    <a:pt x="0" y="142"/>
                  </a:lnTo>
                  <a:lnTo>
                    <a:pt x="0" y="140"/>
                  </a:lnTo>
                  <a:lnTo>
                    <a:pt x="4" y="136"/>
                  </a:lnTo>
                  <a:lnTo>
                    <a:pt x="6" y="135"/>
                  </a:lnTo>
                  <a:lnTo>
                    <a:pt x="6" y="133"/>
                  </a:lnTo>
                  <a:lnTo>
                    <a:pt x="4" y="129"/>
                  </a:lnTo>
                  <a:lnTo>
                    <a:pt x="8" y="126"/>
                  </a:lnTo>
                  <a:lnTo>
                    <a:pt x="10" y="123"/>
                  </a:lnTo>
                  <a:lnTo>
                    <a:pt x="11" y="118"/>
                  </a:lnTo>
                  <a:lnTo>
                    <a:pt x="11" y="113"/>
                  </a:lnTo>
                  <a:lnTo>
                    <a:pt x="11" y="110"/>
                  </a:lnTo>
                  <a:lnTo>
                    <a:pt x="10" y="108"/>
                  </a:lnTo>
                  <a:lnTo>
                    <a:pt x="10" y="107"/>
                  </a:lnTo>
                  <a:lnTo>
                    <a:pt x="10" y="104"/>
                  </a:lnTo>
                  <a:lnTo>
                    <a:pt x="11" y="99"/>
                  </a:lnTo>
                  <a:lnTo>
                    <a:pt x="11" y="96"/>
                  </a:lnTo>
                  <a:lnTo>
                    <a:pt x="13" y="94"/>
                  </a:lnTo>
                  <a:lnTo>
                    <a:pt x="14" y="93"/>
                  </a:lnTo>
                  <a:lnTo>
                    <a:pt x="18" y="94"/>
                  </a:lnTo>
                  <a:lnTo>
                    <a:pt x="21" y="97"/>
                  </a:lnTo>
                  <a:lnTo>
                    <a:pt x="24" y="98"/>
                  </a:lnTo>
                  <a:lnTo>
                    <a:pt x="26" y="99"/>
                  </a:lnTo>
                  <a:lnTo>
                    <a:pt x="29" y="99"/>
                  </a:lnTo>
                  <a:lnTo>
                    <a:pt x="31" y="99"/>
                  </a:lnTo>
                  <a:lnTo>
                    <a:pt x="35" y="99"/>
                  </a:lnTo>
                  <a:lnTo>
                    <a:pt x="40" y="103"/>
                  </a:lnTo>
                  <a:lnTo>
                    <a:pt x="43" y="109"/>
                  </a:lnTo>
                  <a:lnTo>
                    <a:pt x="46" y="106"/>
                  </a:lnTo>
                  <a:lnTo>
                    <a:pt x="50" y="104"/>
                  </a:lnTo>
                  <a:lnTo>
                    <a:pt x="53" y="104"/>
                  </a:lnTo>
                  <a:lnTo>
                    <a:pt x="57" y="102"/>
                  </a:lnTo>
                  <a:lnTo>
                    <a:pt x="61" y="99"/>
                  </a:lnTo>
                  <a:lnTo>
                    <a:pt x="63" y="96"/>
                  </a:lnTo>
                  <a:lnTo>
                    <a:pt x="64" y="94"/>
                  </a:lnTo>
                  <a:lnTo>
                    <a:pt x="64" y="93"/>
                  </a:lnTo>
                  <a:lnTo>
                    <a:pt x="64" y="92"/>
                  </a:lnTo>
                  <a:lnTo>
                    <a:pt x="66" y="91"/>
                  </a:lnTo>
                  <a:lnTo>
                    <a:pt x="63" y="88"/>
                  </a:lnTo>
                  <a:lnTo>
                    <a:pt x="62" y="85"/>
                  </a:lnTo>
                  <a:lnTo>
                    <a:pt x="70" y="85"/>
                  </a:lnTo>
                  <a:lnTo>
                    <a:pt x="79" y="82"/>
                  </a:lnTo>
                  <a:lnTo>
                    <a:pt x="88" y="77"/>
                  </a:lnTo>
                  <a:lnTo>
                    <a:pt x="95" y="72"/>
                  </a:lnTo>
                  <a:lnTo>
                    <a:pt x="97" y="69"/>
                  </a:lnTo>
                  <a:lnTo>
                    <a:pt x="99" y="65"/>
                  </a:lnTo>
                  <a:lnTo>
                    <a:pt x="99" y="56"/>
                  </a:lnTo>
                  <a:lnTo>
                    <a:pt x="99" y="47"/>
                  </a:lnTo>
                  <a:lnTo>
                    <a:pt x="100" y="43"/>
                  </a:lnTo>
                  <a:lnTo>
                    <a:pt x="104" y="40"/>
                  </a:lnTo>
                  <a:lnTo>
                    <a:pt x="107" y="40"/>
                  </a:lnTo>
                  <a:lnTo>
                    <a:pt x="111" y="40"/>
                  </a:lnTo>
                  <a:lnTo>
                    <a:pt x="115" y="40"/>
                  </a:lnTo>
                  <a:lnTo>
                    <a:pt x="118" y="39"/>
                  </a:lnTo>
                  <a:lnTo>
                    <a:pt x="120" y="37"/>
                  </a:lnTo>
                  <a:lnTo>
                    <a:pt x="120" y="34"/>
                  </a:lnTo>
                  <a:lnTo>
                    <a:pt x="120" y="32"/>
                  </a:lnTo>
                  <a:lnTo>
                    <a:pt x="122" y="29"/>
                  </a:lnTo>
                  <a:lnTo>
                    <a:pt x="126" y="31"/>
                  </a:lnTo>
                  <a:lnTo>
                    <a:pt x="128" y="32"/>
                  </a:lnTo>
                  <a:lnTo>
                    <a:pt x="133" y="35"/>
                  </a:lnTo>
                  <a:lnTo>
                    <a:pt x="137" y="37"/>
                  </a:lnTo>
                  <a:lnTo>
                    <a:pt x="141" y="37"/>
                  </a:lnTo>
                  <a:lnTo>
                    <a:pt x="148" y="35"/>
                  </a:lnTo>
                  <a:lnTo>
                    <a:pt x="155" y="35"/>
                  </a:lnTo>
                  <a:lnTo>
                    <a:pt x="159" y="37"/>
                  </a:lnTo>
                  <a:lnTo>
                    <a:pt x="163" y="39"/>
                  </a:lnTo>
                  <a:lnTo>
                    <a:pt x="166" y="40"/>
                  </a:lnTo>
                  <a:lnTo>
                    <a:pt x="170" y="40"/>
                  </a:lnTo>
                  <a:lnTo>
                    <a:pt x="174" y="40"/>
                  </a:lnTo>
                  <a:lnTo>
                    <a:pt x="177" y="40"/>
                  </a:lnTo>
                  <a:lnTo>
                    <a:pt x="179" y="42"/>
                  </a:lnTo>
                  <a:lnTo>
                    <a:pt x="181" y="43"/>
                  </a:lnTo>
                  <a:lnTo>
                    <a:pt x="184" y="45"/>
                  </a:lnTo>
                  <a:lnTo>
                    <a:pt x="185" y="48"/>
                  </a:lnTo>
                  <a:lnTo>
                    <a:pt x="187" y="49"/>
                  </a:lnTo>
                  <a:lnTo>
                    <a:pt x="190" y="49"/>
                  </a:lnTo>
                  <a:lnTo>
                    <a:pt x="191" y="48"/>
                  </a:lnTo>
                  <a:lnTo>
                    <a:pt x="193" y="48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1" y="42"/>
                  </a:lnTo>
                  <a:lnTo>
                    <a:pt x="203" y="40"/>
                  </a:lnTo>
                  <a:lnTo>
                    <a:pt x="204" y="39"/>
                  </a:lnTo>
                  <a:lnTo>
                    <a:pt x="206" y="39"/>
                  </a:lnTo>
                  <a:lnTo>
                    <a:pt x="207" y="39"/>
                  </a:lnTo>
                  <a:lnTo>
                    <a:pt x="208" y="39"/>
                  </a:lnTo>
                  <a:lnTo>
                    <a:pt x="209" y="38"/>
                  </a:lnTo>
                  <a:lnTo>
                    <a:pt x="211" y="37"/>
                  </a:lnTo>
                  <a:lnTo>
                    <a:pt x="213" y="38"/>
                  </a:lnTo>
                  <a:lnTo>
                    <a:pt x="216" y="40"/>
                  </a:lnTo>
                  <a:lnTo>
                    <a:pt x="218" y="43"/>
                  </a:lnTo>
                  <a:lnTo>
                    <a:pt x="220" y="44"/>
                  </a:lnTo>
                  <a:lnTo>
                    <a:pt x="223" y="42"/>
                  </a:lnTo>
                  <a:lnTo>
                    <a:pt x="223" y="38"/>
                  </a:lnTo>
                  <a:lnTo>
                    <a:pt x="223" y="34"/>
                  </a:lnTo>
                  <a:lnTo>
                    <a:pt x="223" y="31"/>
                  </a:lnTo>
                  <a:lnTo>
                    <a:pt x="225" y="29"/>
                  </a:lnTo>
                  <a:lnTo>
                    <a:pt x="228" y="28"/>
                  </a:lnTo>
                  <a:lnTo>
                    <a:pt x="234" y="28"/>
                  </a:lnTo>
                  <a:lnTo>
                    <a:pt x="239" y="29"/>
                  </a:lnTo>
                  <a:lnTo>
                    <a:pt x="243" y="29"/>
                  </a:lnTo>
                  <a:lnTo>
                    <a:pt x="244" y="26"/>
                  </a:lnTo>
                  <a:lnTo>
                    <a:pt x="244" y="24"/>
                  </a:lnTo>
                  <a:lnTo>
                    <a:pt x="241" y="22"/>
                  </a:lnTo>
                  <a:lnTo>
                    <a:pt x="240" y="19"/>
                  </a:lnTo>
                  <a:lnTo>
                    <a:pt x="240" y="17"/>
                  </a:lnTo>
                  <a:lnTo>
                    <a:pt x="243" y="13"/>
                  </a:lnTo>
                  <a:lnTo>
                    <a:pt x="244" y="11"/>
                  </a:lnTo>
                  <a:lnTo>
                    <a:pt x="246" y="8"/>
                  </a:lnTo>
                  <a:lnTo>
                    <a:pt x="250" y="2"/>
                  </a:lnTo>
                  <a:lnTo>
                    <a:pt x="256" y="0"/>
                  </a:lnTo>
                  <a:lnTo>
                    <a:pt x="263" y="2"/>
                  </a:lnTo>
                  <a:lnTo>
                    <a:pt x="268" y="7"/>
                  </a:lnTo>
                  <a:lnTo>
                    <a:pt x="268" y="10"/>
                  </a:lnTo>
                  <a:lnTo>
                    <a:pt x="268" y="13"/>
                  </a:lnTo>
                  <a:lnTo>
                    <a:pt x="268" y="16"/>
                  </a:lnTo>
                  <a:lnTo>
                    <a:pt x="270" y="17"/>
                  </a:lnTo>
                  <a:lnTo>
                    <a:pt x="272" y="17"/>
                  </a:lnTo>
                  <a:lnTo>
                    <a:pt x="275" y="17"/>
                  </a:lnTo>
                  <a:lnTo>
                    <a:pt x="277" y="17"/>
                  </a:lnTo>
                  <a:lnTo>
                    <a:pt x="278" y="18"/>
                  </a:lnTo>
                  <a:lnTo>
                    <a:pt x="279" y="22"/>
                  </a:lnTo>
                  <a:lnTo>
                    <a:pt x="279" y="27"/>
                  </a:lnTo>
                  <a:lnTo>
                    <a:pt x="279" y="32"/>
                  </a:lnTo>
                  <a:lnTo>
                    <a:pt x="279" y="35"/>
                  </a:lnTo>
                  <a:lnTo>
                    <a:pt x="279" y="43"/>
                  </a:lnTo>
                  <a:lnTo>
                    <a:pt x="282" y="49"/>
                  </a:lnTo>
                  <a:lnTo>
                    <a:pt x="284" y="54"/>
                  </a:lnTo>
                  <a:lnTo>
                    <a:pt x="287" y="56"/>
                  </a:lnTo>
                  <a:lnTo>
                    <a:pt x="289" y="58"/>
                  </a:lnTo>
                  <a:lnTo>
                    <a:pt x="292" y="58"/>
                  </a:lnTo>
                  <a:lnTo>
                    <a:pt x="298" y="54"/>
                  </a:lnTo>
                  <a:lnTo>
                    <a:pt x="303" y="49"/>
                  </a:lnTo>
                  <a:lnTo>
                    <a:pt x="307" y="48"/>
                  </a:lnTo>
                  <a:lnTo>
                    <a:pt x="310" y="48"/>
                  </a:lnTo>
                  <a:lnTo>
                    <a:pt x="313" y="48"/>
                  </a:lnTo>
                  <a:lnTo>
                    <a:pt x="315" y="45"/>
                  </a:lnTo>
                  <a:lnTo>
                    <a:pt x="319" y="38"/>
                  </a:lnTo>
                  <a:lnTo>
                    <a:pt x="326" y="33"/>
                  </a:lnTo>
                  <a:lnTo>
                    <a:pt x="331" y="33"/>
                  </a:lnTo>
                  <a:lnTo>
                    <a:pt x="337" y="33"/>
                  </a:lnTo>
                  <a:lnTo>
                    <a:pt x="340" y="34"/>
                  </a:lnTo>
                  <a:lnTo>
                    <a:pt x="341" y="35"/>
                  </a:lnTo>
                  <a:lnTo>
                    <a:pt x="341" y="37"/>
                  </a:lnTo>
                  <a:lnTo>
                    <a:pt x="340" y="39"/>
                  </a:lnTo>
                  <a:lnTo>
                    <a:pt x="343" y="39"/>
                  </a:lnTo>
                  <a:lnTo>
                    <a:pt x="348" y="38"/>
                  </a:lnTo>
                  <a:lnTo>
                    <a:pt x="353" y="37"/>
                  </a:lnTo>
                  <a:lnTo>
                    <a:pt x="357" y="34"/>
                  </a:lnTo>
                  <a:lnTo>
                    <a:pt x="361" y="34"/>
                  </a:lnTo>
                  <a:lnTo>
                    <a:pt x="366" y="34"/>
                  </a:lnTo>
                  <a:lnTo>
                    <a:pt x="370" y="37"/>
                  </a:lnTo>
                  <a:lnTo>
                    <a:pt x="374" y="39"/>
                  </a:lnTo>
                  <a:lnTo>
                    <a:pt x="372" y="40"/>
                  </a:lnTo>
                  <a:lnTo>
                    <a:pt x="369" y="40"/>
                  </a:lnTo>
                  <a:lnTo>
                    <a:pt x="367" y="39"/>
                  </a:lnTo>
                  <a:lnTo>
                    <a:pt x="364" y="40"/>
                  </a:lnTo>
                  <a:lnTo>
                    <a:pt x="362" y="42"/>
                  </a:lnTo>
                  <a:lnTo>
                    <a:pt x="362" y="43"/>
                  </a:lnTo>
                  <a:lnTo>
                    <a:pt x="364" y="45"/>
                  </a:lnTo>
                  <a:lnTo>
                    <a:pt x="367" y="47"/>
                  </a:lnTo>
                  <a:lnTo>
                    <a:pt x="361" y="49"/>
                  </a:lnTo>
                  <a:lnTo>
                    <a:pt x="356" y="51"/>
                  </a:lnTo>
                  <a:lnTo>
                    <a:pt x="353" y="53"/>
                  </a:lnTo>
                  <a:lnTo>
                    <a:pt x="350" y="53"/>
                  </a:lnTo>
                  <a:lnTo>
                    <a:pt x="347" y="51"/>
                  </a:lnTo>
                  <a:lnTo>
                    <a:pt x="343" y="50"/>
                  </a:lnTo>
                  <a:lnTo>
                    <a:pt x="337" y="51"/>
                  </a:lnTo>
                  <a:lnTo>
                    <a:pt x="330" y="53"/>
                  </a:lnTo>
                  <a:lnTo>
                    <a:pt x="316" y="53"/>
                  </a:lnTo>
                  <a:lnTo>
                    <a:pt x="310" y="55"/>
                  </a:lnTo>
                  <a:lnTo>
                    <a:pt x="304" y="58"/>
                  </a:lnTo>
                  <a:lnTo>
                    <a:pt x="302" y="59"/>
                  </a:lnTo>
                  <a:lnTo>
                    <a:pt x="299" y="61"/>
                  </a:lnTo>
                  <a:lnTo>
                    <a:pt x="298" y="64"/>
                  </a:lnTo>
                  <a:lnTo>
                    <a:pt x="295" y="66"/>
                  </a:lnTo>
                  <a:lnTo>
                    <a:pt x="294" y="66"/>
                  </a:lnTo>
                  <a:lnTo>
                    <a:pt x="292" y="66"/>
                  </a:lnTo>
                  <a:lnTo>
                    <a:pt x="291" y="66"/>
                  </a:lnTo>
                  <a:lnTo>
                    <a:pt x="288" y="69"/>
                  </a:lnTo>
                  <a:lnTo>
                    <a:pt x="284" y="74"/>
                  </a:lnTo>
                  <a:lnTo>
                    <a:pt x="282" y="77"/>
                  </a:lnTo>
                  <a:lnTo>
                    <a:pt x="282" y="80"/>
                  </a:lnTo>
                  <a:lnTo>
                    <a:pt x="283" y="81"/>
                  </a:lnTo>
                  <a:lnTo>
                    <a:pt x="288" y="83"/>
                  </a:lnTo>
                  <a:lnTo>
                    <a:pt x="293" y="91"/>
                  </a:lnTo>
                  <a:lnTo>
                    <a:pt x="298" y="101"/>
                  </a:lnTo>
                  <a:lnTo>
                    <a:pt x="297" y="103"/>
                  </a:lnTo>
                  <a:lnTo>
                    <a:pt x="298" y="106"/>
                  </a:lnTo>
                  <a:lnTo>
                    <a:pt x="299" y="107"/>
                  </a:lnTo>
                  <a:lnTo>
                    <a:pt x="300" y="108"/>
                  </a:lnTo>
                  <a:lnTo>
                    <a:pt x="298" y="110"/>
                  </a:lnTo>
                  <a:lnTo>
                    <a:pt x="297" y="114"/>
                  </a:lnTo>
                  <a:lnTo>
                    <a:pt x="295" y="118"/>
                  </a:lnTo>
                  <a:lnTo>
                    <a:pt x="293" y="120"/>
                  </a:lnTo>
                  <a:lnTo>
                    <a:pt x="289" y="123"/>
                  </a:lnTo>
                  <a:lnTo>
                    <a:pt x="288" y="125"/>
                  </a:lnTo>
                  <a:lnTo>
                    <a:pt x="288" y="128"/>
                  </a:lnTo>
                  <a:lnTo>
                    <a:pt x="287" y="128"/>
                  </a:lnTo>
                  <a:lnTo>
                    <a:pt x="286" y="129"/>
                  </a:lnTo>
                  <a:lnTo>
                    <a:pt x="288" y="133"/>
                  </a:lnTo>
                  <a:lnTo>
                    <a:pt x="292" y="135"/>
                  </a:lnTo>
                  <a:lnTo>
                    <a:pt x="293" y="137"/>
                  </a:lnTo>
                  <a:lnTo>
                    <a:pt x="293" y="139"/>
                  </a:lnTo>
                  <a:lnTo>
                    <a:pt x="292" y="144"/>
                  </a:lnTo>
                  <a:lnTo>
                    <a:pt x="287" y="146"/>
                  </a:lnTo>
                  <a:lnTo>
                    <a:pt x="283" y="147"/>
                  </a:lnTo>
                  <a:lnTo>
                    <a:pt x="277" y="149"/>
                  </a:lnTo>
                  <a:lnTo>
                    <a:pt x="271" y="147"/>
                  </a:lnTo>
                  <a:lnTo>
                    <a:pt x="268" y="146"/>
                  </a:lnTo>
                  <a:lnTo>
                    <a:pt x="266" y="146"/>
                  </a:lnTo>
                  <a:lnTo>
                    <a:pt x="262" y="146"/>
                  </a:lnTo>
                  <a:lnTo>
                    <a:pt x="261" y="146"/>
                  </a:lnTo>
                  <a:lnTo>
                    <a:pt x="260" y="149"/>
                  </a:lnTo>
                  <a:lnTo>
                    <a:pt x="260" y="150"/>
                  </a:lnTo>
                  <a:lnTo>
                    <a:pt x="263" y="153"/>
                  </a:lnTo>
                  <a:lnTo>
                    <a:pt x="267" y="156"/>
                  </a:lnTo>
                  <a:lnTo>
                    <a:pt x="271" y="160"/>
                  </a:lnTo>
                  <a:lnTo>
                    <a:pt x="271" y="162"/>
                  </a:lnTo>
                  <a:lnTo>
                    <a:pt x="273" y="165"/>
                  </a:lnTo>
                  <a:lnTo>
                    <a:pt x="275" y="167"/>
                  </a:lnTo>
                  <a:lnTo>
                    <a:pt x="275" y="169"/>
                  </a:lnTo>
                  <a:lnTo>
                    <a:pt x="272" y="172"/>
                  </a:lnTo>
                  <a:lnTo>
                    <a:pt x="270" y="173"/>
                  </a:lnTo>
                  <a:lnTo>
                    <a:pt x="266" y="176"/>
                  </a:lnTo>
                  <a:lnTo>
                    <a:pt x="263" y="176"/>
                  </a:lnTo>
                  <a:lnTo>
                    <a:pt x="260" y="176"/>
                  </a:lnTo>
                  <a:lnTo>
                    <a:pt x="257" y="177"/>
                  </a:lnTo>
                  <a:lnTo>
                    <a:pt x="255" y="178"/>
                  </a:lnTo>
                  <a:lnTo>
                    <a:pt x="255" y="181"/>
                  </a:lnTo>
                  <a:lnTo>
                    <a:pt x="256" y="184"/>
                  </a:lnTo>
                  <a:lnTo>
                    <a:pt x="255" y="190"/>
                  </a:lnTo>
                  <a:lnTo>
                    <a:pt x="252" y="195"/>
                  </a:lnTo>
                  <a:lnTo>
                    <a:pt x="252" y="198"/>
                  </a:lnTo>
                  <a:lnTo>
                    <a:pt x="252" y="200"/>
                  </a:lnTo>
                  <a:lnTo>
                    <a:pt x="254" y="206"/>
                  </a:lnTo>
                  <a:lnTo>
                    <a:pt x="255" y="211"/>
                  </a:lnTo>
                  <a:lnTo>
                    <a:pt x="254" y="216"/>
                  </a:lnTo>
                  <a:lnTo>
                    <a:pt x="252" y="221"/>
                  </a:lnTo>
                  <a:lnTo>
                    <a:pt x="248" y="225"/>
                  </a:lnTo>
                  <a:lnTo>
                    <a:pt x="245" y="225"/>
                  </a:lnTo>
                  <a:lnTo>
                    <a:pt x="244" y="225"/>
                  </a:lnTo>
                  <a:lnTo>
                    <a:pt x="240" y="221"/>
                  </a:lnTo>
                  <a:lnTo>
                    <a:pt x="238" y="220"/>
                  </a:lnTo>
                  <a:lnTo>
                    <a:pt x="234" y="219"/>
                  </a:lnTo>
                  <a:lnTo>
                    <a:pt x="234" y="219"/>
                  </a:lnTo>
                  <a:lnTo>
                    <a:pt x="234" y="220"/>
                  </a:lnTo>
                  <a:lnTo>
                    <a:pt x="234" y="221"/>
                  </a:lnTo>
                  <a:lnTo>
                    <a:pt x="229" y="220"/>
                  </a:lnTo>
                  <a:lnTo>
                    <a:pt x="225" y="220"/>
                  </a:lnTo>
                  <a:lnTo>
                    <a:pt x="223" y="221"/>
                  </a:lnTo>
                  <a:lnTo>
                    <a:pt x="222" y="224"/>
                  </a:lnTo>
                  <a:lnTo>
                    <a:pt x="219" y="226"/>
                  </a:lnTo>
                  <a:lnTo>
                    <a:pt x="216" y="227"/>
                  </a:lnTo>
                  <a:lnTo>
                    <a:pt x="209" y="228"/>
                  </a:lnTo>
                  <a:lnTo>
                    <a:pt x="211" y="231"/>
                  </a:lnTo>
                  <a:lnTo>
                    <a:pt x="213" y="232"/>
                  </a:lnTo>
                  <a:lnTo>
                    <a:pt x="217" y="235"/>
                  </a:lnTo>
                  <a:lnTo>
                    <a:pt x="211" y="237"/>
                  </a:lnTo>
                  <a:lnTo>
                    <a:pt x="203" y="238"/>
                  </a:lnTo>
                  <a:lnTo>
                    <a:pt x="200" y="238"/>
                  </a:lnTo>
                  <a:lnTo>
                    <a:pt x="198" y="237"/>
                  </a:lnTo>
                  <a:lnTo>
                    <a:pt x="196" y="236"/>
                  </a:lnTo>
                  <a:lnTo>
                    <a:pt x="195" y="236"/>
                  </a:lnTo>
                  <a:lnTo>
                    <a:pt x="191" y="237"/>
                  </a:lnTo>
                  <a:lnTo>
                    <a:pt x="188" y="240"/>
                  </a:lnTo>
                  <a:lnTo>
                    <a:pt x="187" y="243"/>
                  </a:lnTo>
                  <a:lnTo>
                    <a:pt x="185" y="246"/>
                  </a:lnTo>
                  <a:lnTo>
                    <a:pt x="182" y="247"/>
                  </a:lnTo>
                  <a:lnTo>
                    <a:pt x="181" y="248"/>
                  </a:lnTo>
                  <a:lnTo>
                    <a:pt x="180" y="251"/>
                  </a:lnTo>
                  <a:lnTo>
                    <a:pt x="180" y="254"/>
                  </a:lnTo>
                  <a:lnTo>
                    <a:pt x="180" y="262"/>
                  </a:lnTo>
                  <a:lnTo>
                    <a:pt x="181" y="269"/>
                  </a:lnTo>
                  <a:lnTo>
                    <a:pt x="181" y="271"/>
                  </a:lnTo>
                  <a:lnTo>
                    <a:pt x="181" y="275"/>
                  </a:lnTo>
                  <a:lnTo>
                    <a:pt x="182" y="278"/>
                  </a:lnTo>
                  <a:lnTo>
                    <a:pt x="184" y="280"/>
                  </a:lnTo>
                  <a:lnTo>
                    <a:pt x="184" y="281"/>
                  </a:lnTo>
                  <a:lnTo>
                    <a:pt x="181" y="284"/>
                  </a:lnTo>
                  <a:lnTo>
                    <a:pt x="179" y="285"/>
                  </a:lnTo>
                  <a:lnTo>
                    <a:pt x="174" y="287"/>
                  </a:lnTo>
                  <a:lnTo>
                    <a:pt x="166" y="289"/>
                  </a:lnTo>
                  <a:lnTo>
                    <a:pt x="163" y="290"/>
                  </a:lnTo>
                  <a:lnTo>
                    <a:pt x="160" y="290"/>
                  </a:lnTo>
                  <a:lnTo>
                    <a:pt x="154" y="292"/>
                  </a:lnTo>
                  <a:lnTo>
                    <a:pt x="147" y="294"/>
                  </a:lnTo>
                  <a:lnTo>
                    <a:pt x="139" y="292"/>
                  </a:lnTo>
                  <a:lnTo>
                    <a:pt x="134" y="292"/>
                  </a:lnTo>
                  <a:lnTo>
                    <a:pt x="131" y="294"/>
                  </a:lnTo>
                  <a:lnTo>
                    <a:pt x="125" y="297"/>
                  </a:lnTo>
                  <a:lnTo>
                    <a:pt x="122" y="297"/>
                  </a:lnTo>
                  <a:lnTo>
                    <a:pt x="118" y="297"/>
                  </a:lnTo>
                  <a:lnTo>
                    <a:pt x="111" y="295"/>
                  </a:lnTo>
                  <a:lnTo>
                    <a:pt x="102" y="295"/>
                  </a:lnTo>
                  <a:lnTo>
                    <a:pt x="84" y="297"/>
                  </a:lnTo>
                  <a:lnTo>
                    <a:pt x="75" y="297"/>
                  </a:lnTo>
                  <a:lnTo>
                    <a:pt x="67" y="295"/>
                  </a:lnTo>
                  <a:lnTo>
                    <a:pt x="57" y="292"/>
                  </a:lnTo>
                  <a:lnTo>
                    <a:pt x="48" y="289"/>
                  </a:lnTo>
                  <a:lnTo>
                    <a:pt x="40" y="286"/>
                  </a:lnTo>
                  <a:lnTo>
                    <a:pt x="31" y="283"/>
                  </a:lnTo>
                  <a:lnTo>
                    <a:pt x="38" y="273"/>
                  </a:lnTo>
                  <a:lnTo>
                    <a:pt x="46" y="260"/>
                  </a:lnTo>
                  <a:lnTo>
                    <a:pt x="48" y="257"/>
                  </a:lnTo>
                  <a:lnTo>
                    <a:pt x="51" y="251"/>
                  </a:lnTo>
                  <a:lnTo>
                    <a:pt x="52" y="246"/>
                  </a:lnTo>
                  <a:lnTo>
                    <a:pt x="52" y="240"/>
                  </a:lnTo>
                  <a:lnTo>
                    <a:pt x="50" y="236"/>
                  </a:lnTo>
                  <a:lnTo>
                    <a:pt x="46" y="233"/>
                  </a:lnTo>
                  <a:lnTo>
                    <a:pt x="36" y="231"/>
                  </a:lnTo>
                  <a:lnTo>
                    <a:pt x="31" y="230"/>
                  </a:lnTo>
                  <a:lnTo>
                    <a:pt x="27" y="228"/>
                  </a:lnTo>
                  <a:lnTo>
                    <a:pt x="24" y="226"/>
                  </a:lnTo>
                  <a:lnTo>
                    <a:pt x="21" y="221"/>
                  </a:lnTo>
                  <a:lnTo>
                    <a:pt x="19" y="206"/>
                  </a:lnTo>
                  <a:lnTo>
                    <a:pt x="16" y="200"/>
                  </a:lnTo>
                  <a:lnTo>
                    <a:pt x="14" y="193"/>
                  </a:lnTo>
                  <a:lnTo>
                    <a:pt x="11" y="187"/>
                  </a:lnTo>
                  <a:lnTo>
                    <a:pt x="9" y="181"/>
                  </a:lnTo>
                  <a:lnTo>
                    <a:pt x="8" y="174"/>
                  </a:lnTo>
                  <a:lnTo>
                    <a:pt x="10" y="168"/>
                  </a:lnTo>
                  <a:lnTo>
                    <a:pt x="13" y="165"/>
                  </a:lnTo>
                  <a:lnTo>
                    <a:pt x="13" y="163"/>
                  </a:lnTo>
                  <a:lnTo>
                    <a:pt x="11" y="162"/>
                  </a:lnTo>
                  <a:lnTo>
                    <a:pt x="6" y="161"/>
                  </a:lnTo>
                  <a:lnTo>
                    <a:pt x="3" y="157"/>
                  </a:lnTo>
                  <a:lnTo>
                    <a:pt x="0" y="153"/>
                  </a:lnTo>
                  <a:lnTo>
                    <a:pt x="0" y="149"/>
                  </a:lnTo>
                  <a:lnTo>
                    <a:pt x="0" y="14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0" name="Freeform 284">
              <a:extLst>
                <a:ext uri="{FF2B5EF4-FFF2-40B4-BE49-F238E27FC236}">
                  <a16:creationId xmlns:a16="http://schemas.microsoft.com/office/drawing/2014/main" id="{177706E7-2AC0-4241-A555-95DAA132C40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8098" y="3796736"/>
              <a:ext cx="4216" cy="2109"/>
            </a:xfrm>
            <a:custGeom>
              <a:avLst/>
              <a:gdLst>
                <a:gd name="T0" fmla="*/ 3 w 5"/>
                <a:gd name="T1" fmla="*/ 2 h 3"/>
                <a:gd name="T2" fmla="*/ 0 w 5"/>
                <a:gd name="T3" fmla="*/ 0 h 3"/>
                <a:gd name="T4" fmla="*/ 5 w 5"/>
                <a:gd name="T5" fmla="*/ 3 h 3"/>
                <a:gd name="T6" fmla="*/ 3 w 5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3" y="2"/>
                  </a:moveTo>
                  <a:lnTo>
                    <a:pt x="0" y="0"/>
                  </a:lnTo>
                  <a:lnTo>
                    <a:pt x="5" y="3"/>
                  </a:lnTo>
                  <a:lnTo>
                    <a:pt x="3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1" name="Freeform 285">
              <a:extLst>
                <a:ext uri="{FF2B5EF4-FFF2-40B4-BE49-F238E27FC236}">
                  <a16:creationId xmlns:a16="http://schemas.microsoft.com/office/drawing/2014/main" id="{F1554F15-0AEB-49BF-B8EC-AC0C1D5F52F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2314" y="3813599"/>
              <a:ext cx="6324" cy="6324"/>
            </a:xfrm>
            <a:custGeom>
              <a:avLst/>
              <a:gdLst>
                <a:gd name="T0" fmla="*/ 0 w 6"/>
                <a:gd name="T1" fmla="*/ 1 h 6"/>
                <a:gd name="T2" fmla="*/ 1 w 6"/>
                <a:gd name="T3" fmla="*/ 3 h 6"/>
                <a:gd name="T4" fmla="*/ 2 w 6"/>
                <a:gd name="T5" fmla="*/ 6 h 6"/>
                <a:gd name="T6" fmla="*/ 4 w 6"/>
                <a:gd name="T7" fmla="*/ 3 h 6"/>
                <a:gd name="T8" fmla="*/ 5 w 6"/>
                <a:gd name="T9" fmla="*/ 3 h 6"/>
                <a:gd name="T10" fmla="*/ 6 w 6"/>
                <a:gd name="T11" fmla="*/ 2 h 6"/>
                <a:gd name="T12" fmla="*/ 6 w 6"/>
                <a:gd name="T13" fmla="*/ 2 h 6"/>
                <a:gd name="T14" fmla="*/ 5 w 6"/>
                <a:gd name="T15" fmla="*/ 0 h 6"/>
                <a:gd name="T16" fmla="*/ 4 w 6"/>
                <a:gd name="T17" fmla="*/ 0 h 6"/>
                <a:gd name="T18" fmla="*/ 0 w 6"/>
                <a:gd name="T1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6">
                  <a:moveTo>
                    <a:pt x="0" y="1"/>
                  </a:moveTo>
                  <a:lnTo>
                    <a:pt x="1" y="3"/>
                  </a:lnTo>
                  <a:lnTo>
                    <a:pt x="2" y="6"/>
                  </a:lnTo>
                  <a:lnTo>
                    <a:pt x="4" y="3"/>
                  </a:lnTo>
                  <a:lnTo>
                    <a:pt x="5" y="3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0"/>
                  </a:lnTo>
                  <a:lnTo>
                    <a:pt x="4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2" name="Freeform 286">
              <a:extLst>
                <a:ext uri="{FF2B5EF4-FFF2-40B4-BE49-F238E27FC236}">
                  <a16:creationId xmlns:a16="http://schemas.microsoft.com/office/drawing/2014/main" id="{56385532-B8A6-44C9-AECD-C18D35F33F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4423" y="3809383"/>
              <a:ext cx="4216" cy="4216"/>
            </a:xfrm>
            <a:custGeom>
              <a:avLst/>
              <a:gdLst>
                <a:gd name="T0" fmla="*/ 0 w 2"/>
                <a:gd name="T1" fmla="*/ 0 h 2"/>
                <a:gd name="T2" fmla="*/ 2 w 2"/>
                <a:gd name="T3" fmla="*/ 2 h 2"/>
                <a:gd name="T4" fmla="*/ 0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2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3" name="Freeform 287">
              <a:extLst>
                <a:ext uri="{FF2B5EF4-FFF2-40B4-BE49-F238E27FC236}">
                  <a16:creationId xmlns:a16="http://schemas.microsoft.com/office/drawing/2014/main" id="{B9A9A423-6261-4D57-AC2B-898DE03CDE5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4423" y="3817815"/>
              <a:ext cx="10540" cy="25295"/>
            </a:xfrm>
            <a:custGeom>
              <a:avLst/>
              <a:gdLst>
                <a:gd name="T0" fmla="*/ 0 w 10"/>
                <a:gd name="T1" fmla="*/ 4 h 25"/>
                <a:gd name="T2" fmla="*/ 2 w 10"/>
                <a:gd name="T3" fmla="*/ 8 h 25"/>
                <a:gd name="T4" fmla="*/ 5 w 10"/>
                <a:gd name="T5" fmla="*/ 11 h 25"/>
                <a:gd name="T6" fmla="*/ 5 w 10"/>
                <a:gd name="T7" fmla="*/ 18 h 25"/>
                <a:gd name="T8" fmla="*/ 5 w 10"/>
                <a:gd name="T9" fmla="*/ 20 h 25"/>
                <a:gd name="T10" fmla="*/ 3 w 10"/>
                <a:gd name="T11" fmla="*/ 22 h 25"/>
                <a:gd name="T12" fmla="*/ 3 w 10"/>
                <a:gd name="T13" fmla="*/ 24 h 25"/>
                <a:gd name="T14" fmla="*/ 5 w 10"/>
                <a:gd name="T15" fmla="*/ 24 h 25"/>
                <a:gd name="T16" fmla="*/ 6 w 10"/>
                <a:gd name="T17" fmla="*/ 22 h 25"/>
                <a:gd name="T18" fmla="*/ 6 w 10"/>
                <a:gd name="T19" fmla="*/ 25 h 25"/>
                <a:gd name="T20" fmla="*/ 7 w 10"/>
                <a:gd name="T21" fmla="*/ 25 h 25"/>
                <a:gd name="T22" fmla="*/ 8 w 10"/>
                <a:gd name="T23" fmla="*/ 24 h 25"/>
                <a:gd name="T24" fmla="*/ 10 w 10"/>
                <a:gd name="T25" fmla="*/ 20 h 25"/>
                <a:gd name="T26" fmla="*/ 10 w 10"/>
                <a:gd name="T27" fmla="*/ 14 h 25"/>
                <a:gd name="T28" fmla="*/ 10 w 10"/>
                <a:gd name="T29" fmla="*/ 11 h 25"/>
                <a:gd name="T30" fmla="*/ 8 w 10"/>
                <a:gd name="T31" fmla="*/ 8 h 25"/>
                <a:gd name="T32" fmla="*/ 6 w 10"/>
                <a:gd name="T33" fmla="*/ 5 h 25"/>
                <a:gd name="T34" fmla="*/ 5 w 10"/>
                <a:gd name="T35" fmla="*/ 4 h 25"/>
                <a:gd name="T36" fmla="*/ 3 w 10"/>
                <a:gd name="T37" fmla="*/ 2 h 25"/>
                <a:gd name="T38" fmla="*/ 2 w 10"/>
                <a:gd name="T39" fmla="*/ 0 h 25"/>
                <a:gd name="T40" fmla="*/ 1 w 10"/>
                <a:gd name="T41" fmla="*/ 0 h 25"/>
                <a:gd name="T42" fmla="*/ 0 w 10"/>
                <a:gd name="T43" fmla="*/ 2 h 25"/>
                <a:gd name="T44" fmla="*/ 0 w 10"/>
                <a:gd name="T45" fmla="*/ 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" h="25">
                  <a:moveTo>
                    <a:pt x="0" y="4"/>
                  </a:moveTo>
                  <a:lnTo>
                    <a:pt x="2" y="8"/>
                  </a:lnTo>
                  <a:lnTo>
                    <a:pt x="5" y="11"/>
                  </a:lnTo>
                  <a:lnTo>
                    <a:pt x="5" y="18"/>
                  </a:lnTo>
                  <a:lnTo>
                    <a:pt x="5" y="20"/>
                  </a:lnTo>
                  <a:lnTo>
                    <a:pt x="3" y="22"/>
                  </a:lnTo>
                  <a:lnTo>
                    <a:pt x="3" y="24"/>
                  </a:lnTo>
                  <a:lnTo>
                    <a:pt x="5" y="24"/>
                  </a:lnTo>
                  <a:lnTo>
                    <a:pt x="6" y="22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8" y="24"/>
                  </a:lnTo>
                  <a:lnTo>
                    <a:pt x="10" y="20"/>
                  </a:lnTo>
                  <a:lnTo>
                    <a:pt x="10" y="14"/>
                  </a:lnTo>
                  <a:lnTo>
                    <a:pt x="10" y="11"/>
                  </a:lnTo>
                  <a:lnTo>
                    <a:pt x="8" y="8"/>
                  </a:lnTo>
                  <a:lnTo>
                    <a:pt x="6" y="5"/>
                  </a:lnTo>
                  <a:lnTo>
                    <a:pt x="5" y="4"/>
                  </a:lnTo>
                  <a:lnTo>
                    <a:pt x="3" y="2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4" name="Freeform 288">
              <a:extLst>
                <a:ext uri="{FF2B5EF4-FFF2-40B4-BE49-F238E27FC236}">
                  <a16:creationId xmlns:a16="http://schemas.microsoft.com/office/drawing/2014/main" id="{78828586-475E-498F-B801-DAA0FC2EB63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6530" y="3838894"/>
              <a:ext cx="2109" cy="4216"/>
            </a:xfrm>
            <a:custGeom>
              <a:avLst/>
              <a:gdLst>
                <a:gd name="T0" fmla="*/ 0 w 2"/>
                <a:gd name="T1" fmla="*/ 4 h 5"/>
                <a:gd name="T2" fmla="*/ 0 w 2"/>
                <a:gd name="T3" fmla="*/ 4 h 5"/>
                <a:gd name="T4" fmla="*/ 1 w 2"/>
                <a:gd name="T5" fmla="*/ 4 h 5"/>
                <a:gd name="T6" fmla="*/ 1 w 2"/>
                <a:gd name="T7" fmla="*/ 4 h 5"/>
                <a:gd name="T8" fmla="*/ 1 w 2"/>
                <a:gd name="T9" fmla="*/ 5 h 5"/>
                <a:gd name="T10" fmla="*/ 2 w 2"/>
                <a:gd name="T11" fmla="*/ 4 h 5"/>
                <a:gd name="T12" fmla="*/ 1 w 2"/>
                <a:gd name="T13" fmla="*/ 0 h 5"/>
                <a:gd name="T14" fmla="*/ 0 w 2"/>
                <a:gd name="T1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5">
                  <a:moveTo>
                    <a:pt x="0" y="4"/>
                  </a:move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5"/>
                  </a:lnTo>
                  <a:lnTo>
                    <a:pt x="2" y="4"/>
                  </a:lnTo>
                  <a:lnTo>
                    <a:pt x="1" y="0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5" name="Freeform 289">
              <a:extLst>
                <a:ext uri="{FF2B5EF4-FFF2-40B4-BE49-F238E27FC236}">
                  <a16:creationId xmlns:a16="http://schemas.microsoft.com/office/drawing/2014/main" id="{764C77B0-7829-49E9-88FD-62F49FF1B2F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8639" y="3830462"/>
              <a:ext cx="0" cy="4216"/>
            </a:xfrm>
            <a:custGeom>
              <a:avLst/>
              <a:gdLst>
                <a:gd name="T0" fmla="*/ 0 h 4"/>
                <a:gd name="T1" fmla="*/ 4 h 4"/>
                <a:gd name="T2" fmla="*/ 0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lnTo>
                    <a:pt x="0" y="4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6" name="Freeform 290">
              <a:extLst>
                <a:ext uri="{FF2B5EF4-FFF2-40B4-BE49-F238E27FC236}">
                  <a16:creationId xmlns:a16="http://schemas.microsoft.com/office/drawing/2014/main" id="{9E31ED4C-A74B-4889-9F5A-E3FB2B9D177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1286" y="3826246"/>
              <a:ext cx="4216" cy="14756"/>
            </a:xfrm>
            <a:custGeom>
              <a:avLst/>
              <a:gdLst>
                <a:gd name="T0" fmla="*/ 0 w 3"/>
                <a:gd name="T1" fmla="*/ 14 h 14"/>
                <a:gd name="T2" fmla="*/ 2 w 3"/>
                <a:gd name="T3" fmla="*/ 12 h 14"/>
                <a:gd name="T4" fmla="*/ 3 w 3"/>
                <a:gd name="T5" fmla="*/ 8 h 14"/>
                <a:gd name="T6" fmla="*/ 1 w 3"/>
                <a:gd name="T7" fmla="*/ 3 h 14"/>
                <a:gd name="T8" fmla="*/ 0 w 3"/>
                <a:gd name="T9" fmla="*/ 0 h 14"/>
                <a:gd name="T10" fmla="*/ 0 w 3"/>
                <a:gd name="T11" fmla="*/ 7 h 14"/>
                <a:gd name="T12" fmla="*/ 0 w 3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14">
                  <a:moveTo>
                    <a:pt x="0" y="14"/>
                  </a:moveTo>
                  <a:lnTo>
                    <a:pt x="2" y="12"/>
                  </a:lnTo>
                  <a:lnTo>
                    <a:pt x="3" y="8"/>
                  </a:lnTo>
                  <a:lnTo>
                    <a:pt x="1" y="3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7" name="Freeform 291">
              <a:extLst>
                <a:ext uri="{FF2B5EF4-FFF2-40B4-BE49-F238E27FC236}">
                  <a16:creationId xmlns:a16="http://schemas.microsoft.com/office/drawing/2014/main" id="{85506A47-BC35-4F24-9115-D65D0FB2D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11825" y="3824138"/>
              <a:ext cx="4216" cy="8432"/>
            </a:xfrm>
            <a:custGeom>
              <a:avLst/>
              <a:gdLst>
                <a:gd name="T0" fmla="*/ 2 w 3"/>
                <a:gd name="T1" fmla="*/ 9 h 9"/>
                <a:gd name="T2" fmla="*/ 3 w 3"/>
                <a:gd name="T3" fmla="*/ 6 h 9"/>
                <a:gd name="T4" fmla="*/ 2 w 3"/>
                <a:gd name="T5" fmla="*/ 4 h 9"/>
                <a:gd name="T6" fmla="*/ 0 w 3"/>
                <a:gd name="T7" fmla="*/ 0 h 9"/>
                <a:gd name="T8" fmla="*/ 0 w 3"/>
                <a:gd name="T9" fmla="*/ 5 h 9"/>
                <a:gd name="T10" fmla="*/ 2 w 3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9">
                  <a:moveTo>
                    <a:pt x="2" y="9"/>
                  </a:moveTo>
                  <a:lnTo>
                    <a:pt x="3" y="6"/>
                  </a:lnTo>
                  <a:lnTo>
                    <a:pt x="2" y="4"/>
                  </a:lnTo>
                  <a:lnTo>
                    <a:pt x="0" y="0"/>
                  </a:lnTo>
                  <a:lnTo>
                    <a:pt x="0" y="5"/>
                  </a:lnTo>
                  <a:lnTo>
                    <a:pt x="2" y="9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8" name="Freeform 292">
              <a:extLst>
                <a:ext uri="{FF2B5EF4-FFF2-40B4-BE49-F238E27FC236}">
                  <a16:creationId xmlns:a16="http://schemas.microsoft.com/office/drawing/2014/main" id="{76A36B02-E3B6-41E8-AF25-15F6D2431A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8688" y="3847325"/>
              <a:ext cx="0" cy="6324"/>
            </a:xfrm>
            <a:custGeom>
              <a:avLst/>
              <a:gdLst>
                <a:gd name="T0" fmla="*/ 0 h 7"/>
                <a:gd name="T1" fmla="*/ 4 h 7"/>
                <a:gd name="T2" fmla="*/ 7 h 7"/>
                <a:gd name="T3" fmla="*/ 0 h 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7">
                  <a:moveTo>
                    <a:pt x="0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9" name="Freeform 293">
              <a:extLst>
                <a:ext uri="{FF2B5EF4-FFF2-40B4-BE49-F238E27FC236}">
                  <a16:creationId xmlns:a16="http://schemas.microsoft.com/office/drawing/2014/main" id="{223A1A79-010D-437D-B26E-23410006807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8688" y="3853648"/>
              <a:ext cx="4216" cy="8432"/>
            </a:xfrm>
            <a:custGeom>
              <a:avLst/>
              <a:gdLst>
                <a:gd name="T0" fmla="*/ 1 w 3"/>
                <a:gd name="T1" fmla="*/ 8 h 8"/>
                <a:gd name="T2" fmla="*/ 3 w 3"/>
                <a:gd name="T3" fmla="*/ 7 h 8"/>
                <a:gd name="T4" fmla="*/ 3 w 3"/>
                <a:gd name="T5" fmla="*/ 4 h 8"/>
                <a:gd name="T6" fmla="*/ 1 w 3"/>
                <a:gd name="T7" fmla="*/ 2 h 8"/>
                <a:gd name="T8" fmla="*/ 0 w 3"/>
                <a:gd name="T9" fmla="*/ 0 h 8"/>
                <a:gd name="T10" fmla="*/ 1 w 3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8">
                  <a:moveTo>
                    <a:pt x="1" y="8"/>
                  </a:moveTo>
                  <a:lnTo>
                    <a:pt x="3" y="7"/>
                  </a:lnTo>
                  <a:lnTo>
                    <a:pt x="3" y="4"/>
                  </a:lnTo>
                  <a:lnTo>
                    <a:pt x="1" y="2"/>
                  </a:lnTo>
                  <a:lnTo>
                    <a:pt x="0" y="0"/>
                  </a:lnTo>
                  <a:lnTo>
                    <a:pt x="1" y="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0" name="Freeform 294">
              <a:extLst>
                <a:ext uri="{FF2B5EF4-FFF2-40B4-BE49-F238E27FC236}">
                  <a16:creationId xmlns:a16="http://schemas.microsoft.com/office/drawing/2014/main" id="{0F342A1F-3410-4983-B535-D71E6B56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998" y="3685016"/>
              <a:ext cx="158093" cy="202358"/>
            </a:xfrm>
            <a:custGeom>
              <a:avLst/>
              <a:gdLst>
                <a:gd name="T0" fmla="*/ 14 w 150"/>
                <a:gd name="T1" fmla="*/ 7 h 192"/>
                <a:gd name="T2" fmla="*/ 22 w 150"/>
                <a:gd name="T3" fmla="*/ 6 h 192"/>
                <a:gd name="T4" fmla="*/ 39 w 150"/>
                <a:gd name="T5" fmla="*/ 21 h 192"/>
                <a:gd name="T6" fmla="*/ 48 w 150"/>
                <a:gd name="T7" fmla="*/ 22 h 192"/>
                <a:gd name="T8" fmla="*/ 54 w 150"/>
                <a:gd name="T9" fmla="*/ 43 h 192"/>
                <a:gd name="T10" fmla="*/ 119 w 150"/>
                <a:gd name="T11" fmla="*/ 49 h 192"/>
                <a:gd name="T12" fmla="*/ 122 w 150"/>
                <a:gd name="T13" fmla="*/ 56 h 192"/>
                <a:gd name="T14" fmla="*/ 116 w 150"/>
                <a:gd name="T15" fmla="*/ 80 h 192"/>
                <a:gd name="T16" fmla="*/ 107 w 150"/>
                <a:gd name="T17" fmla="*/ 81 h 192"/>
                <a:gd name="T18" fmla="*/ 98 w 150"/>
                <a:gd name="T19" fmla="*/ 92 h 192"/>
                <a:gd name="T20" fmla="*/ 105 w 150"/>
                <a:gd name="T21" fmla="*/ 113 h 192"/>
                <a:gd name="T22" fmla="*/ 112 w 150"/>
                <a:gd name="T23" fmla="*/ 119 h 192"/>
                <a:gd name="T24" fmla="*/ 117 w 150"/>
                <a:gd name="T25" fmla="*/ 112 h 192"/>
                <a:gd name="T26" fmla="*/ 118 w 150"/>
                <a:gd name="T27" fmla="*/ 96 h 192"/>
                <a:gd name="T28" fmla="*/ 129 w 150"/>
                <a:gd name="T29" fmla="*/ 97 h 192"/>
                <a:gd name="T30" fmla="*/ 150 w 150"/>
                <a:gd name="T31" fmla="*/ 174 h 192"/>
                <a:gd name="T32" fmla="*/ 138 w 150"/>
                <a:gd name="T33" fmla="*/ 171 h 192"/>
                <a:gd name="T34" fmla="*/ 142 w 150"/>
                <a:gd name="T35" fmla="*/ 192 h 192"/>
                <a:gd name="T36" fmla="*/ 128 w 150"/>
                <a:gd name="T37" fmla="*/ 158 h 192"/>
                <a:gd name="T38" fmla="*/ 122 w 150"/>
                <a:gd name="T39" fmla="*/ 140 h 192"/>
                <a:gd name="T40" fmla="*/ 110 w 150"/>
                <a:gd name="T41" fmla="*/ 121 h 192"/>
                <a:gd name="T42" fmla="*/ 100 w 150"/>
                <a:gd name="T43" fmla="*/ 131 h 192"/>
                <a:gd name="T44" fmla="*/ 90 w 150"/>
                <a:gd name="T45" fmla="*/ 126 h 192"/>
                <a:gd name="T46" fmla="*/ 84 w 150"/>
                <a:gd name="T47" fmla="*/ 109 h 192"/>
                <a:gd name="T48" fmla="*/ 84 w 150"/>
                <a:gd name="T49" fmla="*/ 99 h 192"/>
                <a:gd name="T50" fmla="*/ 81 w 150"/>
                <a:gd name="T51" fmla="*/ 98 h 192"/>
                <a:gd name="T52" fmla="*/ 81 w 150"/>
                <a:gd name="T53" fmla="*/ 105 h 192"/>
                <a:gd name="T54" fmla="*/ 82 w 150"/>
                <a:gd name="T55" fmla="*/ 112 h 192"/>
                <a:gd name="T56" fmla="*/ 80 w 150"/>
                <a:gd name="T57" fmla="*/ 121 h 192"/>
                <a:gd name="T58" fmla="*/ 84 w 150"/>
                <a:gd name="T59" fmla="*/ 133 h 192"/>
                <a:gd name="T60" fmla="*/ 81 w 150"/>
                <a:gd name="T61" fmla="*/ 142 h 192"/>
                <a:gd name="T62" fmla="*/ 74 w 150"/>
                <a:gd name="T63" fmla="*/ 156 h 192"/>
                <a:gd name="T64" fmla="*/ 76 w 150"/>
                <a:gd name="T65" fmla="*/ 147 h 192"/>
                <a:gd name="T66" fmla="*/ 68 w 150"/>
                <a:gd name="T67" fmla="*/ 144 h 192"/>
                <a:gd name="T68" fmla="*/ 67 w 150"/>
                <a:gd name="T69" fmla="*/ 145 h 192"/>
                <a:gd name="T70" fmla="*/ 67 w 150"/>
                <a:gd name="T71" fmla="*/ 155 h 192"/>
                <a:gd name="T72" fmla="*/ 59 w 150"/>
                <a:gd name="T73" fmla="*/ 158 h 192"/>
                <a:gd name="T74" fmla="*/ 59 w 150"/>
                <a:gd name="T75" fmla="*/ 140 h 192"/>
                <a:gd name="T76" fmla="*/ 54 w 150"/>
                <a:gd name="T77" fmla="*/ 141 h 192"/>
                <a:gd name="T78" fmla="*/ 54 w 150"/>
                <a:gd name="T79" fmla="*/ 157 h 192"/>
                <a:gd name="T80" fmla="*/ 49 w 150"/>
                <a:gd name="T81" fmla="*/ 160 h 192"/>
                <a:gd name="T82" fmla="*/ 38 w 150"/>
                <a:gd name="T83" fmla="*/ 130 h 192"/>
                <a:gd name="T84" fmla="*/ 31 w 150"/>
                <a:gd name="T85" fmla="*/ 110 h 192"/>
                <a:gd name="T86" fmla="*/ 26 w 150"/>
                <a:gd name="T87" fmla="*/ 99 h 192"/>
                <a:gd name="T88" fmla="*/ 26 w 150"/>
                <a:gd name="T89" fmla="*/ 82 h 192"/>
                <a:gd name="T90" fmla="*/ 10 w 150"/>
                <a:gd name="T91" fmla="*/ 70 h 192"/>
                <a:gd name="T92" fmla="*/ 5 w 150"/>
                <a:gd name="T93" fmla="*/ 59 h 192"/>
                <a:gd name="T94" fmla="*/ 12 w 150"/>
                <a:gd name="T95" fmla="*/ 54 h 192"/>
                <a:gd name="T96" fmla="*/ 21 w 150"/>
                <a:gd name="T97" fmla="*/ 45 h 192"/>
                <a:gd name="T98" fmla="*/ 23 w 150"/>
                <a:gd name="T99" fmla="*/ 40 h 192"/>
                <a:gd name="T100" fmla="*/ 14 w 150"/>
                <a:gd name="T101" fmla="*/ 35 h 192"/>
                <a:gd name="T102" fmla="*/ 0 w 150"/>
                <a:gd name="T103" fmla="*/ 17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50" h="192">
                  <a:moveTo>
                    <a:pt x="3" y="3"/>
                  </a:moveTo>
                  <a:lnTo>
                    <a:pt x="4" y="0"/>
                  </a:lnTo>
                  <a:lnTo>
                    <a:pt x="9" y="2"/>
                  </a:lnTo>
                  <a:lnTo>
                    <a:pt x="11" y="5"/>
                  </a:lnTo>
                  <a:lnTo>
                    <a:pt x="14" y="7"/>
                  </a:lnTo>
                  <a:lnTo>
                    <a:pt x="15" y="10"/>
                  </a:lnTo>
                  <a:lnTo>
                    <a:pt x="17" y="11"/>
                  </a:lnTo>
                  <a:lnTo>
                    <a:pt x="23" y="12"/>
                  </a:lnTo>
                  <a:lnTo>
                    <a:pt x="20" y="6"/>
                  </a:lnTo>
                  <a:lnTo>
                    <a:pt x="22" y="6"/>
                  </a:lnTo>
                  <a:lnTo>
                    <a:pt x="25" y="7"/>
                  </a:lnTo>
                  <a:lnTo>
                    <a:pt x="27" y="12"/>
                  </a:lnTo>
                  <a:lnTo>
                    <a:pt x="30" y="16"/>
                  </a:lnTo>
                  <a:lnTo>
                    <a:pt x="32" y="17"/>
                  </a:lnTo>
                  <a:lnTo>
                    <a:pt x="39" y="21"/>
                  </a:lnTo>
                  <a:lnTo>
                    <a:pt x="41" y="17"/>
                  </a:lnTo>
                  <a:lnTo>
                    <a:pt x="41" y="13"/>
                  </a:lnTo>
                  <a:lnTo>
                    <a:pt x="43" y="14"/>
                  </a:lnTo>
                  <a:lnTo>
                    <a:pt x="46" y="16"/>
                  </a:lnTo>
                  <a:lnTo>
                    <a:pt x="48" y="22"/>
                  </a:lnTo>
                  <a:lnTo>
                    <a:pt x="51" y="29"/>
                  </a:lnTo>
                  <a:lnTo>
                    <a:pt x="51" y="35"/>
                  </a:lnTo>
                  <a:lnTo>
                    <a:pt x="51" y="39"/>
                  </a:lnTo>
                  <a:lnTo>
                    <a:pt x="52" y="42"/>
                  </a:lnTo>
                  <a:lnTo>
                    <a:pt x="54" y="43"/>
                  </a:lnTo>
                  <a:lnTo>
                    <a:pt x="64" y="45"/>
                  </a:lnTo>
                  <a:lnTo>
                    <a:pt x="74" y="46"/>
                  </a:lnTo>
                  <a:lnTo>
                    <a:pt x="94" y="46"/>
                  </a:lnTo>
                  <a:lnTo>
                    <a:pt x="113" y="46"/>
                  </a:lnTo>
                  <a:lnTo>
                    <a:pt x="119" y="49"/>
                  </a:lnTo>
                  <a:lnTo>
                    <a:pt x="126" y="53"/>
                  </a:lnTo>
                  <a:lnTo>
                    <a:pt x="128" y="54"/>
                  </a:lnTo>
                  <a:lnTo>
                    <a:pt x="128" y="55"/>
                  </a:lnTo>
                  <a:lnTo>
                    <a:pt x="127" y="56"/>
                  </a:lnTo>
                  <a:lnTo>
                    <a:pt x="122" y="56"/>
                  </a:lnTo>
                  <a:lnTo>
                    <a:pt x="123" y="59"/>
                  </a:lnTo>
                  <a:lnTo>
                    <a:pt x="123" y="62"/>
                  </a:lnTo>
                  <a:lnTo>
                    <a:pt x="121" y="69"/>
                  </a:lnTo>
                  <a:lnTo>
                    <a:pt x="117" y="73"/>
                  </a:lnTo>
                  <a:lnTo>
                    <a:pt x="116" y="80"/>
                  </a:lnTo>
                  <a:lnTo>
                    <a:pt x="113" y="78"/>
                  </a:lnTo>
                  <a:lnTo>
                    <a:pt x="112" y="80"/>
                  </a:lnTo>
                  <a:lnTo>
                    <a:pt x="110" y="80"/>
                  </a:lnTo>
                  <a:lnTo>
                    <a:pt x="108" y="78"/>
                  </a:lnTo>
                  <a:lnTo>
                    <a:pt x="107" y="81"/>
                  </a:lnTo>
                  <a:lnTo>
                    <a:pt x="106" y="82"/>
                  </a:lnTo>
                  <a:lnTo>
                    <a:pt x="101" y="82"/>
                  </a:lnTo>
                  <a:lnTo>
                    <a:pt x="101" y="85"/>
                  </a:lnTo>
                  <a:lnTo>
                    <a:pt x="100" y="88"/>
                  </a:lnTo>
                  <a:lnTo>
                    <a:pt x="98" y="92"/>
                  </a:lnTo>
                  <a:lnTo>
                    <a:pt x="97" y="96"/>
                  </a:lnTo>
                  <a:lnTo>
                    <a:pt x="97" y="101"/>
                  </a:lnTo>
                  <a:lnTo>
                    <a:pt x="100" y="105"/>
                  </a:lnTo>
                  <a:lnTo>
                    <a:pt x="105" y="115"/>
                  </a:lnTo>
                  <a:lnTo>
                    <a:pt x="105" y="113"/>
                  </a:lnTo>
                  <a:lnTo>
                    <a:pt x="105" y="109"/>
                  </a:lnTo>
                  <a:lnTo>
                    <a:pt x="106" y="110"/>
                  </a:lnTo>
                  <a:lnTo>
                    <a:pt x="107" y="113"/>
                  </a:lnTo>
                  <a:lnTo>
                    <a:pt x="111" y="117"/>
                  </a:lnTo>
                  <a:lnTo>
                    <a:pt x="112" y="119"/>
                  </a:lnTo>
                  <a:lnTo>
                    <a:pt x="113" y="119"/>
                  </a:lnTo>
                  <a:lnTo>
                    <a:pt x="116" y="119"/>
                  </a:lnTo>
                  <a:lnTo>
                    <a:pt x="117" y="117"/>
                  </a:lnTo>
                  <a:lnTo>
                    <a:pt x="118" y="114"/>
                  </a:lnTo>
                  <a:lnTo>
                    <a:pt x="117" y="112"/>
                  </a:lnTo>
                  <a:lnTo>
                    <a:pt x="117" y="108"/>
                  </a:lnTo>
                  <a:lnTo>
                    <a:pt x="117" y="104"/>
                  </a:lnTo>
                  <a:lnTo>
                    <a:pt x="119" y="101"/>
                  </a:lnTo>
                  <a:lnTo>
                    <a:pt x="119" y="98"/>
                  </a:lnTo>
                  <a:lnTo>
                    <a:pt x="118" y="96"/>
                  </a:lnTo>
                  <a:lnTo>
                    <a:pt x="122" y="97"/>
                  </a:lnTo>
                  <a:lnTo>
                    <a:pt x="124" y="96"/>
                  </a:lnTo>
                  <a:lnTo>
                    <a:pt x="127" y="94"/>
                  </a:lnTo>
                  <a:lnTo>
                    <a:pt x="128" y="94"/>
                  </a:lnTo>
                  <a:lnTo>
                    <a:pt x="129" y="97"/>
                  </a:lnTo>
                  <a:lnTo>
                    <a:pt x="132" y="108"/>
                  </a:lnTo>
                  <a:lnTo>
                    <a:pt x="135" y="119"/>
                  </a:lnTo>
                  <a:lnTo>
                    <a:pt x="144" y="146"/>
                  </a:lnTo>
                  <a:lnTo>
                    <a:pt x="146" y="161"/>
                  </a:lnTo>
                  <a:lnTo>
                    <a:pt x="150" y="174"/>
                  </a:lnTo>
                  <a:lnTo>
                    <a:pt x="148" y="174"/>
                  </a:lnTo>
                  <a:lnTo>
                    <a:pt x="145" y="172"/>
                  </a:lnTo>
                  <a:lnTo>
                    <a:pt x="142" y="171"/>
                  </a:lnTo>
                  <a:lnTo>
                    <a:pt x="139" y="171"/>
                  </a:lnTo>
                  <a:lnTo>
                    <a:pt x="138" y="171"/>
                  </a:lnTo>
                  <a:lnTo>
                    <a:pt x="137" y="173"/>
                  </a:lnTo>
                  <a:lnTo>
                    <a:pt x="138" y="179"/>
                  </a:lnTo>
                  <a:lnTo>
                    <a:pt x="140" y="187"/>
                  </a:lnTo>
                  <a:lnTo>
                    <a:pt x="140" y="189"/>
                  </a:lnTo>
                  <a:lnTo>
                    <a:pt x="142" y="192"/>
                  </a:lnTo>
                  <a:lnTo>
                    <a:pt x="137" y="184"/>
                  </a:lnTo>
                  <a:lnTo>
                    <a:pt x="133" y="177"/>
                  </a:lnTo>
                  <a:lnTo>
                    <a:pt x="132" y="171"/>
                  </a:lnTo>
                  <a:lnTo>
                    <a:pt x="130" y="164"/>
                  </a:lnTo>
                  <a:lnTo>
                    <a:pt x="128" y="158"/>
                  </a:lnTo>
                  <a:lnTo>
                    <a:pt x="124" y="151"/>
                  </a:lnTo>
                  <a:lnTo>
                    <a:pt x="122" y="144"/>
                  </a:lnTo>
                  <a:lnTo>
                    <a:pt x="122" y="141"/>
                  </a:lnTo>
                  <a:lnTo>
                    <a:pt x="123" y="137"/>
                  </a:lnTo>
                  <a:lnTo>
                    <a:pt x="122" y="140"/>
                  </a:lnTo>
                  <a:lnTo>
                    <a:pt x="121" y="144"/>
                  </a:lnTo>
                  <a:lnTo>
                    <a:pt x="118" y="139"/>
                  </a:lnTo>
                  <a:lnTo>
                    <a:pt x="114" y="133"/>
                  </a:lnTo>
                  <a:lnTo>
                    <a:pt x="111" y="128"/>
                  </a:lnTo>
                  <a:lnTo>
                    <a:pt x="110" y="121"/>
                  </a:lnTo>
                  <a:lnTo>
                    <a:pt x="108" y="124"/>
                  </a:lnTo>
                  <a:lnTo>
                    <a:pt x="107" y="125"/>
                  </a:lnTo>
                  <a:lnTo>
                    <a:pt x="103" y="129"/>
                  </a:lnTo>
                  <a:lnTo>
                    <a:pt x="102" y="131"/>
                  </a:lnTo>
                  <a:lnTo>
                    <a:pt x="100" y="131"/>
                  </a:lnTo>
                  <a:lnTo>
                    <a:pt x="97" y="129"/>
                  </a:lnTo>
                  <a:lnTo>
                    <a:pt x="97" y="131"/>
                  </a:lnTo>
                  <a:lnTo>
                    <a:pt x="95" y="133"/>
                  </a:lnTo>
                  <a:lnTo>
                    <a:pt x="94" y="131"/>
                  </a:lnTo>
                  <a:lnTo>
                    <a:pt x="90" y="126"/>
                  </a:lnTo>
                  <a:lnTo>
                    <a:pt x="87" y="121"/>
                  </a:lnTo>
                  <a:lnTo>
                    <a:pt x="86" y="118"/>
                  </a:lnTo>
                  <a:lnTo>
                    <a:pt x="85" y="115"/>
                  </a:lnTo>
                  <a:lnTo>
                    <a:pt x="85" y="113"/>
                  </a:lnTo>
                  <a:lnTo>
                    <a:pt x="84" y="109"/>
                  </a:lnTo>
                  <a:lnTo>
                    <a:pt x="82" y="105"/>
                  </a:lnTo>
                  <a:lnTo>
                    <a:pt x="82" y="104"/>
                  </a:lnTo>
                  <a:lnTo>
                    <a:pt x="84" y="103"/>
                  </a:lnTo>
                  <a:lnTo>
                    <a:pt x="84" y="102"/>
                  </a:lnTo>
                  <a:lnTo>
                    <a:pt x="84" y="99"/>
                  </a:lnTo>
                  <a:lnTo>
                    <a:pt x="84" y="101"/>
                  </a:lnTo>
                  <a:lnTo>
                    <a:pt x="85" y="102"/>
                  </a:lnTo>
                  <a:lnTo>
                    <a:pt x="84" y="102"/>
                  </a:lnTo>
                  <a:lnTo>
                    <a:pt x="81" y="102"/>
                  </a:lnTo>
                  <a:lnTo>
                    <a:pt x="81" y="98"/>
                  </a:lnTo>
                  <a:lnTo>
                    <a:pt x="80" y="99"/>
                  </a:lnTo>
                  <a:lnTo>
                    <a:pt x="78" y="99"/>
                  </a:lnTo>
                  <a:lnTo>
                    <a:pt x="79" y="101"/>
                  </a:lnTo>
                  <a:lnTo>
                    <a:pt x="80" y="103"/>
                  </a:lnTo>
                  <a:lnTo>
                    <a:pt x="81" y="105"/>
                  </a:lnTo>
                  <a:lnTo>
                    <a:pt x="79" y="105"/>
                  </a:lnTo>
                  <a:lnTo>
                    <a:pt x="75" y="104"/>
                  </a:lnTo>
                  <a:lnTo>
                    <a:pt x="71" y="103"/>
                  </a:lnTo>
                  <a:lnTo>
                    <a:pt x="78" y="107"/>
                  </a:lnTo>
                  <a:lnTo>
                    <a:pt x="82" y="112"/>
                  </a:lnTo>
                  <a:lnTo>
                    <a:pt x="82" y="113"/>
                  </a:lnTo>
                  <a:lnTo>
                    <a:pt x="82" y="114"/>
                  </a:lnTo>
                  <a:lnTo>
                    <a:pt x="79" y="117"/>
                  </a:lnTo>
                  <a:lnTo>
                    <a:pt x="80" y="119"/>
                  </a:lnTo>
                  <a:lnTo>
                    <a:pt x="80" y="121"/>
                  </a:lnTo>
                  <a:lnTo>
                    <a:pt x="78" y="126"/>
                  </a:lnTo>
                  <a:lnTo>
                    <a:pt x="81" y="128"/>
                  </a:lnTo>
                  <a:lnTo>
                    <a:pt x="81" y="129"/>
                  </a:lnTo>
                  <a:lnTo>
                    <a:pt x="81" y="135"/>
                  </a:lnTo>
                  <a:lnTo>
                    <a:pt x="84" y="133"/>
                  </a:lnTo>
                  <a:lnTo>
                    <a:pt x="86" y="136"/>
                  </a:lnTo>
                  <a:lnTo>
                    <a:pt x="87" y="141"/>
                  </a:lnTo>
                  <a:lnTo>
                    <a:pt x="85" y="145"/>
                  </a:lnTo>
                  <a:lnTo>
                    <a:pt x="81" y="147"/>
                  </a:lnTo>
                  <a:lnTo>
                    <a:pt x="81" y="142"/>
                  </a:lnTo>
                  <a:lnTo>
                    <a:pt x="81" y="148"/>
                  </a:lnTo>
                  <a:lnTo>
                    <a:pt x="79" y="155"/>
                  </a:lnTo>
                  <a:lnTo>
                    <a:pt x="78" y="157"/>
                  </a:lnTo>
                  <a:lnTo>
                    <a:pt x="76" y="157"/>
                  </a:lnTo>
                  <a:lnTo>
                    <a:pt x="74" y="156"/>
                  </a:lnTo>
                  <a:lnTo>
                    <a:pt x="75" y="153"/>
                  </a:lnTo>
                  <a:lnTo>
                    <a:pt x="73" y="156"/>
                  </a:lnTo>
                  <a:lnTo>
                    <a:pt x="73" y="153"/>
                  </a:lnTo>
                  <a:lnTo>
                    <a:pt x="74" y="150"/>
                  </a:lnTo>
                  <a:lnTo>
                    <a:pt x="76" y="147"/>
                  </a:lnTo>
                  <a:lnTo>
                    <a:pt x="76" y="145"/>
                  </a:lnTo>
                  <a:lnTo>
                    <a:pt x="71" y="151"/>
                  </a:lnTo>
                  <a:lnTo>
                    <a:pt x="73" y="146"/>
                  </a:lnTo>
                  <a:lnTo>
                    <a:pt x="69" y="151"/>
                  </a:lnTo>
                  <a:lnTo>
                    <a:pt x="68" y="144"/>
                  </a:lnTo>
                  <a:lnTo>
                    <a:pt x="68" y="140"/>
                  </a:lnTo>
                  <a:lnTo>
                    <a:pt x="69" y="135"/>
                  </a:lnTo>
                  <a:lnTo>
                    <a:pt x="67" y="137"/>
                  </a:lnTo>
                  <a:lnTo>
                    <a:pt x="65" y="141"/>
                  </a:lnTo>
                  <a:lnTo>
                    <a:pt x="67" y="145"/>
                  </a:lnTo>
                  <a:lnTo>
                    <a:pt x="65" y="147"/>
                  </a:lnTo>
                  <a:lnTo>
                    <a:pt x="65" y="150"/>
                  </a:lnTo>
                  <a:lnTo>
                    <a:pt x="67" y="151"/>
                  </a:lnTo>
                  <a:lnTo>
                    <a:pt x="67" y="152"/>
                  </a:lnTo>
                  <a:lnTo>
                    <a:pt x="67" y="155"/>
                  </a:lnTo>
                  <a:lnTo>
                    <a:pt x="65" y="156"/>
                  </a:lnTo>
                  <a:lnTo>
                    <a:pt x="64" y="156"/>
                  </a:lnTo>
                  <a:lnTo>
                    <a:pt x="62" y="153"/>
                  </a:lnTo>
                  <a:lnTo>
                    <a:pt x="60" y="158"/>
                  </a:lnTo>
                  <a:lnTo>
                    <a:pt x="59" y="158"/>
                  </a:lnTo>
                  <a:lnTo>
                    <a:pt x="59" y="156"/>
                  </a:lnTo>
                  <a:lnTo>
                    <a:pt x="58" y="151"/>
                  </a:lnTo>
                  <a:lnTo>
                    <a:pt x="58" y="145"/>
                  </a:lnTo>
                  <a:lnTo>
                    <a:pt x="59" y="142"/>
                  </a:lnTo>
                  <a:lnTo>
                    <a:pt x="59" y="140"/>
                  </a:lnTo>
                  <a:lnTo>
                    <a:pt x="58" y="144"/>
                  </a:lnTo>
                  <a:lnTo>
                    <a:pt x="58" y="146"/>
                  </a:lnTo>
                  <a:lnTo>
                    <a:pt x="58" y="151"/>
                  </a:lnTo>
                  <a:lnTo>
                    <a:pt x="55" y="146"/>
                  </a:lnTo>
                  <a:lnTo>
                    <a:pt x="54" y="141"/>
                  </a:lnTo>
                  <a:lnTo>
                    <a:pt x="55" y="146"/>
                  </a:lnTo>
                  <a:lnTo>
                    <a:pt x="57" y="151"/>
                  </a:lnTo>
                  <a:lnTo>
                    <a:pt x="57" y="156"/>
                  </a:lnTo>
                  <a:lnTo>
                    <a:pt x="54" y="161"/>
                  </a:lnTo>
                  <a:lnTo>
                    <a:pt x="54" y="157"/>
                  </a:lnTo>
                  <a:lnTo>
                    <a:pt x="53" y="152"/>
                  </a:lnTo>
                  <a:lnTo>
                    <a:pt x="52" y="158"/>
                  </a:lnTo>
                  <a:lnTo>
                    <a:pt x="52" y="161"/>
                  </a:lnTo>
                  <a:lnTo>
                    <a:pt x="49" y="163"/>
                  </a:lnTo>
                  <a:lnTo>
                    <a:pt x="49" y="160"/>
                  </a:lnTo>
                  <a:lnTo>
                    <a:pt x="47" y="156"/>
                  </a:lnTo>
                  <a:lnTo>
                    <a:pt x="46" y="152"/>
                  </a:lnTo>
                  <a:lnTo>
                    <a:pt x="44" y="148"/>
                  </a:lnTo>
                  <a:lnTo>
                    <a:pt x="41" y="139"/>
                  </a:lnTo>
                  <a:lnTo>
                    <a:pt x="38" y="130"/>
                  </a:lnTo>
                  <a:lnTo>
                    <a:pt x="36" y="121"/>
                  </a:lnTo>
                  <a:lnTo>
                    <a:pt x="36" y="117"/>
                  </a:lnTo>
                  <a:lnTo>
                    <a:pt x="36" y="113"/>
                  </a:lnTo>
                  <a:lnTo>
                    <a:pt x="33" y="110"/>
                  </a:lnTo>
                  <a:lnTo>
                    <a:pt x="31" y="110"/>
                  </a:lnTo>
                  <a:lnTo>
                    <a:pt x="30" y="109"/>
                  </a:lnTo>
                  <a:lnTo>
                    <a:pt x="30" y="108"/>
                  </a:lnTo>
                  <a:lnTo>
                    <a:pt x="30" y="104"/>
                  </a:lnTo>
                  <a:lnTo>
                    <a:pt x="30" y="102"/>
                  </a:lnTo>
                  <a:lnTo>
                    <a:pt x="26" y="99"/>
                  </a:lnTo>
                  <a:lnTo>
                    <a:pt x="23" y="97"/>
                  </a:lnTo>
                  <a:lnTo>
                    <a:pt x="22" y="93"/>
                  </a:lnTo>
                  <a:lnTo>
                    <a:pt x="25" y="89"/>
                  </a:lnTo>
                  <a:lnTo>
                    <a:pt x="26" y="86"/>
                  </a:lnTo>
                  <a:lnTo>
                    <a:pt x="26" y="82"/>
                  </a:lnTo>
                  <a:lnTo>
                    <a:pt x="25" y="77"/>
                  </a:lnTo>
                  <a:lnTo>
                    <a:pt x="22" y="75"/>
                  </a:lnTo>
                  <a:lnTo>
                    <a:pt x="19" y="73"/>
                  </a:lnTo>
                  <a:lnTo>
                    <a:pt x="14" y="72"/>
                  </a:lnTo>
                  <a:lnTo>
                    <a:pt x="10" y="70"/>
                  </a:lnTo>
                  <a:lnTo>
                    <a:pt x="6" y="67"/>
                  </a:lnTo>
                  <a:lnTo>
                    <a:pt x="5" y="65"/>
                  </a:lnTo>
                  <a:lnTo>
                    <a:pt x="4" y="62"/>
                  </a:lnTo>
                  <a:lnTo>
                    <a:pt x="4" y="60"/>
                  </a:lnTo>
                  <a:lnTo>
                    <a:pt x="5" y="59"/>
                  </a:lnTo>
                  <a:lnTo>
                    <a:pt x="6" y="54"/>
                  </a:lnTo>
                  <a:lnTo>
                    <a:pt x="9" y="56"/>
                  </a:lnTo>
                  <a:lnTo>
                    <a:pt x="10" y="56"/>
                  </a:lnTo>
                  <a:lnTo>
                    <a:pt x="11" y="55"/>
                  </a:lnTo>
                  <a:lnTo>
                    <a:pt x="12" y="54"/>
                  </a:lnTo>
                  <a:lnTo>
                    <a:pt x="14" y="49"/>
                  </a:lnTo>
                  <a:lnTo>
                    <a:pt x="14" y="48"/>
                  </a:lnTo>
                  <a:lnTo>
                    <a:pt x="15" y="46"/>
                  </a:lnTo>
                  <a:lnTo>
                    <a:pt x="17" y="46"/>
                  </a:lnTo>
                  <a:lnTo>
                    <a:pt x="21" y="45"/>
                  </a:lnTo>
                  <a:lnTo>
                    <a:pt x="23" y="46"/>
                  </a:lnTo>
                  <a:lnTo>
                    <a:pt x="27" y="46"/>
                  </a:lnTo>
                  <a:lnTo>
                    <a:pt x="27" y="44"/>
                  </a:lnTo>
                  <a:lnTo>
                    <a:pt x="26" y="42"/>
                  </a:lnTo>
                  <a:lnTo>
                    <a:pt x="23" y="40"/>
                  </a:lnTo>
                  <a:lnTo>
                    <a:pt x="22" y="38"/>
                  </a:lnTo>
                  <a:lnTo>
                    <a:pt x="21" y="37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4" y="35"/>
                  </a:lnTo>
                  <a:lnTo>
                    <a:pt x="10" y="30"/>
                  </a:lnTo>
                  <a:lnTo>
                    <a:pt x="5" y="27"/>
                  </a:lnTo>
                  <a:lnTo>
                    <a:pt x="1" y="24"/>
                  </a:lnTo>
                  <a:lnTo>
                    <a:pt x="0" y="22"/>
                  </a:lnTo>
                  <a:lnTo>
                    <a:pt x="0" y="17"/>
                  </a:lnTo>
                  <a:lnTo>
                    <a:pt x="3" y="11"/>
                  </a:lnTo>
                  <a:lnTo>
                    <a:pt x="9" y="7"/>
                  </a:lnTo>
                  <a:lnTo>
                    <a:pt x="6" y="3"/>
                  </a:lnTo>
                  <a:lnTo>
                    <a:pt x="3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1" name="Freeform 326">
              <a:extLst>
                <a:ext uri="{FF2B5EF4-FFF2-40B4-BE49-F238E27FC236}">
                  <a16:creationId xmlns:a16="http://schemas.microsoft.com/office/drawing/2014/main" id="{009EF5C7-2BD7-4C7B-A4DC-2BDD3652F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0919" y="3760901"/>
              <a:ext cx="4216" cy="4216"/>
            </a:xfrm>
            <a:custGeom>
              <a:avLst/>
              <a:gdLst>
                <a:gd name="T0" fmla="*/ 2 w 5"/>
                <a:gd name="T1" fmla="*/ 0 h 4"/>
                <a:gd name="T2" fmla="*/ 0 w 5"/>
                <a:gd name="T3" fmla="*/ 4 h 4"/>
                <a:gd name="T4" fmla="*/ 5 w 5"/>
                <a:gd name="T5" fmla="*/ 4 h 4"/>
                <a:gd name="T6" fmla="*/ 4 w 5"/>
                <a:gd name="T7" fmla="*/ 1 h 4"/>
                <a:gd name="T8" fmla="*/ 2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2" y="0"/>
                  </a:moveTo>
                  <a:lnTo>
                    <a:pt x="0" y="4"/>
                  </a:lnTo>
                  <a:lnTo>
                    <a:pt x="5" y="4"/>
                  </a:lnTo>
                  <a:lnTo>
                    <a:pt x="4" y="1"/>
                  </a:lnTo>
                  <a:lnTo>
                    <a:pt x="2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2" name="Freeform 327">
              <a:extLst>
                <a:ext uri="{FF2B5EF4-FFF2-40B4-BE49-F238E27FC236}">
                  <a16:creationId xmlns:a16="http://schemas.microsoft.com/office/drawing/2014/main" id="{9CFF9274-4F91-4411-8B6F-553AB266A8B0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458" y="3756685"/>
              <a:ext cx="4216" cy="6324"/>
            </a:xfrm>
            <a:custGeom>
              <a:avLst/>
              <a:gdLst>
                <a:gd name="T0" fmla="*/ 0 w 5"/>
                <a:gd name="T1" fmla="*/ 2 h 4"/>
                <a:gd name="T2" fmla="*/ 0 w 5"/>
                <a:gd name="T3" fmla="*/ 4 h 4"/>
                <a:gd name="T4" fmla="*/ 3 w 5"/>
                <a:gd name="T5" fmla="*/ 4 h 4"/>
                <a:gd name="T6" fmla="*/ 5 w 5"/>
                <a:gd name="T7" fmla="*/ 4 h 4"/>
                <a:gd name="T8" fmla="*/ 5 w 5"/>
                <a:gd name="T9" fmla="*/ 2 h 4"/>
                <a:gd name="T10" fmla="*/ 5 w 5"/>
                <a:gd name="T11" fmla="*/ 0 h 4"/>
                <a:gd name="T12" fmla="*/ 3 w 5"/>
                <a:gd name="T13" fmla="*/ 2 h 4"/>
                <a:gd name="T14" fmla="*/ 0 w 5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4">
                  <a:moveTo>
                    <a:pt x="0" y="2"/>
                  </a:moveTo>
                  <a:lnTo>
                    <a:pt x="0" y="4"/>
                  </a:lnTo>
                  <a:lnTo>
                    <a:pt x="3" y="4"/>
                  </a:lnTo>
                  <a:lnTo>
                    <a:pt x="5" y="4"/>
                  </a:lnTo>
                  <a:lnTo>
                    <a:pt x="5" y="2"/>
                  </a:lnTo>
                  <a:lnTo>
                    <a:pt x="5" y="0"/>
                  </a:lnTo>
                  <a:lnTo>
                    <a:pt x="3" y="2"/>
                  </a:lnTo>
                  <a:lnTo>
                    <a:pt x="0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3" name="Freeform 328">
              <a:extLst>
                <a:ext uri="{FF2B5EF4-FFF2-40B4-BE49-F238E27FC236}">
                  <a16:creationId xmlns:a16="http://schemas.microsoft.com/office/drawing/2014/main" id="{9C1CC5D4-F4F1-445C-92D3-8FD1D104717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13077" y="3744037"/>
              <a:ext cx="4216" cy="6324"/>
            </a:xfrm>
            <a:custGeom>
              <a:avLst/>
              <a:gdLst>
                <a:gd name="T0" fmla="*/ 0 w 5"/>
                <a:gd name="T1" fmla="*/ 0 h 5"/>
                <a:gd name="T2" fmla="*/ 0 w 5"/>
                <a:gd name="T3" fmla="*/ 3 h 5"/>
                <a:gd name="T4" fmla="*/ 1 w 5"/>
                <a:gd name="T5" fmla="*/ 4 h 5"/>
                <a:gd name="T6" fmla="*/ 2 w 5"/>
                <a:gd name="T7" fmla="*/ 5 h 5"/>
                <a:gd name="T8" fmla="*/ 5 w 5"/>
                <a:gd name="T9" fmla="*/ 4 h 5"/>
                <a:gd name="T10" fmla="*/ 2 w 5"/>
                <a:gd name="T11" fmla="*/ 3 h 5"/>
                <a:gd name="T12" fmla="*/ 0 w 5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5">
                  <a:moveTo>
                    <a:pt x="0" y="0"/>
                  </a:moveTo>
                  <a:lnTo>
                    <a:pt x="0" y="3"/>
                  </a:lnTo>
                  <a:lnTo>
                    <a:pt x="1" y="4"/>
                  </a:lnTo>
                  <a:lnTo>
                    <a:pt x="2" y="5"/>
                  </a:lnTo>
                  <a:lnTo>
                    <a:pt x="5" y="4"/>
                  </a:ln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4" name="Freeform 329">
              <a:extLst>
                <a:ext uri="{FF2B5EF4-FFF2-40B4-BE49-F238E27FC236}">
                  <a16:creationId xmlns:a16="http://schemas.microsoft.com/office/drawing/2014/main" id="{E6D039E6-AEBE-45C1-80BA-AE29887AFF8E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4694" y="3693448"/>
              <a:ext cx="2109" cy="2109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1 h 3"/>
                <a:gd name="T4" fmla="*/ 3 w 3"/>
                <a:gd name="T5" fmla="*/ 3 h 3"/>
                <a:gd name="T6" fmla="*/ 0 w 3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1"/>
                  </a:lnTo>
                  <a:lnTo>
                    <a:pt x="3" y="3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5" name="Freeform 330">
              <a:extLst>
                <a:ext uri="{FF2B5EF4-FFF2-40B4-BE49-F238E27FC236}">
                  <a16:creationId xmlns:a16="http://schemas.microsoft.com/office/drawing/2014/main" id="{9954D19D-3A27-4BC5-897B-B300587801F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2098" y="3676585"/>
              <a:ext cx="14756" cy="25295"/>
            </a:xfrm>
            <a:custGeom>
              <a:avLst/>
              <a:gdLst>
                <a:gd name="T0" fmla="*/ 3 w 14"/>
                <a:gd name="T1" fmla="*/ 25 h 25"/>
                <a:gd name="T2" fmla="*/ 4 w 14"/>
                <a:gd name="T3" fmla="*/ 22 h 25"/>
                <a:gd name="T4" fmla="*/ 5 w 14"/>
                <a:gd name="T5" fmla="*/ 19 h 25"/>
                <a:gd name="T6" fmla="*/ 5 w 14"/>
                <a:gd name="T7" fmla="*/ 15 h 25"/>
                <a:gd name="T8" fmla="*/ 7 w 14"/>
                <a:gd name="T9" fmla="*/ 13 h 25"/>
                <a:gd name="T10" fmla="*/ 9 w 14"/>
                <a:gd name="T11" fmla="*/ 10 h 25"/>
                <a:gd name="T12" fmla="*/ 13 w 14"/>
                <a:gd name="T13" fmla="*/ 7 h 25"/>
                <a:gd name="T14" fmla="*/ 14 w 14"/>
                <a:gd name="T15" fmla="*/ 4 h 25"/>
                <a:gd name="T16" fmla="*/ 14 w 14"/>
                <a:gd name="T17" fmla="*/ 0 h 25"/>
                <a:gd name="T18" fmla="*/ 12 w 14"/>
                <a:gd name="T19" fmla="*/ 2 h 25"/>
                <a:gd name="T20" fmla="*/ 9 w 14"/>
                <a:gd name="T21" fmla="*/ 4 h 25"/>
                <a:gd name="T22" fmla="*/ 7 w 14"/>
                <a:gd name="T23" fmla="*/ 7 h 25"/>
                <a:gd name="T24" fmla="*/ 4 w 14"/>
                <a:gd name="T25" fmla="*/ 4 h 25"/>
                <a:gd name="T26" fmla="*/ 5 w 14"/>
                <a:gd name="T27" fmla="*/ 9 h 25"/>
                <a:gd name="T28" fmla="*/ 4 w 14"/>
                <a:gd name="T29" fmla="*/ 10 h 25"/>
                <a:gd name="T30" fmla="*/ 3 w 14"/>
                <a:gd name="T31" fmla="*/ 13 h 25"/>
                <a:gd name="T32" fmla="*/ 0 w 14"/>
                <a:gd name="T33" fmla="*/ 19 h 25"/>
                <a:gd name="T34" fmla="*/ 2 w 14"/>
                <a:gd name="T35" fmla="*/ 22 h 25"/>
                <a:gd name="T36" fmla="*/ 3 w 14"/>
                <a:gd name="T3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" h="25">
                  <a:moveTo>
                    <a:pt x="3" y="25"/>
                  </a:moveTo>
                  <a:lnTo>
                    <a:pt x="4" y="22"/>
                  </a:lnTo>
                  <a:lnTo>
                    <a:pt x="5" y="19"/>
                  </a:lnTo>
                  <a:lnTo>
                    <a:pt x="5" y="15"/>
                  </a:lnTo>
                  <a:lnTo>
                    <a:pt x="7" y="13"/>
                  </a:lnTo>
                  <a:lnTo>
                    <a:pt x="9" y="10"/>
                  </a:lnTo>
                  <a:lnTo>
                    <a:pt x="13" y="7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12" y="2"/>
                  </a:lnTo>
                  <a:lnTo>
                    <a:pt x="9" y="4"/>
                  </a:lnTo>
                  <a:lnTo>
                    <a:pt x="7" y="7"/>
                  </a:lnTo>
                  <a:lnTo>
                    <a:pt x="4" y="4"/>
                  </a:lnTo>
                  <a:lnTo>
                    <a:pt x="5" y="9"/>
                  </a:lnTo>
                  <a:lnTo>
                    <a:pt x="4" y="10"/>
                  </a:lnTo>
                  <a:lnTo>
                    <a:pt x="3" y="13"/>
                  </a:lnTo>
                  <a:lnTo>
                    <a:pt x="0" y="19"/>
                  </a:lnTo>
                  <a:lnTo>
                    <a:pt x="2" y="22"/>
                  </a:lnTo>
                  <a:lnTo>
                    <a:pt x="3" y="2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6" name="Freeform 331">
              <a:extLst>
                <a:ext uri="{FF2B5EF4-FFF2-40B4-BE49-F238E27FC236}">
                  <a16:creationId xmlns:a16="http://schemas.microsoft.com/office/drawing/2014/main" id="{21D6616A-79FC-4FAC-92C4-5DA417822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8961" y="3655506"/>
              <a:ext cx="2109" cy="2109"/>
            </a:xfrm>
            <a:custGeom>
              <a:avLst/>
              <a:gdLst>
                <a:gd name="T0" fmla="*/ 0 w 4"/>
                <a:gd name="T1" fmla="*/ 2 h 3"/>
                <a:gd name="T2" fmla="*/ 1 w 4"/>
                <a:gd name="T3" fmla="*/ 3 h 3"/>
                <a:gd name="T4" fmla="*/ 4 w 4"/>
                <a:gd name="T5" fmla="*/ 0 h 3"/>
                <a:gd name="T6" fmla="*/ 0 w 4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2"/>
                  </a:moveTo>
                  <a:lnTo>
                    <a:pt x="1" y="3"/>
                  </a:lnTo>
                  <a:lnTo>
                    <a:pt x="4" y="0"/>
                  </a:lnTo>
                  <a:lnTo>
                    <a:pt x="0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7" name="Freeform 332">
              <a:extLst>
                <a:ext uri="{FF2B5EF4-FFF2-40B4-BE49-F238E27FC236}">
                  <a16:creationId xmlns:a16="http://schemas.microsoft.com/office/drawing/2014/main" id="{4A9BBAAB-9893-4F3F-92F7-C397B5E04D17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5284" y="3638643"/>
              <a:ext cx="4216" cy="6324"/>
            </a:xfrm>
            <a:custGeom>
              <a:avLst/>
              <a:gdLst>
                <a:gd name="T0" fmla="*/ 0 w 4"/>
                <a:gd name="T1" fmla="*/ 0 h 6"/>
                <a:gd name="T2" fmla="*/ 0 w 4"/>
                <a:gd name="T3" fmla="*/ 2 h 6"/>
                <a:gd name="T4" fmla="*/ 0 w 4"/>
                <a:gd name="T5" fmla="*/ 3 h 6"/>
                <a:gd name="T6" fmla="*/ 3 w 4"/>
                <a:gd name="T7" fmla="*/ 6 h 6"/>
                <a:gd name="T8" fmla="*/ 4 w 4"/>
                <a:gd name="T9" fmla="*/ 6 h 6"/>
                <a:gd name="T10" fmla="*/ 0 w 4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lnTo>
                    <a:pt x="0" y="2"/>
                  </a:lnTo>
                  <a:lnTo>
                    <a:pt x="0" y="3"/>
                  </a:lnTo>
                  <a:lnTo>
                    <a:pt x="3" y="6"/>
                  </a:ln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8" name="Freeform 333">
              <a:extLst>
                <a:ext uri="{FF2B5EF4-FFF2-40B4-BE49-F238E27FC236}">
                  <a16:creationId xmlns:a16="http://schemas.microsoft.com/office/drawing/2014/main" id="{1E7762B6-C7CF-4C55-84C3-8458CA48DB3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500" y="3628104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4 w 4"/>
                <a:gd name="T3" fmla="*/ 2 h 2"/>
                <a:gd name="T4" fmla="*/ 0 w 4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4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9" name="Freeform 334">
              <a:extLst>
                <a:ext uri="{FF2B5EF4-FFF2-40B4-BE49-F238E27FC236}">
                  <a16:creationId xmlns:a16="http://schemas.microsoft.com/office/drawing/2014/main" id="{B01A7D32-E39E-4C39-A2B3-6EBEB74E932F}"/>
                </a:ext>
              </a:extLst>
            </p:cNvPr>
            <p:cNvSpPr>
              <a:spLocks/>
            </p:cNvSpPr>
            <p:nvPr/>
          </p:nvSpPr>
          <p:spPr bwMode="auto">
            <a:xfrm>
              <a:off x="9601608" y="3617564"/>
              <a:ext cx="10540" cy="14756"/>
            </a:xfrm>
            <a:custGeom>
              <a:avLst/>
              <a:gdLst>
                <a:gd name="T0" fmla="*/ 9 w 11"/>
                <a:gd name="T1" fmla="*/ 0 h 13"/>
                <a:gd name="T2" fmla="*/ 6 w 11"/>
                <a:gd name="T3" fmla="*/ 2 h 13"/>
                <a:gd name="T4" fmla="*/ 2 w 11"/>
                <a:gd name="T5" fmla="*/ 6 h 13"/>
                <a:gd name="T6" fmla="*/ 0 w 11"/>
                <a:gd name="T7" fmla="*/ 7 h 13"/>
                <a:gd name="T8" fmla="*/ 0 w 11"/>
                <a:gd name="T9" fmla="*/ 10 h 13"/>
                <a:gd name="T10" fmla="*/ 0 w 11"/>
                <a:gd name="T11" fmla="*/ 11 h 13"/>
                <a:gd name="T12" fmla="*/ 2 w 11"/>
                <a:gd name="T13" fmla="*/ 12 h 13"/>
                <a:gd name="T14" fmla="*/ 4 w 11"/>
                <a:gd name="T15" fmla="*/ 13 h 13"/>
                <a:gd name="T16" fmla="*/ 6 w 11"/>
                <a:gd name="T17" fmla="*/ 12 h 13"/>
                <a:gd name="T18" fmla="*/ 4 w 11"/>
                <a:gd name="T19" fmla="*/ 10 h 13"/>
                <a:gd name="T20" fmla="*/ 6 w 11"/>
                <a:gd name="T21" fmla="*/ 7 h 13"/>
                <a:gd name="T22" fmla="*/ 7 w 11"/>
                <a:gd name="T23" fmla="*/ 6 h 13"/>
                <a:gd name="T24" fmla="*/ 9 w 11"/>
                <a:gd name="T25" fmla="*/ 5 h 13"/>
                <a:gd name="T26" fmla="*/ 11 w 11"/>
                <a:gd name="T27" fmla="*/ 3 h 13"/>
                <a:gd name="T28" fmla="*/ 9 w 11"/>
                <a:gd name="T2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13">
                  <a:moveTo>
                    <a:pt x="9" y="0"/>
                  </a:moveTo>
                  <a:lnTo>
                    <a:pt x="6" y="2"/>
                  </a:lnTo>
                  <a:lnTo>
                    <a:pt x="2" y="6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1"/>
                  </a:lnTo>
                  <a:lnTo>
                    <a:pt x="2" y="12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4" y="10"/>
                  </a:lnTo>
                  <a:lnTo>
                    <a:pt x="6" y="7"/>
                  </a:lnTo>
                  <a:lnTo>
                    <a:pt x="7" y="6"/>
                  </a:lnTo>
                  <a:lnTo>
                    <a:pt x="9" y="5"/>
                  </a:lnTo>
                  <a:lnTo>
                    <a:pt x="11" y="3"/>
                  </a:lnTo>
                  <a:lnTo>
                    <a:pt x="9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0" name="Freeform 335">
              <a:extLst>
                <a:ext uri="{FF2B5EF4-FFF2-40B4-BE49-F238E27FC236}">
                  <a16:creationId xmlns:a16="http://schemas.microsoft.com/office/drawing/2014/main" id="{07F404F6-E693-4300-893B-277A640DF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7831" y="3402558"/>
              <a:ext cx="4216" cy="12647"/>
            </a:xfrm>
            <a:custGeom>
              <a:avLst/>
              <a:gdLst>
                <a:gd name="T0" fmla="*/ 4 w 5"/>
                <a:gd name="T1" fmla="*/ 0 h 11"/>
                <a:gd name="T2" fmla="*/ 0 w 5"/>
                <a:gd name="T3" fmla="*/ 2 h 11"/>
                <a:gd name="T4" fmla="*/ 0 w 5"/>
                <a:gd name="T5" fmla="*/ 6 h 11"/>
                <a:gd name="T6" fmla="*/ 3 w 5"/>
                <a:gd name="T7" fmla="*/ 9 h 11"/>
                <a:gd name="T8" fmla="*/ 5 w 5"/>
                <a:gd name="T9" fmla="*/ 11 h 11"/>
                <a:gd name="T10" fmla="*/ 4 w 5"/>
                <a:gd name="T11" fmla="*/ 6 h 11"/>
                <a:gd name="T12" fmla="*/ 4 w 5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1">
                  <a:moveTo>
                    <a:pt x="4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3" y="9"/>
                  </a:lnTo>
                  <a:lnTo>
                    <a:pt x="5" y="11"/>
                  </a:lnTo>
                  <a:lnTo>
                    <a:pt x="4" y="6"/>
                  </a:lnTo>
                  <a:lnTo>
                    <a:pt x="4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1" name="Freeform 336">
              <a:extLst>
                <a:ext uri="{FF2B5EF4-FFF2-40B4-BE49-F238E27FC236}">
                  <a16:creationId xmlns:a16="http://schemas.microsoft.com/office/drawing/2014/main" id="{ECD302C9-7930-47AE-96CF-B97F38A717DA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7831" y="3417314"/>
              <a:ext cx="4216" cy="6324"/>
            </a:xfrm>
            <a:custGeom>
              <a:avLst/>
              <a:gdLst>
                <a:gd name="T0" fmla="*/ 3 w 3"/>
                <a:gd name="T1" fmla="*/ 2 h 5"/>
                <a:gd name="T2" fmla="*/ 2 w 3"/>
                <a:gd name="T3" fmla="*/ 0 h 5"/>
                <a:gd name="T4" fmla="*/ 0 w 3"/>
                <a:gd name="T5" fmla="*/ 0 h 5"/>
                <a:gd name="T6" fmla="*/ 1 w 3"/>
                <a:gd name="T7" fmla="*/ 4 h 5"/>
                <a:gd name="T8" fmla="*/ 3 w 3"/>
                <a:gd name="T9" fmla="*/ 5 h 5"/>
                <a:gd name="T10" fmla="*/ 3 w 3"/>
                <a:gd name="T11" fmla="*/ 4 h 5"/>
                <a:gd name="T12" fmla="*/ 3 w 3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5">
                  <a:moveTo>
                    <a:pt x="3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1" y="4"/>
                  </a:lnTo>
                  <a:lnTo>
                    <a:pt x="3" y="5"/>
                  </a:lnTo>
                  <a:lnTo>
                    <a:pt x="3" y="4"/>
                  </a:lnTo>
                  <a:lnTo>
                    <a:pt x="3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2" name="Freeform 337">
              <a:extLst>
                <a:ext uri="{FF2B5EF4-FFF2-40B4-BE49-F238E27FC236}">
                  <a16:creationId xmlns:a16="http://schemas.microsoft.com/office/drawing/2014/main" id="{42BB66A8-C4D3-4C38-A1FC-9E83D07EE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32047" y="3470011"/>
              <a:ext cx="8432" cy="6324"/>
            </a:xfrm>
            <a:custGeom>
              <a:avLst/>
              <a:gdLst>
                <a:gd name="T0" fmla="*/ 2 w 8"/>
                <a:gd name="T1" fmla="*/ 2 h 6"/>
                <a:gd name="T2" fmla="*/ 3 w 8"/>
                <a:gd name="T3" fmla="*/ 6 h 6"/>
                <a:gd name="T4" fmla="*/ 8 w 8"/>
                <a:gd name="T5" fmla="*/ 3 h 6"/>
                <a:gd name="T6" fmla="*/ 7 w 8"/>
                <a:gd name="T7" fmla="*/ 2 h 6"/>
                <a:gd name="T8" fmla="*/ 4 w 8"/>
                <a:gd name="T9" fmla="*/ 1 h 6"/>
                <a:gd name="T10" fmla="*/ 0 w 8"/>
                <a:gd name="T11" fmla="*/ 0 h 6"/>
                <a:gd name="T12" fmla="*/ 2 w 8"/>
                <a:gd name="T13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6">
                  <a:moveTo>
                    <a:pt x="2" y="2"/>
                  </a:moveTo>
                  <a:lnTo>
                    <a:pt x="3" y="6"/>
                  </a:lnTo>
                  <a:lnTo>
                    <a:pt x="8" y="3"/>
                  </a:lnTo>
                  <a:lnTo>
                    <a:pt x="7" y="2"/>
                  </a:lnTo>
                  <a:lnTo>
                    <a:pt x="4" y="1"/>
                  </a:lnTo>
                  <a:lnTo>
                    <a:pt x="0" y="0"/>
                  </a:lnTo>
                  <a:lnTo>
                    <a:pt x="2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3" name="Freeform 347">
              <a:extLst>
                <a:ext uri="{FF2B5EF4-FFF2-40B4-BE49-F238E27FC236}">
                  <a16:creationId xmlns:a16="http://schemas.microsoft.com/office/drawing/2014/main" id="{5AC8C8B1-9CA1-46E2-A1F9-16DD56D33210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2147" y="3552219"/>
              <a:ext cx="8432" cy="6324"/>
            </a:xfrm>
            <a:custGeom>
              <a:avLst/>
              <a:gdLst>
                <a:gd name="T0" fmla="*/ 2 w 7"/>
                <a:gd name="T1" fmla="*/ 0 h 6"/>
                <a:gd name="T2" fmla="*/ 0 w 7"/>
                <a:gd name="T3" fmla="*/ 1 h 6"/>
                <a:gd name="T4" fmla="*/ 1 w 7"/>
                <a:gd name="T5" fmla="*/ 4 h 6"/>
                <a:gd name="T6" fmla="*/ 2 w 7"/>
                <a:gd name="T7" fmla="*/ 5 h 6"/>
                <a:gd name="T8" fmla="*/ 5 w 7"/>
                <a:gd name="T9" fmla="*/ 6 h 6"/>
                <a:gd name="T10" fmla="*/ 7 w 7"/>
                <a:gd name="T11" fmla="*/ 6 h 6"/>
                <a:gd name="T12" fmla="*/ 7 w 7"/>
                <a:gd name="T13" fmla="*/ 4 h 6"/>
                <a:gd name="T14" fmla="*/ 5 w 7"/>
                <a:gd name="T15" fmla="*/ 1 h 6"/>
                <a:gd name="T16" fmla="*/ 2 w 7"/>
                <a:gd name="T1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">
                  <a:moveTo>
                    <a:pt x="2" y="0"/>
                  </a:moveTo>
                  <a:lnTo>
                    <a:pt x="0" y="1"/>
                  </a:lnTo>
                  <a:lnTo>
                    <a:pt x="1" y="4"/>
                  </a:lnTo>
                  <a:lnTo>
                    <a:pt x="2" y="5"/>
                  </a:lnTo>
                  <a:lnTo>
                    <a:pt x="5" y="6"/>
                  </a:lnTo>
                  <a:lnTo>
                    <a:pt x="7" y="6"/>
                  </a:lnTo>
                  <a:lnTo>
                    <a:pt x="7" y="4"/>
                  </a:lnTo>
                  <a:lnTo>
                    <a:pt x="5" y="1"/>
                  </a:lnTo>
                  <a:lnTo>
                    <a:pt x="2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4" name="Freeform 353">
              <a:extLst>
                <a:ext uri="{FF2B5EF4-FFF2-40B4-BE49-F238E27FC236}">
                  <a16:creationId xmlns:a16="http://schemas.microsoft.com/office/drawing/2014/main" id="{68013AB5-7955-4666-9BE4-951C5DF2D071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4795" y="3537463"/>
              <a:ext cx="4216" cy="14756"/>
            </a:xfrm>
            <a:custGeom>
              <a:avLst/>
              <a:gdLst>
                <a:gd name="T0" fmla="*/ 1 w 4"/>
                <a:gd name="T1" fmla="*/ 0 h 14"/>
                <a:gd name="T2" fmla="*/ 0 w 4"/>
                <a:gd name="T3" fmla="*/ 3 h 14"/>
                <a:gd name="T4" fmla="*/ 0 w 4"/>
                <a:gd name="T5" fmla="*/ 8 h 14"/>
                <a:gd name="T6" fmla="*/ 0 w 4"/>
                <a:gd name="T7" fmla="*/ 13 h 14"/>
                <a:gd name="T8" fmla="*/ 1 w 4"/>
                <a:gd name="T9" fmla="*/ 14 h 14"/>
                <a:gd name="T10" fmla="*/ 4 w 4"/>
                <a:gd name="T11" fmla="*/ 14 h 14"/>
                <a:gd name="T12" fmla="*/ 2 w 4"/>
                <a:gd name="T13" fmla="*/ 11 h 14"/>
                <a:gd name="T14" fmla="*/ 2 w 4"/>
                <a:gd name="T15" fmla="*/ 7 h 14"/>
                <a:gd name="T16" fmla="*/ 2 w 4"/>
                <a:gd name="T17" fmla="*/ 3 h 14"/>
                <a:gd name="T18" fmla="*/ 1 w 4"/>
                <a:gd name="T1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4">
                  <a:moveTo>
                    <a:pt x="1" y="0"/>
                  </a:moveTo>
                  <a:lnTo>
                    <a:pt x="0" y="3"/>
                  </a:lnTo>
                  <a:lnTo>
                    <a:pt x="0" y="8"/>
                  </a:lnTo>
                  <a:lnTo>
                    <a:pt x="0" y="13"/>
                  </a:lnTo>
                  <a:lnTo>
                    <a:pt x="1" y="14"/>
                  </a:lnTo>
                  <a:lnTo>
                    <a:pt x="4" y="14"/>
                  </a:lnTo>
                  <a:lnTo>
                    <a:pt x="2" y="11"/>
                  </a:lnTo>
                  <a:lnTo>
                    <a:pt x="2" y="7"/>
                  </a:lnTo>
                  <a:lnTo>
                    <a:pt x="2" y="3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5" name="Freeform 422">
              <a:extLst>
                <a:ext uri="{FF2B5EF4-FFF2-40B4-BE49-F238E27FC236}">
                  <a16:creationId xmlns:a16="http://schemas.microsoft.com/office/drawing/2014/main" id="{C1551709-2881-4BB2-9EEE-B1F7CB71B931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9967" y="3900022"/>
              <a:ext cx="263488" cy="512220"/>
            </a:xfrm>
            <a:custGeom>
              <a:avLst/>
              <a:gdLst>
                <a:gd name="T0" fmla="*/ 10 w 251"/>
                <a:gd name="T1" fmla="*/ 54 h 485"/>
                <a:gd name="T2" fmla="*/ 9 w 251"/>
                <a:gd name="T3" fmla="*/ 31 h 485"/>
                <a:gd name="T4" fmla="*/ 30 w 251"/>
                <a:gd name="T5" fmla="*/ 23 h 485"/>
                <a:gd name="T6" fmla="*/ 42 w 251"/>
                <a:gd name="T7" fmla="*/ 13 h 485"/>
                <a:gd name="T8" fmla="*/ 53 w 251"/>
                <a:gd name="T9" fmla="*/ 2 h 485"/>
                <a:gd name="T10" fmla="*/ 75 w 251"/>
                <a:gd name="T11" fmla="*/ 1 h 485"/>
                <a:gd name="T12" fmla="*/ 84 w 251"/>
                <a:gd name="T13" fmla="*/ 13 h 485"/>
                <a:gd name="T14" fmla="*/ 93 w 251"/>
                <a:gd name="T15" fmla="*/ 29 h 485"/>
                <a:gd name="T16" fmla="*/ 103 w 251"/>
                <a:gd name="T17" fmla="*/ 26 h 485"/>
                <a:gd name="T18" fmla="*/ 110 w 251"/>
                <a:gd name="T19" fmla="*/ 51 h 485"/>
                <a:gd name="T20" fmla="*/ 109 w 251"/>
                <a:gd name="T21" fmla="*/ 66 h 485"/>
                <a:gd name="T22" fmla="*/ 114 w 251"/>
                <a:gd name="T23" fmla="*/ 96 h 485"/>
                <a:gd name="T24" fmla="*/ 136 w 251"/>
                <a:gd name="T25" fmla="*/ 74 h 485"/>
                <a:gd name="T26" fmla="*/ 153 w 251"/>
                <a:gd name="T27" fmla="*/ 81 h 485"/>
                <a:gd name="T28" fmla="*/ 166 w 251"/>
                <a:gd name="T29" fmla="*/ 75 h 485"/>
                <a:gd name="T30" fmla="*/ 182 w 251"/>
                <a:gd name="T31" fmla="*/ 66 h 485"/>
                <a:gd name="T32" fmla="*/ 213 w 251"/>
                <a:gd name="T33" fmla="*/ 93 h 485"/>
                <a:gd name="T34" fmla="*/ 223 w 251"/>
                <a:gd name="T35" fmla="*/ 130 h 485"/>
                <a:gd name="T36" fmla="*/ 243 w 251"/>
                <a:gd name="T37" fmla="*/ 151 h 485"/>
                <a:gd name="T38" fmla="*/ 248 w 251"/>
                <a:gd name="T39" fmla="*/ 167 h 485"/>
                <a:gd name="T40" fmla="*/ 250 w 251"/>
                <a:gd name="T41" fmla="*/ 185 h 485"/>
                <a:gd name="T42" fmla="*/ 237 w 251"/>
                <a:gd name="T43" fmla="*/ 200 h 485"/>
                <a:gd name="T44" fmla="*/ 202 w 251"/>
                <a:gd name="T45" fmla="*/ 198 h 485"/>
                <a:gd name="T46" fmla="*/ 171 w 251"/>
                <a:gd name="T47" fmla="*/ 220 h 485"/>
                <a:gd name="T48" fmla="*/ 166 w 251"/>
                <a:gd name="T49" fmla="*/ 243 h 485"/>
                <a:gd name="T50" fmla="*/ 184 w 251"/>
                <a:gd name="T51" fmla="*/ 284 h 485"/>
                <a:gd name="T52" fmla="*/ 173 w 251"/>
                <a:gd name="T53" fmla="*/ 275 h 485"/>
                <a:gd name="T54" fmla="*/ 162 w 251"/>
                <a:gd name="T55" fmla="*/ 263 h 485"/>
                <a:gd name="T56" fmla="*/ 153 w 251"/>
                <a:gd name="T57" fmla="*/ 258 h 485"/>
                <a:gd name="T58" fmla="*/ 126 w 251"/>
                <a:gd name="T59" fmla="*/ 254 h 485"/>
                <a:gd name="T60" fmla="*/ 123 w 251"/>
                <a:gd name="T61" fmla="*/ 227 h 485"/>
                <a:gd name="T62" fmla="*/ 101 w 251"/>
                <a:gd name="T63" fmla="*/ 228 h 485"/>
                <a:gd name="T64" fmla="*/ 96 w 251"/>
                <a:gd name="T65" fmla="*/ 252 h 485"/>
                <a:gd name="T66" fmla="*/ 94 w 251"/>
                <a:gd name="T67" fmla="*/ 283 h 485"/>
                <a:gd name="T68" fmla="*/ 82 w 251"/>
                <a:gd name="T69" fmla="*/ 326 h 485"/>
                <a:gd name="T70" fmla="*/ 82 w 251"/>
                <a:gd name="T71" fmla="*/ 356 h 485"/>
                <a:gd name="T72" fmla="*/ 90 w 251"/>
                <a:gd name="T73" fmla="*/ 369 h 485"/>
                <a:gd name="T74" fmla="*/ 107 w 251"/>
                <a:gd name="T75" fmla="*/ 388 h 485"/>
                <a:gd name="T76" fmla="*/ 122 w 251"/>
                <a:gd name="T77" fmla="*/ 425 h 485"/>
                <a:gd name="T78" fmla="*/ 114 w 251"/>
                <a:gd name="T79" fmla="*/ 417 h 485"/>
                <a:gd name="T80" fmla="*/ 126 w 251"/>
                <a:gd name="T81" fmla="*/ 436 h 485"/>
                <a:gd name="T82" fmla="*/ 154 w 251"/>
                <a:gd name="T83" fmla="*/ 447 h 485"/>
                <a:gd name="T84" fmla="*/ 171 w 251"/>
                <a:gd name="T85" fmla="*/ 469 h 485"/>
                <a:gd name="T86" fmla="*/ 159 w 251"/>
                <a:gd name="T87" fmla="*/ 479 h 485"/>
                <a:gd name="T88" fmla="*/ 141 w 251"/>
                <a:gd name="T89" fmla="*/ 482 h 485"/>
                <a:gd name="T90" fmla="*/ 135 w 251"/>
                <a:gd name="T91" fmla="*/ 462 h 485"/>
                <a:gd name="T92" fmla="*/ 116 w 251"/>
                <a:gd name="T93" fmla="*/ 452 h 485"/>
                <a:gd name="T94" fmla="*/ 103 w 251"/>
                <a:gd name="T95" fmla="*/ 446 h 485"/>
                <a:gd name="T96" fmla="*/ 96 w 251"/>
                <a:gd name="T97" fmla="*/ 431 h 485"/>
                <a:gd name="T98" fmla="*/ 87 w 251"/>
                <a:gd name="T99" fmla="*/ 419 h 485"/>
                <a:gd name="T100" fmla="*/ 77 w 251"/>
                <a:gd name="T101" fmla="*/ 408 h 485"/>
                <a:gd name="T102" fmla="*/ 66 w 251"/>
                <a:gd name="T103" fmla="*/ 397 h 485"/>
                <a:gd name="T104" fmla="*/ 56 w 251"/>
                <a:gd name="T105" fmla="*/ 382 h 485"/>
                <a:gd name="T106" fmla="*/ 72 w 251"/>
                <a:gd name="T107" fmla="*/ 316 h 485"/>
                <a:gd name="T108" fmla="*/ 89 w 251"/>
                <a:gd name="T109" fmla="*/ 285 h 485"/>
                <a:gd name="T110" fmla="*/ 79 w 251"/>
                <a:gd name="T111" fmla="*/ 259 h 485"/>
                <a:gd name="T112" fmla="*/ 69 w 251"/>
                <a:gd name="T113" fmla="*/ 219 h 485"/>
                <a:gd name="T114" fmla="*/ 37 w 251"/>
                <a:gd name="T115" fmla="*/ 173 h 485"/>
                <a:gd name="T116" fmla="*/ 47 w 251"/>
                <a:gd name="T117" fmla="*/ 163 h 485"/>
                <a:gd name="T118" fmla="*/ 50 w 251"/>
                <a:gd name="T119" fmla="*/ 141 h 485"/>
                <a:gd name="T120" fmla="*/ 40 w 251"/>
                <a:gd name="T121" fmla="*/ 117 h 485"/>
                <a:gd name="T122" fmla="*/ 14 w 251"/>
                <a:gd name="T123" fmla="*/ 83 h 485"/>
                <a:gd name="T124" fmla="*/ 0 w 251"/>
                <a:gd name="T125" fmla="*/ 6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1" h="485">
                  <a:moveTo>
                    <a:pt x="0" y="60"/>
                  </a:moveTo>
                  <a:lnTo>
                    <a:pt x="2" y="61"/>
                  </a:lnTo>
                  <a:lnTo>
                    <a:pt x="5" y="63"/>
                  </a:lnTo>
                  <a:lnTo>
                    <a:pt x="9" y="63"/>
                  </a:lnTo>
                  <a:lnTo>
                    <a:pt x="12" y="60"/>
                  </a:lnTo>
                  <a:lnTo>
                    <a:pt x="12" y="58"/>
                  </a:lnTo>
                  <a:lnTo>
                    <a:pt x="10" y="54"/>
                  </a:lnTo>
                  <a:lnTo>
                    <a:pt x="9" y="49"/>
                  </a:lnTo>
                  <a:lnTo>
                    <a:pt x="9" y="47"/>
                  </a:lnTo>
                  <a:lnTo>
                    <a:pt x="10" y="43"/>
                  </a:lnTo>
                  <a:lnTo>
                    <a:pt x="12" y="40"/>
                  </a:lnTo>
                  <a:lnTo>
                    <a:pt x="10" y="35"/>
                  </a:lnTo>
                  <a:lnTo>
                    <a:pt x="9" y="33"/>
                  </a:lnTo>
                  <a:lnTo>
                    <a:pt x="9" y="31"/>
                  </a:lnTo>
                  <a:lnTo>
                    <a:pt x="10" y="28"/>
                  </a:lnTo>
                  <a:lnTo>
                    <a:pt x="13" y="26"/>
                  </a:lnTo>
                  <a:lnTo>
                    <a:pt x="14" y="22"/>
                  </a:lnTo>
                  <a:lnTo>
                    <a:pt x="16" y="21"/>
                  </a:lnTo>
                  <a:lnTo>
                    <a:pt x="23" y="23"/>
                  </a:lnTo>
                  <a:lnTo>
                    <a:pt x="26" y="23"/>
                  </a:lnTo>
                  <a:lnTo>
                    <a:pt x="30" y="23"/>
                  </a:lnTo>
                  <a:lnTo>
                    <a:pt x="34" y="21"/>
                  </a:lnTo>
                  <a:lnTo>
                    <a:pt x="36" y="19"/>
                  </a:lnTo>
                  <a:lnTo>
                    <a:pt x="40" y="21"/>
                  </a:lnTo>
                  <a:lnTo>
                    <a:pt x="41" y="21"/>
                  </a:lnTo>
                  <a:lnTo>
                    <a:pt x="42" y="19"/>
                  </a:lnTo>
                  <a:lnTo>
                    <a:pt x="42" y="17"/>
                  </a:lnTo>
                  <a:lnTo>
                    <a:pt x="42" y="13"/>
                  </a:lnTo>
                  <a:lnTo>
                    <a:pt x="42" y="11"/>
                  </a:lnTo>
                  <a:lnTo>
                    <a:pt x="45" y="10"/>
                  </a:lnTo>
                  <a:lnTo>
                    <a:pt x="48" y="10"/>
                  </a:lnTo>
                  <a:lnTo>
                    <a:pt x="53" y="8"/>
                  </a:lnTo>
                  <a:lnTo>
                    <a:pt x="56" y="7"/>
                  </a:lnTo>
                  <a:lnTo>
                    <a:pt x="55" y="6"/>
                  </a:lnTo>
                  <a:lnTo>
                    <a:pt x="53" y="2"/>
                  </a:lnTo>
                  <a:lnTo>
                    <a:pt x="58" y="1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1" y="1"/>
                  </a:lnTo>
                  <a:lnTo>
                    <a:pt x="71" y="5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7" y="1"/>
                  </a:lnTo>
                  <a:lnTo>
                    <a:pt x="79" y="2"/>
                  </a:lnTo>
                  <a:lnTo>
                    <a:pt x="80" y="5"/>
                  </a:lnTo>
                  <a:lnTo>
                    <a:pt x="83" y="7"/>
                  </a:lnTo>
                  <a:lnTo>
                    <a:pt x="84" y="8"/>
                  </a:lnTo>
                  <a:lnTo>
                    <a:pt x="85" y="11"/>
                  </a:lnTo>
                  <a:lnTo>
                    <a:pt x="84" y="13"/>
                  </a:lnTo>
                  <a:lnTo>
                    <a:pt x="83" y="17"/>
                  </a:lnTo>
                  <a:lnTo>
                    <a:pt x="83" y="19"/>
                  </a:lnTo>
                  <a:lnTo>
                    <a:pt x="82" y="22"/>
                  </a:lnTo>
                  <a:lnTo>
                    <a:pt x="83" y="24"/>
                  </a:lnTo>
                  <a:lnTo>
                    <a:pt x="87" y="28"/>
                  </a:lnTo>
                  <a:lnTo>
                    <a:pt x="90" y="29"/>
                  </a:lnTo>
                  <a:lnTo>
                    <a:pt x="93" y="29"/>
                  </a:lnTo>
                  <a:lnTo>
                    <a:pt x="94" y="29"/>
                  </a:lnTo>
                  <a:lnTo>
                    <a:pt x="95" y="29"/>
                  </a:lnTo>
                  <a:lnTo>
                    <a:pt x="96" y="27"/>
                  </a:lnTo>
                  <a:lnTo>
                    <a:pt x="98" y="27"/>
                  </a:lnTo>
                  <a:lnTo>
                    <a:pt x="99" y="27"/>
                  </a:lnTo>
                  <a:lnTo>
                    <a:pt x="101" y="26"/>
                  </a:lnTo>
                  <a:lnTo>
                    <a:pt x="103" y="26"/>
                  </a:lnTo>
                  <a:lnTo>
                    <a:pt x="106" y="28"/>
                  </a:lnTo>
                  <a:lnTo>
                    <a:pt x="109" y="33"/>
                  </a:lnTo>
                  <a:lnTo>
                    <a:pt x="110" y="38"/>
                  </a:lnTo>
                  <a:lnTo>
                    <a:pt x="111" y="45"/>
                  </a:lnTo>
                  <a:lnTo>
                    <a:pt x="111" y="47"/>
                  </a:lnTo>
                  <a:lnTo>
                    <a:pt x="111" y="49"/>
                  </a:lnTo>
                  <a:lnTo>
                    <a:pt x="110" y="51"/>
                  </a:lnTo>
                  <a:lnTo>
                    <a:pt x="110" y="54"/>
                  </a:lnTo>
                  <a:lnTo>
                    <a:pt x="111" y="58"/>
                  </a:lnTo>
                  <a:lnTo>
                    <a:pt x="110" y="59"/>
                  </a:lnTo>
                  <a:lnTo>
                    <a:pt x="109" y="61"/>
                  </a:lnTo>
                  <a:lnTo>
                    <a:pt x="107" y="63"/>
                  </a:lnTo>
                  <a:lnTo>
                    <a:pt x="107" y="65"/>
                  </a:lnTo>
                  <a:lnTo>
                    <a:pt x="109" y="66"/>
                  </a:lnTo>
                  <a:lnTo>
                    <a:pt x="110" y="70"/>
                  </a:lnTo>
                  <a:lnTo>
                    <a:pt x="111" y="75"/>
                  </a:lnTo>
                  <a:lnTo>
                    <a:pt x="110" y="80"/>
                  </a:lnTo>
                  <a:lnTo>
                    <a:pt x="109" y="86"/>
                  </a:lnTo>
                  <a:lnTo>
                    <a:pt x="107" y="91"/>
                  </a:lnTo>
                  <a:lnTo>
                    <a:pt x="109" y="94"/>
                  </a:lnTo>
                  <a:lnTo>
                    <a:pt x="114" y="96"/>
                  </a:lnTo>
                  <a:lnTo>
                    <a:pt x="116" y="94"/>
                  </a:lnTo>
                  <a:lnTo>
                    <a:pt x="121" y="90"/>
                  </a:lnTo>
                  <a:lnTo>
                    <a:pt x="126" y="83"/>
                  </a:lnTo>
                  <a:lnTo>
                    <a:pt x="130" y="77"/>
                  </a:lnTo>
                  <a:lnTo>
                    <a:pt x="132" y="77"/>
                  </a:lnTo>
                  <a:lnTo>
                    <a:pt x="133" y="76"/>
                  </a:lnTo>
                  <a:lnTo>
                    <a:pt x="136" y="74"/>
                  </a:lnTo>
                  <a:lnTo>
                    <a:pt x="137" y="72"/>
                  </a:lnTo>
                  <a:lnTo>
                    <a:pt x="139" y="74"/>
                  </a:lnTo>
                  <a:lnTo>
                    <a:pt x="142" y="75"/>
                  </a:lnTo>
                  <a:lnTo>
                    <a:pt x="144" y="76"/>
                  </a:lnTo>
                  <a:lnTo>
                    <a:pt x="146" y="78"/>
                  </a:lnTo>
                  <a:lnTo>
                    <a:pt x="149" y="80"/>
                  </a:lnTo>
                  <a:lnTo>
                    <a:pt x="153" y="81"/>
                  </a:lnTo>
                  <a:lnTo>
                    <a:pt x="154" y="82"/>
                  </a:lnTo>
                  <a:lnTo>
                    <a:pt x="155" y="83"/>
                  </a:lnTo>
                  <a:lnTo>
                    <a:pt x="158" y="82"/>
                  </a:lnTo>
                  <a:lnTo>
                    <a:pt x="162" y="80"/>
                  </a:lnTo>
                  <a:lnTo>
                    <a:pt x="164" y="80"/>
                  </a:lnTo>
                  <a:lnTo>
                    <a:pt x="165" y="78"/>
                  </a:lnTo>
                  <a:lnTo>
                    <a:pt x="166" y="75"/>
                  </a:lnTo>
                  <a:lnTo>
                    <a:pt x="169" y="71"/>
                  </a:lnTo>
                  <a:lnTo>
                    <a:pt x="171" y="70"/>
                  </a:lnTo>
                  <a:lnTo>
                    <a:pt x="170" y="67"/>
                  </a:lnTo>
                  <a:lnTo>
                    <a:pt x="170" y="66"/>
                  </a:lnTo>
                  <a:lnTo>
                    <a:pt x="173" y="66"/>
                  </a:lnTo>
                  <a:lnTo>
                    <a:pt x="175" y="66"/>
                  </a:lnTo>
                  <a:lnTo>
                    <a:pt x="182" y="66"/>
                  </a:lnTo>
                  <a:lnTo>
                    <a:pt x="185" y="67"/>
                  </a:lnTo>
                  <a:lnTo>
                    <a:pt x="186" y="67"/>
                  </a:lnTo>
                  <a:lnTo>
                    <a:pt x="191" y="69"/>
                  </a:lnTo>
                  <a:lnTo>
                    <a:pt x="194" y="72"/>
                  </a:lnTo>
                  <a:lnTo>
                    <a:pt x="201" y="80"/>
                  </a:lnTo>
                  <a:lnTo>
                    <a:pt x="207" y="87"/>
                  </a:lnTo>
                  <a:lnTo>
                    <a:pt x="213" y="93"/>
                  </a:lnTo>
                  <a:lnTo>
                    <a:pt x="217" y="96"/>
                  </a:lnTo>
                  <a:lnTo>
                    <a:pt x="218" y="99"/>
                  </a:lnTo>
                  <a:lnTo>
                    <a:pt x="219" y="107"/>
                  </a:lnTo>
                  <a:lnTo>
                    <a:pt x="219" y="117"/>
                  </a:lnTo>
                  <a:lnTo>
                    <a:pt x="221" y="124"/>
                  </a:lnTo>
                  <a:lnTo>
                    <a:pt x="222" y="128"/>
                  </a:lnTo>
                  <a:lnTo>
                    <a:pt x="223" y="130"/>
                  </a:lnTo>
                  <a:lnTo>
                    <a:pt x="227" y="135"/>
                  </a:lnTo>
                  <a:lnTo>
                    <a:pt x="230" y="139"/>
                  </a:lnTo>
                  <a:lnTo>
                    <a:pt x="234" y="141"/>
                  </a:lnTo>
                  <a:lnTo>
                    <a:pt x="243" y="145"/>
                  </a:lnTo>
                  <a:lnTo>
                    <a:pt x="242" y="146"/>
                  </a:lnTo>
                  <a:lnTo>
                    <a:pt x="240" y="149"/>
                  </a:lnTo>
                  <a:lnTo>
                    <a:pt x="243" y="151"/>
                  </a:lnTo>
                  <a:lnTo>
                    <a:pt x="245" y="152"/>
                  </a:lnTo>
                  <a:lnTo>
                    <a:pt x="249" y="155"/>
                  </a:lnTo>
                  <a:lnTo>
                    <a:pt x="250" y="156"/>
                  </a:lnTo>
                  <a:lnTo>
                    <a:pt x="250" y="158"/>
                  </a:lnTo>
                  <a:lnTo>
                    <a:pt x="249" y="163"/>
                  </a:lnTo>
                  <a:lnTo>
                    <a:pt x="248" y="167"/>
                  </a:lnTo>
                  <a:lnTo>
                    <a:pt x="248" y="167"/>
                  </a:lnTo>
                  <a:lnTo>
                    <a:pt x="250" y="167"/>
                  </a:lnTo>
                  <a:lnTo>
                    <a:pt x="248" y="171"/>
                  </a:lnTo>
                  <a:lnTo>
                    <a:pt x="248" y="173"/>
                  </a:lnTo>
                  <a:lnTo>
                    <a:pt x="248" y="176"/>
                  </a:lnTo>
                  <a:lnTo>
                    <a:pt x="250" y="178"/>
                  </a:lnTo>
                  <a:lnTo>
                    <a:pt x="251" y="181"/>
                  </a:lnTo>
                  <a:lnTo>
                    <a:pt x="250" y="185"/>
                  </a:lnTo>
                  <a:lnTo>
                    <a:pt x="250" y="190"/>
                  </a:lnTo>
                  <a:lnTo>
                    <a:pt x="250" y="194"/>
                  </a:lnTo>
                  <a:lnTo>
                    <a:pt x="246" y="198"/>
                  </a:lnTo>
                  <a:lnTo>
                    <a:pt x="243" y="200"/>
                  </a:lnTo>
                  <a:lnTo>
                    <a:pt x="240" y="201"/>
                  </a:lnTo>
                  <a:lnTo>
                    <a:pt x="239" y="203"/>
                  </a:lnTo>
                  <a:lnTo>
                    <a:pt x="237" y="200"/>
                  </a:lnTo>
                  <a:lnTo>
                    <a:pt x="233" y="197"/>
                  </a:lnTo>
                  <a:lnTo>
                    <a:pt x="228" y="198"/>
                  </a:lnTo>
                  <a:lnTo>
                    <a:pt x="222" y="198"/>
                  </a:lnTo>
                  <a:lnTo>
                    <a:pt x="217" y="198"/>
                  </a:lnTo>
                  <a:lnTo>
                    <a:pt x="212" y="198"/>
                  </a:lnTo>
                  <a:lnTo>
                    <a:pt x="207" y="199"/>
                  </a:lnTo>
                  <a:lnTo>
                    <a:pt x="202" y="198"/>
                  </a:lnTo>
                  <a:lnTo>
                    <a:pt x="198" y="197"/>
                  </a:lnTo>
                  <a:lnTo>
                    <a:pt x="191" y="198"/>
                  </a:lnTo>
                  <a:lnTo>
                    <a:pt x="184" y="200"/>
                  </a:lnTo>
                  <a:lnTo>
                    <a:pt x="180" y="203"/>
                  </a:lnTo>
                  <a:lnTo>
                    <a:pt x="178" y="206"/>
                  </a:lnTo>
                  <a:lnTo>
                    <a:pt x="174" y="216"/>
                  </a:lnTo>
                  <a:lnTo>
                    <a:pt x="171" y="220"/>
                  </a:lnTo>
                  <a:lnTo>
                    <a:pt x="168" y="224"/>
                  </a:lnTo>
                  <a:lnTo>
                    <a:pt x="165" y="225"/>
                  </a:lnTo>
                  <a:lnTo>
                    <a:pt x="162" y="226"/>
                  </a:lnTo>
                  <a:lnTo>
                    <a:pt x="163" y="230"/>
                  </a:lnTo>
                  <a:lnTo>
                    <a:pt x="163" y="233"/>
                  </a:lnTo>
                  <a:lnTo>
                    <a:pt x="164" y="237"/>
                  </a:lnTo>
                  <a:lnTo>
                    <a:pt x="166" y="243"/>
                  </a:lnTo>
                  <a:lnTo>
                    <a:pt x="170" y="249"/>
                  </a:lnTo>
                  <a:lnTo>
                    <a:pt x="174" y="257"/>
                  </a:lnTo>
                  <a:lnTo>
                    <a:pt x="178" y="263"/>
                  </a:lnTo>
                  <a:lnTo>
                    <a:pt x="179" y="270"/>
                  </a:lnTo>
                  <a:lnTo>
                    <a:pt x="180" y="275"/>
                  </a:lnTo>
                  <a:lnTo>
                    <a:pt x="181" y="280"/>
                  </a:lnTo>
                  <a:lnTo>
                    <a:pt x="184" y="284"/>
                  </a:lnTo>
                  <a:lnTo>
                    <a:pt x="184" y="289"/>
                  </a:lnTo>
                  <a:lnTo>
                    <a:pt x="182" y="285"/>
                  </a:lnTo>
                  <a:lnTo>
                    <a:pt x="180" y="281"/>
                  </a:lnTo>
                  <a:lnTo>
                    <a:pt x="178" y="275"/>
                  </a:lnTo>
                  <a:lnTo>
                    <a:pt x="175" y="271"/>
                  </a:lnTo>
                  <a:lnTo>
                    <a:pt x="173" y="270"/>
                  </a:lnTo>
                  <a:lnTo>
                    <a:pt x="173" y="275"/>
                  </a:lnTo>
                  <a:lnTo>
                    <a:pt x="170" y="273"/>
                  </a:lnTo>
                  <a:lnTo>
                    <a:pt x="166" y="270"/>
                  </a:lnTo>
                  <a:lnTo>
                    <a:pt x="164" y="268"/>
                  </a:lnTo>
                  <a:lnTo>
                    <a:pt x="164" y="267"/>
                  </a:lnTo>
                  <a:lnTo>
                    <a:pt x="166" y="265"/>
                  </a:lnTo>
                  <a:lnTo>
                    <a:pt x="164" y="265"/>
                  </a:lnTo>
                  <a:lnTo>
                    <a:pt x="162" y="263"/>
                  </a:lnTo>
                  <a:lnTo>
                    <a:pt x="162" y="264"/>
                  </a:lnTo>
                  <a:lnTo>
                    <a:pt x="160" y="265"/>
                  </a:lnTo>
                  <a:lnTo>
                    <a:pt x="158" y="263"/>
                  </a:lnTo>
                  <a:lnTo>
                    <a:pt x="155" y="260"/>
                  </a:lnTo>
                  <a:lnTo>
                    <a:pt x="154" y="257"/>
                  </a:lnTo>
                  <a:lnTo>
                    <a:pt x="154" y="258"/>
                  </a:lnTo>
                  <a:lnTo>
                    <a:pt x="153" y="258"/>
                  </a:lnTo>
                  <a:lnTo>
                    <a:pt x="152" y="257"/>
                  </a:lnTo>
                  <a:lnTo>
                    <a:pt x="148" y="254"/>
                  </a:lnTo>
                  <a:lnTo>
                    <a:pt x="144" y="254"/>
                  </a:lnTo>
                  <a:lnTo>
                    <a:pt x="141" y="256"/>
                  </a:lnTo>
                  <a:lnTo>
                    <a:pt x="137" y="257"/>
                  </a:lnTo>
                  <a:lnTo>
                    <a:pt x="132" y="256"/>
                  </a:lnTo>
                  <a:lnTo>
                    <a:pt x="126" y="254"/>
                  </a:lnTo>
                  <a:lnTo>
                    <a:pt x="122" y="254"/>
                  </a:lnTo>
                  <a:lnTo>
                    <a:pt x="122" y="252"/>
                  </a:lnTo>
                  <a:lnTo>
                    <a:pt x="122" y="248"/>
                  </a:lnTo>
                  <a:lnTo>
                    <a:pt x="122" y="244"/>
                  </a:lnTo>
                  <a:lnTo>
                    <a:pt x="122" y="237"/>
                  </a:lnTo>
                  <a:lnTo>
                    <a:pt x="122" y="232"/>
                  </a:lnTo>
                  <a:lnTo>
                    <a:pt x="123" y="227"/>
                  </a:lnTo>
                  <a:lnTo>
                    <a:pt x="120" y="228"/>
                  </a:lnTo>
                  <a:lnTo>
                    <a:pt x="116" y="228"/>
                  </a:lnTo>
                  <a:lnTo>
                    <a:pt x="114" y="226"/>
                  </a:lnTo>
                  <a:lnTo>
                    <a:pt x="111" y="224"/>
                  </a:lnTo>
                  <a:lnTo>
                    <a:pt x="111" y="226"/>
                  </a:lnTo>
                  <a:lnTo>
                    <a:pt x="109" y="227"/>
                  </a:lnTo>
                  <a:lnTo>
                    <a:pt x="101" y="228"/>
                  </a:lnTo>
                  <a:lnTo>
                    <a:pt x="99" y="230"/>
                  </a:lnTo>
                  <a:lnTo>
                    <a:pt x="96" y="231"/>
                  </a:lnTo>
                  <a:lnTo>
                    <a:pt x="95" y="233"/>
                  </a:lnTo>
                  <a:lnTo>
                    <a:pt x="96" y="237"/>
                  </a:lnTo>
                  <a:lnTo>
                    <a:pt x="98" y="241"/>
                  </a:lnTo>
                  <a:lnTo>
                    <a:pt x="98" y="244"/>
                  </a:lnTo>
                  <a:lnTo>
                    <a:pt x="96" y="252"/>
                  </a:lnTo>
                  <a:lnTo>
                    <a:pt x="96" y="257"/>
                  </a:lnTo>
                  <a:lnTo>
                    <a:pt x="98" y="262"/>
                  </a:lnTo>
                  <a:lnTo>
                    <a:pt x="99" y="267"/>
                  </a:lnTo>
                  <a:lnTo>
                    <a:pt x="99" y="271"/>
                  </a:lnTo>
                  <a:lnTo>
                    <a:pt x="98" y="275"/>
                  </a:lnTo>
                  <a:lnTo>
                    <a:pt x="95" y="278"/>
                  </a:lnTo>
                  <a:lnTo>
                    <a:pt x="94" y="283"/>
                  </a:lnTo>
                  <a:lnTo>
                    <a:pt x="93" y="286"/>
                  </a:lnTo>
                  <a:lnTo>
                    <a:pt x="90" y="291"/>
                  </a:lnTo>
                  <a:lnTo>
                    <a:pt x="89" y="295"/>
                  </a:lnTo>
                  <a:lnTo>
                    <a:pt x="88" y="305"/>
                  </a:lnTo>
                  <a:lnTo>
                    <a:pt x="85" y="315"/>
                  </a:lnTo>
                  <a:lnTo>
                    <a:pt x="82" y="323"/>
                  </a:lnTo>
                  <a:lnTo>
                    <a:pt x="82" y="326"/>
                  </a:lnTo>
                  <a:lnTo>
                    <a:pt x="82" y="328"/>
                  </a:lnTo>
                  <a:lnTo>
                    <a:pt x="80" y="331"/>
                  </a:lnTo>
                  <a:lnTo>
                    <a:pt x="78" y="332"/>
                  </a:lnTo>
                  <a:lnTo>
                    <a:pt x="80" y="337"/>
                  </a:lnTo>
                  <a:lnTo>
                    <a:pt x="80" y="343"/>
                  </a:lnTo>
                  <a:lnTo>
                    <a:pt x="80" y="350"/>
                  </a:lnTo>
                  <a:lnTo>
                    <a:pt x="82" y="356"/>
                  </a:lnTo>
                  <a:lnTo>
                    <a:pt x="84" y="360"/>
                  </a:lnTo>
                  <a:lnTo>
                    <a:pt x="84" y="362"/>
                  </a:lnTo>
                  <a:lnTo>
                    <a:pt x="83" y="365"/>
                  </a:lnTo>
                  <a:lnTo>
                    <a:pt x="83" y="367"/>
                  </a:lnTo>
                  <a:lnTo>
                    <a:pt x="85" y="369"/>
                  </a:lnTo>
                  <a:lnTo>
                    <a:pt x="89" y="370"/>
                  </a:lnTo>
                  <a:lnTo>
                    <a:pt x="90" y="369"/>
                  </a:lnTo>
                  <a:lnTo>
                    <a:pt x="95" y="366"/>
                  </a:lnTo>
                  <a:lnTo>
                    <a:pt x="100" y="366"/>
                  </a:lnTo>
                  <a:lnTo>
                    <a:pt x="103" y="369"/>
                  </a:lnTo>
                  <a:lnTo>
                    <a:pt x="104" y="375"/>
                  </a:lnTo>
                  <a:lnTo>
                    <a:pt x="104" y="377"/>
                  </a:lnTo>
                  <a:lnTo>
                    <a:pt x="105" y="380"/>
                  </a:lnTo>
                  <a:lnTo>
                    <a:pt x="107" y="388"/>
                  </a:lnTo>
                  <a:lnTo>
                    <a:pt x="109" y="392"/>
                  </a:lnTo>
                  <a:lnTo>
                    <a:pt x="110" y="394"/>
                  </a:lnTo>
                  <a:lnTo>
                    <a:pt x="111" y="396"/>
                  </a:lnTo>
                  <a:lnTo>
                    <a:pt x="114" y="394"/>
                  </a:lnTo>
                  <a:lnTo>
                    <a:pt x="116" y="404"/>
                  </a:lnTo>
                  <a:lnTo>
                    <a:pt x="119" y="415"/>
                  </a:lnTo>
                  <a:lnTo>
                    <a:pt x="122" y="425"/>
                  </a:lnTo>
                  <a:lnTo>
                    <a:pt x="125" y="434"/>
                  </a:lnTo>
                  <a:lnTo>
                    <a:pt x="122" y="434"/>
                  </a:lnTo>
                  <a:lnTo>
                    <a:pt x="121" y="431"/>
                  </a:lnTo>
                  <a:lnTo>
                    <a:pt x="120" y="424"/>
                  </a:lnTo>
                  <a:lnTo>
                    <a:pt x="117" y="418"/>
                  </a:lnTo>
                  <a:lnTo>
                    <a:pt x="116" y="417"/>
                  </a:lnTo>
                  <a:lnTo>
                    <a:pt x="114" y="417"/>
                  </a:lnTo>
                  <a:lnTo>
                    <a:pt x="112" y="420"/>
                  </a:lnTo>
                  <a:lnTo>
                    <a:pt x="114" y="424"/>
                  </a:lnTo>
                  <a:lnTo>
                    <a:pt x="115" y="426"/>
                  </a:lnTo>
                  <a:lnTo>
                    <a:pt x="117" y="429"/>
                  </a:lnTo>
                  <a:lnTo>
                    <a:pt x="120" y="433"/>
                  </a:lnTo>
                  <a:lnTo>
                    <a:pt x="122" y="435"/>
                  </a:lnTo>
                  <a:lnTo>
                    <a:pt x="126" y="436"/>
                  </a:lnTo>
                  <a:lnTo>
                    <a:pt x="128" y="437"/>
                  </a:lnTo>
                  <a:lnTo>
                    <a:pt x="133" y="444"/>
                  </a:lnTo>
                  <a:lnTo>
                    <a:pt x="136" y="445"/>
                  </a:lnTo>
                  <a:lnTo>
                    <a:pt x="139" y="446"/>
                  </a:lnTo>
                  <a:lnTo>
                    <a:pt x="147" y="445"/>
                  </a:lnTo>
                  <a:lnTo>
                    <a:pt x="151" y="446"/>
                  </a:lnTo>
                  <a:lnTo>
                    <a:pt x="154" y="447"/>
                  </a:lnTo>
                  <a:lnTo>
                    <a:pt x="158" y="451"/>
                  </a:lnTo>
                  <a:lnTo>
                    <a:pt x="159" y="455"/>
                  </a:lnTo>
                  <a:lnTo>
                    <a:pt x="162" y="458"/>
                  </a:lnTo>
                  <a:lnTo>
                    <a:pt x="164" y="461"/>
                  </a:lnTo>
                  <a:lnTo>
                    <a:pt x="168" y="465"/>
                  </a:lnTo>
                  <a:lnTo>
                    <a:pt x="170" y="467"/>
                  </a:lnTo>
                  <a:lnTo>
                    <a:pt x="171" y="469"/>
                  </a:lnTo>
                  <a:lnTo>
                    <a:pt x="170" y="473"/>
                  </a:lnTo>
                  <a:lnTo>
                    <a:pt x="168" y="479"/>
                  </a:lnTo>
                  <a:lnTo>
                    <a:pt x="165" y="482"/>
                  </a:lnTo>
                  <a:lnTo>
                    <a:pt x="163" y="483"/>
                  </a:lnTo>
                  <a:lnTo>
                    <a:pt x="162" y="483"/>
                  </a:lnTo>
                  <a:lnTo>
                    <a:pt x="160" y="482"/>
                  </a:lnTo>
                  <a:lnTo>
                    <a:pt x="159" y="479"/>
                  </a:lnTo>
                  <a:lnTo>
                    <a:pt x="158" y="478"/>
                  </a:lnTo>
                  <a:lnTo>
                    <a:pt x="154" y="478"/>
                  </a:lnTo>
                  <a:lnTo>
                    <a:pt x="152" y="482"/>
                  </a:lnTo>
                  <a:lnTo>
                    <a:pt x="148" y="484"/>
                  </a:lnTo>
                  <a:lnTo>
                    <a:pt x="146" y="485"/>
                  </a:lnTo>
                  <a:lnTo>
                    <a:pt x="142" y="485"/>
                  </a:lnTo>
                  <a:lnTo>
                    <a:pt x="141" y="482"/>
                  </a:lnTo>
                  <a:lnTo>
                    <a:pt x="141" y="479"/>
                  </a:lnTo>
                  <a:lnTo>
                    <a:pt x="143" y="476"/>
                  </a:lnTo>
                  <a:lnTo>
                    <a:pt x="143" y="472"/>
                  </a:lnTo>
                  <a:lnTo>
                    <a:pt x="142" y="469"/>
                  </a:lnTo>
                  <a:lnTo>
                    <a:pt x="138" y="467"/>
                  </a:lnTo>
                  <a:lnTo>
                    <a:pt x="136" y="466"/>
                  </a:lnTo>
                  <a:lnTo>
                    <a:pt x="135" y="462"/>
                  </a:lnTo>
                  <a:lnTo>
                    <a:pt x="133" y="460"/>
                  </a:lnTo>
                  <a:lnTo>
                    <a:pt x="130" y="458"/>
                  </a:lnTo>
                  <a:lnTo>
                    <a:pt x="123" y="457"/>
                  </a:lnTo>
                  <a:lnTo>
                    <a:pt x="121" y="456"/>
                  </a:lnTo>
                  <a:lnTo>
                    <a:pt x="119" y="453"/>
                  </a:lnTo>
                  <a:lnTo>
                    <a:pt x="117" y="452"/>
                  </a:lnTo>
                  <a:lnTo>
                    <a:pt x="116" y="452"/>
                  </a:lnTo>
                  <a:lnTo>
                    <a:pt x="116" y="453"/>
                  </a:lnTo>
                  <a:lnTo>
                    <a:pt x="115" y="457"/>
                  </a:lnTo>
                  <a:lnTo>
                    <a:pt x="114" y="461"/>
                  </a:lnTo>
                  <a:lnTo>
                    <a:pt x="112" y="458"/>
                  </a:lnTo>
                  <a:lnTo>
                    <a:pt x="111" y="455"/>
                  </a:lnTo>
                  <a:lnTo>
                    <a:pt x="105" y="450"/>
                  </a:lnTo>
                  <a:lnTo>
                    <a:pt x="103" y="446"/>
                  </a:lnTo>
                  <a:lnTo>
                    <a:pt x="100" y="444"/>
                  </a:lnTo>
                  <a:lnTo>
                    <a:pt x="100" y="440"/>
                  </a:lnTo>
                  <a:lnTo>
                    <a:pt x="101" y="437"/>
                  </a:lnTo>
                  <a:lnTo>
                    <a:pt x="100" y="439"/>
                  </a:lnTo>
                  <a:lnTo>
                    <a:pt x="99" y="437"/>
                  </a:lnTo>
                  <a:lnTo>
                    <a:pt x="98" y="435"/>
                  </a:lnTo>
                  <a:lnTo>
                    <a:pt x="96" y="431"/>
                  </a:lnTo>
                  <a:lnTo>
                    <a:pt x="95" y="429"/>
                  </a:lnTo>
                  <a:lnTo>
                    <a:pt x="94" y="431"/>
                  </a:lnTo>
                  <a:lnTo>
                    <a:pt x="93" y="433"/>
                  </a:lnTo>
                  <a:lnTo>
                    <a:pt x="90" y="430"/>
                  </a:lnTo>
                  <a:lnTo>
                    <a:pt x="89" y="424"/>
                  </a:lnTo>
                  <a:lnTo>
                    <a:pt x="88" y="421"/>
                  </a:lnTo>
                  <a:lnTo>
                    <a:pt x="87" y="419"/>
                  </a:lnTo>
                  <a:lnTo>
                    <a:pt x="84" y="419"/>
                  </a:lnTo>
                  <a:lnTo>
                    <a:pt x="83" y="419"/>
                  </a:lnTo>
                  <a:lnTo>
                    <a:pt x="82" y="418"/>
                  </a:lnTo>
                  <a:lnTo>
                    <a:pt x="80" y="417"/>
                  </a:lnTo>
                  <a:lnTo>
                    <a:pt x="80" y="414"/>
                  </a:lnTo>
                  <a:lnTo>
                    <a:pt x="79" y="412"/>
                  </a:lnTo>
                  <a:lnTo>
                    <a:pt x="77" y="408"/>
                  </a:lnTo>
                  <a:lnTo>
                    <a:pt x="75" y="408"/>
                  </a:lnTo>
                  <a:lnTo>
                    <a:pt x="73" y="408"/>
                  </a:lnTo>
                  <a:lnTo>
                    <a:pt x="72" y="405"/>
                  </a:lnTo>
                  <a:lnTo>
                    <a:pt x="71" y="402"/>
                  </a:lnTo>
                  <a:lnTo>
                    <a:pt x="69" y="398"/>
                  </a:lnTo>
                  <a:lnTo>
                    <a:pt x="68" y="397"/>
                  </a:lnTo>
                  <a:lnTo>
                    <a:pt x="66" y="397"/>
                  </a:lnTo>
                  <a:lnTo>
                    <a:pt x="63" y="398"/>
                  </a:lnTo>
                  <a:lnTo>
                    <a:pt x="63" y="399"/>
                  </a:lnTo>
                  <a:lnTo>
                    <a:pt x="62" y="404"/>
                  </a:lnTo>
                  <a:lnTo>
                    <a:pt x="57" y="401"/>
                  </a:lnTo>
                  <a:lnTo>
                    <a:pt x="55" y="394"/>
                  </a:lnTo>
                  <a:lnTo>
                    <a:pt x="55" y="387"/>
                  </a:lnTo>
                  <a:lnTo>
                    <a:pt x="56" y="382"/>
                  </a:lnTo>
                  <a:lnTo>
                    <a:pt x="63" y="342"/>
                  </a:lnTo>
                  <a:lnTo>
                    <a:pt x="67" y="333"/>
                  </a:lnTo>
                  <a:lnTo>
                    <a:pt x="68" y="328"/>
                  </a:lnTo>
                  <a:lnTo>
                    <a:pt x="69" y="324"/>
                  </a:lnTo>
                  <a:lnTo>
                    <a:pt x="69" y="321"/>
                  </a:lnTo>
                  <a:lnTo>
                    <a:pt x="71" y="318"/>
                  </a:lnTo>
                  <a:lnTo>
                    <a:pt x="72" y="316"/>
                  </a:lnTo>
                  <a:lnTo>
                    <a:pt x="73" y="313"/>
                  </a:lnTo>
                  <a:lnTo>
                    <a:pt x="75" y="310"/>
                  </a:lnTo>
                  <a:lnTo>
                    <a:pt x="78" y="306"/>
                  </a:lnTo>
                  <a:lnTo>
                    <a:pt x="84" y="297"/>
                  </a:lnTo>
                  <a:lnTo>
                    <a:pt x="87" y="292"/>
                  </a:lnTo>
                  <a:lnTo>
                    <a:pt x="88" y="289"/>
                  </a:lnTo>
                  <a:lnTo>
                    <a:pt x="89" y="285"/>
                  </a:lnTo>
                  <a:lnTo>
                    <a:pt x="88" y="281"/>
                  </a:lnTo>
                  <a:lnTo>
                    <a:pt x="85" y="278"/>
                  </a:lnTo>
                  <a:lnTo>
                    <a:pt x="84" y="274"/>
                  </a:lnTo>
                  <a:lnTo>
                    <a:pt x="83" y="269"/>
                  </a:lnTo>
                  <a:lnTo>
                    <a:pt x="82" y="265"/>
                  </a:lnTo>
                  <a:lnTo>
                    <a:pt x="82" y="262"/>
                  </a:lnTo>
                  <a:lnTo>
                    <a:pt x="79" y="259"/>
                  </a:lnTo>
                  <a:lnTo>
                    <a:pt x="75" y="253"/>
                  </a:lnTo>
                  <a:lnTo>
                    <a:pt x="74" y="251"/>
                  </a:lnTo>
                  <a:lnTo>
                    <a:pt x="73" y="246"/>
                  </a:lnTo>
                  <a:lnTo>
                    <a:pt x="72" y="242"/>
                  </a:lnTo>
                  <a:lnTo>
                    <a:pt x="71" y="240"/>
                  </a:lnTo>
                  <a:lnTo>
                    <a:pt x="72" y="228"/>
                  </a:lnTo>
                  <a:lnTo>
                    <a:pt x="69" y="219"/>
                  </a:lnTo>
                  <a:lnTo>
                    <a:pt x="64" y="211"/>
                  </a:lnTo>
                  <a:lnTo>
                    <a:pt x="58" y="204"/>
                  </a:lnTo>
                  <a:lnTo>
                    <a:pt x="51" y="198"/>
                  </a:lnTo>
                  <a:lnTo>
                    <a:pt x="45" y="190"/>
                  </a:lnTo>
                  <a:lnTo>
                    <a:pt x="40" y="184"/>
                  </a:lnTo>
                  <a:lnTo>
                    <a:pt x="37" y="176"/>
                  </a:lnTo>
                  <a:lnTo>
                    <a:pt x="37" y="173"/>
                  </a:lnTo>
                  <a:lnTo>
                    <a:pt x="39" y="169"/>
                  </a:lnTo>
                  <a:lnTo>
                    <a:pt x="40" y="168"/>
                  </a:lnTo>
                  <a:lnTo>
                    <a:pt x="42" y="169"/>
                  </a:lnTo>
                  <a:lnTo>
                    <a:pt x="44" y="167"/>
                  </a:lnTo>
                  <a:lnTo>
                    <a:pt x="45" y="166"/>
                  </a:lnTo>
                  <a:lnTo>
                    <a:pt x="46" y="166"/>
                  </a:lnTo>
                  <a:lnTo>
                    <a:pt x="47" y="163"/>
                  </a:lnTo>
                  <a:lnTo>
                    <a:pt x="47" y="160"/>
                  </a:lnTo>
                  <a:lnTo>
                    <a:pt x="47" y="156"/>
                  </a:lnTo>
                  <a:lnTo>
                    <a:pt x="46" y="151"/>
                  </a:lnTo>
                  <a:lnTo>
                    <a:pt x="46" y="146"/>
                  </a:lnTo>
                  <a:lnTo>
                    <a:pt x="46" y="144"/>
                  </a:lnTo>
                  <a:lnTo>
                    <a:pt x="47" y="142"/>
                  </a:lnTo>
                  <a:lnTo>
                    <a:pt x="50" y="141"/>
                  </a:lnTo>
                  <a:lnTo>
                    <a:pt x="52" y="140"/>
                  </a:lnTo>
                  <a:lnTo>
                    <a:pt x="53" y="135"/>
                  </a:lnTo>
                  <a:lnTo>
                    <a:pt x="52" y="130"/>
                  </a:lnTo>
                  <a:lnTo>
                    <a:pt x="48" y="135"/>
                  </a:lnTo>
                  <a:lnTo>
                    <a:pt x="46" y="131"/>
                  </a:lnTo>
                  <a:lnTo>
                    <a:pt x="44" y="126"/>
                  </a:lnTo>
                  <a:lnTo>
                    <a:pt x="40" y="117"/>
                  </a:lnTo>
                  <a:lnTo>
                    <a:pt x="39" y="113"/>
                  </a:lnTo>
                  <a:lnTo>
                    <a:pt x="36" y="110"/>
                  </a:lnTo>
                  <a:lnTo>
                    <a:pt x="32" y="107"/>
                  </a:lnTo>
                  <a:lnTo>
                    <a:pt x="30" y="104"/>
                  </a:lnTo>
                  <a:lnTo>
                    <a:pt x="23" y="97"/>
                  </a:lnTo>
                  <a:lnTo>
                    <a:pt x="15" y="88"/>
                  </a:lnTo>
                  <a:lnTo>
                    <a:pt x="14" y="83"/>
                  </a:lnTo>
                  <a:lnTo>
                    <a:pt x="13" y="78"/>
                  </a:lnTo>
                  <a:lnTo>
                    <a:pt x="10" y="75"/>
                  </a:lnTo>
                  <a:lnTo>
                    <a:pt x="9" y="72"/>
                  </a:lnTo>
                  <a:lnTo>
                    <a:pt x="9" y="70"/>
                  </a:lnTo>
                  <a:lnTo>
                    <a:pt x="5" y="70"/>
                  </a:lnTo>
                  <a:lnTo>
                    <a:pt x="3" y="67"/>
                  </a:lnTo>
                  <a:lnTo>
                    <a:pt x="0" y="6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6" name="Freeform 661">
              <a:extLst>
                <a:ext uri="{FF2B5EF4-FFF2-40B4-BE49-F238E27FC236}">
                  <a16:creationId xmlns:a16="http://schemas.microsoft.com/office/drawing/2014/main" id="{4F1B6636-4024-4747-8F5F-008743FA0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2414" y="3897913"/>
              <a:ext cx="2109" cy="4216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1 h 2"/>
                <a:gd name="T4" fmla="*/ 1 w 1"/>
                <a:gd name="T5" fmla="*/ 2 h 2"/>
                <a:gd name="T6" fmla="*/ 0 w 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lnTo>
                    <a:pt x="0" y="1"/>
                  </a:lnTo>
                  <a:lnTo>
                    <a:pt x="1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7" name="Freeform 662">
              <a:extLst>
                <a:ext uri="{FF2B5EF4-FFF2-40B4-BE49-F238E27FC236}">
                  <a16:creationId xmlns:a16="http://schemas.microsoft.com/office/drawing/2014/main" id="{220BA298-8608-4608-BD02-C2E447D2351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8739" y="3910561"/>
              <a:ext cx="4216" cy="8432"/>
            </a:xfrm>
            <a:custGeom>
              <a:avLst/>
              <a:gdLst>
                <a:gd name="T0" fmla="*/ 2 w 4"/>
                <a:gd name="T1" fmla="*/ 2 h 7"/>
                <a:gd name="T2" fmla="*/ 4 w 4"/>
                <a:gd name="T3" fmla="*/ 7 h 7"/>
                <a:gd name="T4" fmla="*/ 3 w 4"/>
                <a:gd name="T5" fmla="*/ 4 h 7"/>
                <a:gd name="T6" fmla="*/ 0 w 4"/>
                <a:gd name="T7" fmla="*/ 0 h 7"/>
                <a:gd name="T8" fmla="*/ 2 w 4"/>
                <a:gd name="T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7">
                  <a:moveTo>
                    <a:pt x="2" y="2"/>
                  </a:moveTo>
                  <a:lnTo>
                    <a:pt x="4" y="7"/>
                  </a:lnTo>
                  <a:lnTo>
                    <a:pt x="3" y="4"/>
                  </a:lnTo>
                  <a:lnTo>
                    <a:pt x="0" y="0"/>
                  </a:lnTo>
                  <a:lnTo>
                    <a:pt x="2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8" name="Freeform 663">
              <a:extLst>
                <a:ext uri="{FF2B5EF4-FFF2-40B4-BE49-F238E27FC236}">
                  <a16:creationId xmlns:a16="http://schemas.microsoft.com/office/drawing/2014/main" id="{DCDA694A-E1DD-423E-A87B-FB3D48D61F2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3493" y="3914777"/>
              <a:ext cx="4216" cy="6324"/>
            </a:xfrm>
            <a:custGeom>
              <a:avLst/>
              <a:gdLst>
                <a:gd name="T0" fmla="*/ 0 w 4"/>
                <a:gd name="T1" fmla="*/ 0 h 6"/>
                <a:gd name="T2" fmla="*/ 0 w 4"/>
                <a:gd name="T3" fmla="*/ 1 h 6"/>
                <a:gd name="T4" fmla="*/ 1 w 4"/>
                <a:gd name="T5" fmla="*/ 3 h 6"/>
                <a:gd name="T6" fmla="*/ 4 w 4"/>
                <a:gd name="T7" fmla="*/ 6 h 6"/>
                <a:gd name="T8" fmla="*/ 3 w 4"/>
                <a:gd name="T9" fmla="*/ 2 h 6"/>
                <a:gd name="T10" fmla="*/ 0 w 4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lnTo>
                    <a:pt x="0" y="1"/>
                  </a:lnTo>
                  <a:lnTo>
                    <a:pt x="1" y="3"/>
                  </a:lnTo>
                  <a:lnTo>
                    <a:pt x="4" y="6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9" name="Freeform 664">
              <a:extLst>
                <a:ext uri="{FF2B5EF4-FFF2-40B4-BE49-F238E27FC236}">
                  <a16:creationId xmlns:a16="http://schemas.microsoft.com/office/drawing/2014/main" id="{87984C6C-EFED-4DDA-A035-9C59B3795D3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9818" y="3952719"/>
              <a:ext cx="8432" cy="6324"/>
            </a:xfrm>
            <a:custGeom>
              <a:avLst/>
              <a:gdLst>
                <a:gd name="T0" fmla="*/ 5 w 8"/>
                <a:gd name="T1" fmla="*/ 0 h 5"/>
                <a:gd name="T2" fmla="*/ 0 w 8"/>
                <a:gd name="T3" fmla="*/ 1 h 5"/>
                <a:gd name="T4" fmla="*/ 4 w 8"/>
                <a:gd name="T5" fmla="*/ 4 h 5"/>
                <a:gd name="T6" fmla="*/ 6 w 8"/>
                <a:gd name="T7" fmla="*/ 5 h 5"/>
                <a:gd name="T8" fmla="*/ 8 w 8"/>
                <a:gd name="T9" fmla="*/ 5 h 5"/>
                <a:gd name="T10" fmla="*/ 8 w 8"/>
                <a:gd name="T11" fmla="*/ 4 h 5"/>
                <a:gd name="T12" fmla="*/ 8 w 8"/>
                <a:gd name="T13" fmla="*/ 1 h 5"/>
                <a:gd name="T14" fmla="*/ 5 w 8"/>
                <a:gd name="T1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5">
                  <a:moveTo>
                    <a:pt x="5" y="0"/>
                  </a:moveTo>
                  <a:lnTo>
                    <a:pt x="0" y="1"/>
                  </a:lnTo>
                  <a:lnTo>
                    <a:pt x="4" y="4"/>
                  </a:lnTo>
                  <a:lnTo>
                    <a:pt x="6" y="5"/>
                  </a:lnTo>
                  <a:lnTo>
                    <a:pt x="8" y="5"/>
                  </a:lnTo>
                  <a:lnTo>
                    <a:pt x="8" y="4"/>
                  </a:lnTo>
                  <a:lnTo>
                    <a:pt x="8" y="1"/>
                  </a:lnTo>
                  <a:lnTo>
                    <a:pt x="5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0" name="Freeform 665">
              <a:extLst>
                <a:ext uri="{FF2B5EF4-FFF2-40B4-BE49-F238E27FC236}">
                  <a16:creationId xmlns:a16="http://schemas.microsoft.com/office/drawing/2014/main" id="{F199502D-45F1-454F-B6B4-BB8D5EA81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4033" y="3929532"/>
              <a:ext cx="8432" cy="8432"/>
            </a:xfrm>
            <a:custGeom>
              <a:avLst/>
              <a:gdLst>
                <a:gd name="T0" fmla="*/ 9 w 9"/>
                <a:gd name="T1" fmla="*/ 6 h 7"/>
                <a:gd name="T2" fmla="*/ 5 w 9"/>
                <a:gd name="T3" fmla="*/ 3 h 7"/>
                <a:gd name="T4" fmla="*/ 0 w 9"/>
                <a:gd name="T5" fmla="*/ 0 h 7"/>
                <a:gd name="T6" fmla="*/ 0 w 9"/>
                <a:gd name="T7" fmla="*/ 4 h 7"/>
                <a:gd name="T8" fmla="*/ 1 w 9"/>
                <a:gd name="T9" fmla="*/ 6 h 7"/>
                <a:gd name="T10" fmla="*/ 5 w 9"/>
                <a:gd name="T11" fmla="*/ 7 h 7"/>
                <a:gd name="T12" fmla="*/ 6 w 9"/>
                <a:gd name="T13" fmla="*/ 7 h 7"/>
                <a:gd name="T14" fmla="*/ 9 w 9"/>
                <a:gd name="T1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7">
                  <a:moveTo>
                    <a:pt x="9" y="6"/>
                  </a:moveTo>
                  <a:lnTo>
                    <a:pt x="5" y="3"/>
                  </a:lnTo>
                  <a:lnTo>
                    <a:pt x="0" y="0"/>
                  </a:lnTo>
                  <a:lnTo>
                    <a:pt x="0" y="4"/>
                  </a:lnTo>
                  <a:lnTo>
                    <a:pt x="1" y="6"/>
                  </a:lnTo>
                  <a:lnTo>
                    <a:pt x="5" y="7"/>
                  </a:lnTo>
                  <a:lnTo>
                    <a:pt x="6" y="7"/>
                  </a:lnTo>
                  <a:lnTo>
                    <a:pt x="9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1" name="Freeform 680">
              <a:extLst>
                <a:ext uri="{FF2B5EF4-FFF2-40B4-BE49-F238E27FC236}">
                  <a16:creationId xmlns:a16="http://schemas.microsoft.com/office/drawing/2014/main" id="{FC1D272F-E35A-4F87-BDC3-1F3BFA6ED28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1335" y="3617564"/>
              <a:ext cx="267704" cy="645017"/>
            </a:xfrm>
            <a:custGeom>
              <a:avLst/>
              <a:gdLst>
                <a:gd name="T0" fmla="*/ 9 w 254"/>
                <a:gd name="T1" fmla="*/ 227 h 612"/>
                <a:gd name="T2" fmla="*/ 18 w 254"/>
                <a:gd name="T3" fmla="*/ 216 h 612"/>
                <a:gd name="T4" fmla="*/ 19 w 254"/>
                <a:gd name="T5" fmla="*/ 190 h 612"/>
                <a:gd name="T6" fmla="*/ 25 w 254"/>
                <a:gd name="T7" fmla="*/ 150 h 612"/>
                <a:gd name="T8" fmla="*/ 52 w 254"/>
                <a:gd name="T9" fmla="*/ 125 h 612"/>
                <a:gd name="T10" fmla="*/ 60 w 254"/>
                <a:gd name="T11" fmla="*/ 85 h 612"/>
                <a:gd name="T12" fmla="*/ 66 w 254"/>
                <a:gd name="T13" fmla="*/ 59 h 612"/>
                <a:gd name="T14" fmla="*/ 97 w 254"/>
                <a:gd name="T15" fmla="*/ 39 h 612"/>
                <a:gd name="T16" fmla="*/ 100 w 254"/>
                <a:gd name="T17" fmla="*/ 33 h 612"/>
                <a:gd name="T18" fmla="*/ 110 w 254"/>
                <a:gd name="T19" fmla="*/ 8 h 612"/>
                <a:gd name="T20" fmla="*/ 137 w 254"/>
                <a:gd name="T21" fmla="*/ 27 h 612"/>
                <a:gd name="T22" fmla="*/ 161 w 254"/>
                <a:gd name="T23" fmla="*/ 72 h 612"/>
                <a:gd name="T24" fmla="*/ 158 w 254"/>
                <a:gd name="T25" fmla="*/ 88 h 612"/>
                <a:gd name="T26" fmla="*/ 148 w 254"/>
                <a:gd name="T27" fmla="*/ 101 h 612"/>
                <a:gd name="T28" fmla="*/ 137 w 254"/>
                <a:gd name="T29" fmla="*/ 124 h 612"/>
                <a:gd name="T30" fmla="*/ 141 w 254"/>
                <a:gd name="T31" fmla="*/ 151 h 612"/>
                <a:gd name="T32" fmla="*/ 177 w 254"/>
                <a:gd name="T33" fmla="*/ 144 h 612"/>
                <a:gd name="T34" fmla="*/ 178 w 254"/>
                <a:gd name="T35" fmla="*/ 165 h 612"/>
                <a:gd name="T36" fmla="*/ 200 w 254"/>
                <a:gd name="T37" fmla="*/ 182 h 612"/>
                <a:gd name="T38" fmla="*/ 196 w 254"/>
                <a:gd name="T39" fmla="*/ 212 h 612"/>
                <a:gd name="T40" fmla="*/ 222 w 254"/>
                <a:gd name="T41" fmla="*/ 226 h 612"/>
                <a:gd name="T42" fmla="*/ 238 w 254"/>
                <a:gd name="T43" fmla="*/ 232 h 612"/>
                <a:gd name="T44" fmla="*/ 246 w 254"/>
                <a:gd name="T45" fmla="*/ 238 h 612"/>
                <a:gd name="T46" fmla="*/ 236 w 254"/>
                <a:gd name="T47" fmla="*/ 254 h 612"/>
                <a:gd name="T48" fmla="*/ 215 w 254"/>
                <a:gd name="T49" fmla="*/ 274 h 612"/>
                <a:gd name="T50" fmla="*/ 200 w 254"/>
                <a:gd name="T51" fmla="*/ 289 h 612"/>
                <a:gd name="T52" fmla="*/ 174 w 254"/>
                <a:gd name="T53" fmla="*/ 289 h 612"/>
                <a:gd name="T54" fmla="*/ 169 w 254"/>
                <a:gd name="T55" fmla="*/ 315 h 612"/>
                <a:gd name="T56" fmla="*/ 162 w 254"/>
                <a:gd name="T57" fmla="*/ 335 h 612"/>
                <a:gd name="T58" fmla="*/ 183 w 254"/>
                <a:gd name="T59" fmla="*/ 366 h 612"/>
                <a:gd name="T60" fmla="*/ 211 w 254"/>
                <a:gd name="T61" fmla="*/ 398 h 612"/>
                <a:gd name="T62" fmla="*/ 206 w 254"/>
                <a:gd name="T63" fmla="*/ 424 h 612"/>
                <a:gd name="T64" fmla="*/ 198 w 254"/>
                <a:gd name="T65" fmla="*/ 447 h 612"/>
                <a:gd name="T66" fmla="*/ 231 w 254"/>
                <a:gd name="T67" fmla="*/ 504 h 612"/>
                <a:gd name="T68" fmla="*/ 243 w 254"/>
                <a:gd name="T69" fmla="*/ 539 h 612"/>
                <a:gd name="T70" fmla="*/ 228 w 254"/>
                <a:gd name="T71" fmla="*/ 587 h 612"/>
                <a:gd name="T72" fmla="*/ 217 w 254"/>
                <a:gd name="T73" fmla="*/ 592 h 612"/>
                <a:gd name="T74" fmla="*/ 223 w 254"/>
                <a:gd name="T75" fmla="*/ 567 h 612"/>
                <a:gd name="T76" fmla="*/ 220 w 254"/>
                <a:gd name="T77" fmla="*/ 551 h 612"/>
                <a:gd name="T78" fmla="*/ 217 w 254"/>
                <a:gd name="T79" fmla="*/ 538 h 612"/>
                <a:gd name="T80" fmla="*/ 215 w 254"/>
                <a:gd name="T81" fmla="*/ 514 h 612"/>
                <a:gd name="T82" fmla="*/ 200 w 254"/>
                <a:gd name="T83" fmla="*/ 494 h 612"/>
                <a:gd name="T84" fmla="*/ 190 w 254"/>
                <a:gd name="T85" fmla="*/ 457 h 612"/>
                <a:gd name="T86" fmla="*/ 178 w 254"/>
                <a:gd name="T87" fmla="*/ 415 h 612"/>
                <a:gd name="T88" fmla="*/ 167 w 254"/>
                <a:gd name="T89" fmla="*/ 394 h 612"/>
                <a:gd name="T90" fmla="*/ 150 w 254"/>
                <a:gd name="T91" fmla="*/ 369 h 612"/>
                <a:gd name="T92" fmla="*/ 139 w 254"/>
                <a:gd name="T93" fmla="*/ 396 h 612"/>
                <a:gd name="T94" fmla="*/ 135 w 254"/>
                <a:gd name="T95" fmla="*/ 401 h 612"/>
                <a:gd name="T96" fmla="*/ 120 w 254"/>
                <a:gd name="T97" fmla="*/ 417 h 612"/>
                <a:gd name="T98" fmla="*/ 109 w 254"/>
                <a:gd name="T99" fmla="*/ 414 h 612"/>
                <a:gd name="T100" fmla="*/ 105 w 254"/>
                <a:gd name="T101" fmla="*/ 409 h 612"/>
                <a:gd name="T102" fmla="*/ 98 w 254"/>
                <a:gd name="T103" fmla="*/ 408 h 612"/>
                <a:gd name="T104" fmla="*/ 92 w 254"/>
                <a:gd name="T105" fmla="*/ 412 h 612"/>
                <a:gd name="T106" fmla="*/ 84 w 254"/>
                <a:gd name="T107" fmla="*/ 409 h 612"/>
                <a:gd name="T108" fmla="*/ 81 w 254"/>
                <a:gd name="T109" fmla="*/ 382 h 612"/>
                <a:gd name="T110" fmla="*/ 78 w 254"/>
                <a:gd name="T111" fmla="*/ 344 h 612"/>
                <a:gd name="T112" fmla="*/ 62 w 254"/>
                <a:gd name="T113" fmla="*/ 315 h 612"/>
                <a:gd name="T114" fmla="*/ 55 w 254"/>
                <a:gd name="T115" fmla="*/ 316 h 612"/>
                <a:gd name="T116" fmla="*/ 56 w 254"/>
                <a:gd name="T117" fmla="*/ 306 h 612"/>
                <a:gd name="T118" fmla="*/ 46 w 254"/>
                <a:gd name="T119" fmla="*/ 290 h 612"/>
                <a:gd name="T120" fmla="*/ 35 w 254"/>
                <a:gd name="T121" fmla="*/ 286 h 612"/>
                <a:gd name="T122" fmla="*/ 28 w 254"/>
                <a:gd name="T123" fmla="*/ 269 h 612"/>
                <a:gd name="T124" fmla="*/ 17 w 254"/>
                <a:gd name="T125" fmla="*/ 262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4" h="612">
                  <a:moveTo>
                    <a:pt x="0" y="242"/>
                  </a:moveTo>
                  <a:lnTo>
                    <a:pt x="0" y="240"/>
                  </a:lnTo>
                  <a:lnTo>
                    <a:pt x="0" y="237"/>
                  </a:lnTo>
                  <a:lnTo>
                    <a:pt x="1" y="235"/>
                  </a:lnTo>
                  <a:lnTo>
                    <a:pt x="2" y="233"/>
                  </a:lnTo>
                  <a:lnTo>
                    <a:pt x="5" y="235"/>
                  </a:lnTo>
                  <a:lnTo>
                    <a:pt x="7" y="236"/>
                  </a:lnTo>
                  <a:lnTo>
                    <a:pt x="13" y="238"/>
                  </a:lnTo>
                  <a:lnTo>
                    <a:pt x="9" y="227"/>
                  </a:lnTo>
                  <a:lnTo>
                    <a:pt x="8" y="216"/>
                  </a:lnTo>
                  <a:lnTo>
                    <a:pt x="8" y="216"/>
                  </a:lnTo>
                  <a:lnTo>
                    <a:pt x="9" y="214"/>
                  </a:lnTo>
                  <a:lnTo>
                    <a:pt x="11" y="212"/>
                  </a:lnTo>
                  <a:lnTo>
                    <a:pt x="11" y="210"/>
                  </a:lnTo>
                  <a:lnTo>
                    <a:pt x="12" y="211"/>
                  </a:lnTo>
                  <a:lnTo>
                    <a:pt x="14" y="214"/>
                  </a:lnTo>
                  <a:lnTo>
                    <a:pt x="16" y="215"/>
                  </a:lnTo>
                  <a:lnTo>
                    <a:pt x="18" y="216"/>
                  </a:lnTo>
                  <a:lnTo>
                    <a:pt x="19" y="215"/>
                  </a:lnTo>
                  <a:lnTo>
                    <a:pt x="19" y="212"/>
                  </a:lnTo>
                  <a:lnTo>
                    <a:pt x="19" y="209"/>
                  </a:lnTo>
                  <a:lnTo>
                    <a:pt x="23" y="209"/>
                  </a:lnTo>
                  <a:lnTo>
                    <a:pt x="23" y="206"/>
                  </a:lnTo>
                  <a:lnTo>
                    <a:pt x="23" y="204"/>
                  </a:lnTo>
                  <a:lnTo>
                    <a:pt x="22" y="200"/>
                  </a:lnTo>
                  <a:lnTo>
                    <a:pt x="21" y="195"/>
                  </a:lnTo>
                  <a:lnTo>
                    <a:pt x="19" y="190"/>
                  </a:lnTo>
                  <a:lnTo>
                    <a:pt x="19" y="181"/>
                  </a:lnTo>
                  <a:lnTo>
                    <a:pt x="22" y="182"/>
                  </a:lnTo>
                  <a:lnTo>
                    <a:pt x="24" y="179"/>
                  </a:lnTo>
                  <a:lnTo>
                    <a:pt x="24" y="176"/>
                  </a:lnTo>
                  <a:lnTo>
                    <a:pt x="24" y="173"/>
                  </a:lnTo>
                  <a:lnTo>
                    <a:pt x="23" y="160"/>
                  </a:lnTo>
                  <a:lnTo>
                    <a:pt x="19" y="149"/>
                  </a:lnTo>
                  <a:lnTo>
                    <a:pt x="23" y="149"/>
                  </a:lnTo>
                  <a:lnTo>
                    <a:pt x="25" y="150"/>
                  </a:lnTo>
                  <a:lnTo>
                    <a:pt x="29" y="149"/>
                  </a:lnTo>
                  <a:lnTo>
                    <a:pt x="32" y="150"/>
                  </a:lnTo>
                  <a:lnTo>
                    <a:pt x="37" y="151"/>
                  </a:lnTo>
                  <a:lnTo>
                    <a:pt x="40" y="152"/>
                  </a:lnTo>
                  <a:lnTo>
                    <a:pt x="44" y="155"/>
                  </a:lnTo>
                  <a:lnTo>
                    <a:pt x="44" y="149"/>
                  </a:lnTo>
                  <a:lnTo>
                    <a:pt x="46" y="144"/>
                  </a:lnTo>
                  <a:lnTo>
                    <a:pt x="51" y="131"/>
                  </a:lnTo>
                  <a:lnTo>
                    <a:pt x="52" y="125"/>
                  </a:lnTo>
                  <a:lnTo>
                    <a:pt x="54" y="119"/>
                  </a:lnTo>
                  <a:lnTo>
                    <a:pt x="54" y="114"/>
                  </a:lnTo>
                  <a:lnTo>
                    <a:pt x="51" y="109"/>
                  </a:lnTo>
                  <a:lnTo>
                    <a:pt x="50" y="107"/>
                  </a:lnTo>
                  <a:lnTo>
                    <a:pt x="50" y="106"/>
                  </a:lnTo>
                  <a:lnTo>
                    <a:pt x="52" y="101"/>
                  </a:lnTo>
                  <a:lnTo>
                    <a:pt x="55" y="96"/>
                  </a:lnTo>
                  <a:lnTo>
                    <a:pt x="57" y="92"/>
                  </a:lnTo>
                  <a:lnTo>
                    <a:pt x="60" y="85"/>
                  </a:lnTo>
                  <a:lnTo>
                    <a:pt x="60" y="81"/>
                  </a:lnTo>
                  <a:lnTo>
                    <a:pt x="59" y="77"/>
                  </a:lnTo>
                  <a:lnTo>
                    <a:pt x="56" y="74"/>
                  </a:lnTo>
                  <a:lnTo>
                    <a:pt x="56" y="69"/>
                  </a:lnTo>
                  <a:lnTo>
                    <a:pt x="57" y="64"/>
                  </a:lnTo>
                  <a:lnTo>
                    <a:pt x="60" y="61"/>
                  </a:lnTo>
                  <a:lnTo>
                    <a:pt x="64" y="60"/>
                  </a:lnTo>
                  <a:lnTo>
                    <a:pt x="65" y="60"/>
                  </a:lnTo>
                  <a:lnTo>
                    <a:pt x="66" y="59"/>
                  </a:lnTo>
                  <a:lnTo>
                    <a:pt x="67" y="56"/>
                  </a:lnTo>
                  <a:lnTo>
                    <a:pt x="68" y="55"/>
                  </a:lnTo>
                  <a:lnTo>
                    <a:pt x="73" y="53"/>
                  </a:lnTo>
                  <a:lnTo>
                    <a:pt x="76" y="49"/>
                  </a:lnTo>
                  <a:lnTo>
                    <a:pt x="78" y="45"/>
                  </a:lnTo>
                  <a:lnTo>
                    <a:pt x="81" y="43"/>
                  </a:lnTo>
                  <a:lnTo>
                    <a:pt x="84" y="42"/>
                  </a:lnTo>
                  <a:lnTo>
                    <a:pt x="93" y="40"/>
                  </a:lnTo>
                  <a:lnTo>
                    <a:pt x="97" y="39"/>
                  </a:lnTo>
                  <a:lnTo>
                    <a:pt x="98" y="39"/>
                  </a:lnTo>
                  <a:lnTo>
                    <a:pt x="100" y="40"/>
                  </a:lnTo>
                  <a:lnTo>
                    <a:pt x="102" y="43"/>
                  </a:lnTo>
                  <a:lnTo>
                    <a:pt x="104" y="45"/>
                  </a:lnTo>
                  <a:lnTo>
                    <a:pt x="107" y="47"/>
                  </a:lnTo>
                  <a:lnTo>
                    <a:pt x="110" y="47"/>
                  </a:lnTo>
                  <a:lnTo>
                    <a:pt x="108" y="42"/>
                  </a:lnTo>
                  <a:lnTo>
                    <a:pt x="103" y="38"/>
                  </a:lnTo>
                  <a:lnTo>
                    <a:pt x="100" y="33"/>
                  </a:lnTo>
                  <a:lnTo>
                    <a:pt x="100" y="31"/>
                  </a:lnTo>
                  <a:lnTo>
                    <a:pt x="103" y="27"/>
                  </a:lnTo>
                  <a:lnTo>
                    <a:pt x="105" y="23"/>
                  </a:lnTo>
                  <a:lnTo>
                    <a:pt x="109" y="21"/>
                  </a:lnTo>
                  <a:lnTo>
                    <a:pt x="109" y="18"/>
                  </a:lnTo>
                  <a:lnTo>
                    <a:pt x="109" y="16"/>
                  </a:lnTo>
                  <a:lnTo>
                    <a:pt x="108" y="12"/>
                  </a:lnTo>
                  <a:lnTo>
                    <a:pt x="109" y="10"/>
                  </a:lnTo>
                  <a:lnTo>
                    <a:pt x="110" y="8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116" y="2"/>
                  </a:lnTo>
                  <a:lnTo>
                    <a:pt x="123" y="6"/>
                  </a:lnTo>
                  <a:lnTo>
                    <a:pt x="128" y="8"/>
                  </a:lnTo>
                  <a:lnTo>
                    <a:pt x="132" y="13"/>
                  </a:lnTo>
                  <a:lnTo>
                    <a:pt x="134" y="17"/>
                  </a:lnTo>
                  <a:lnTo>
                    <a:pt x="135" y="22"/>
                  </a:lnTo>
                  <a:lnTo>
                    <a:pt x="137" y="27"/>
                  </a:lnTo>
                  <a:lnTo>
                    <a:pt x="141" y="32"/>
                  </a:lnTo>
                  <a:lnTo>
                    <a:pt x="143" y="31"/>
                  </a:lnTo>
                  <a:lnTo>
                    <a:pt x="142" y="28"/>
                  </a:lnTo>
                  <a:lnTo>
                    <a:pt x="150" y="33"/>
                  </a:lnTo>
                  <a:lnTo>
                    <a:pt x="153" y="39"/>
                  </a:lnTo>
                  <a:lnTo>
                    <a:pt x="156" y="48"/>
                  </a:lnTo>
                  <a:lnTo>
                    <a:pt x="158" y="55"/>
                  </a:lnTo>
                  <a:lnTo>
                    <a:pt x="159" y="64"/>
                  </a:lnTo>
                  <a:lnTo>
                    <a:pt x="161" y="72"/>
                  </a:lnTo>
                  <a:lnTo>
                    <a:pt x="161" y="75"/>
                  </a:lnTo>
                  <a:lnTo>
                    <a:pt x="161" y="77"/>
                  </a:lnTo>
                  <a:lnTo>
                    <a:pt x="161" y="80"/>
                  </a:lnTo>
                  <a:lnTo>
                    <a:pt x="157" y="80"/>
                  </a:lnTo>
                  <a:lnTo>
                    <a:pt x="159" y="82"/>
                  </a:lnTo>
                  <a:lnTo>
                    <a:pt x="162" y="86"/>
                  </a:lnTo>
                  <a:lnTo>
                    <a:pt x="162" y="88"/>
                  </a:lnTo>
                  <a:lnTo>
                    <a:pt x="161" y="90"/>
                  </a:lnTo>
                  <a:lnTo>
                    <a:pt x="158" y="88"/>
                  </a:lnTo>
                  <a:lnTo>
                    <a:pt x="157" y="90"/>
                  </a:lnTo>
                  <a:lnTo>
                    <a:pt x="156" y="91"/>
                  </a:lnTo>
                  <a:lnTo>
                    <a:pt x="155" y="92"/>
                  </a:lnTo>
                  <a:lnTo>
                    <a:pt x="155" y="94"/>
                  </a:lnTo>
                  <a:lnTo>
                    <a:pt x="155" y="96"/>
                  </a:lnTo>
                  <a:lnTo>
                    <a:pt x="152" y="97"/>
                  </a:lnTo>
                  <a:lnTo>
                    <a:pt x="148" y="97"/>
                  </a:lnTo>
                  <a:lnTo>
                    <a:pt x="148" y="98"/>
                  </a:lnTo>
                  <a:lnTo>
                    <a:pt x="148" y="101"/>
                  </a:lnTo>
                  <a:lnTo>
                    <a:pt x="147" y="106"/>
                  </a:lnTo>
                  <a:lnTo>
                    <a:pt x="145" y="109"/>
                  </a:lnTo>
                  <a:lnTo>
                    <a:pt x="143" y="109"/>
                  </a:lnTo>
                  <a:lnTo>
                    <a:pt x="141" y="108"/>
                  </a:lnTo>
                  <a:lnTo>
                    <a:pt x="141" y="115"/>
                  </a:lnTo>
                  <a:lnTo>
                    <a:pt x="141" y="118"/>
                  </a:lnTo>
                  <a:lnTo>
                    <a:pt x="142" y="122"/>
                  </a:lnTo>
                  <a:lnTo>
                    <a:pt x="139" y="123"/>
                  </a:lnTo>
                  <a:lnTo>
                    <a:pt x="137" y="124"/>
                  </a:lnTo>
                  <a:lnTo>
                    <a:pt x="137" y="129"/>
                  </a:lnTo>
                  <a:lnTo>
                    <a:pt x="137" y="131"/>
                  </a:lnTo>
                  <a:lnTo>
                    <a:pt x="140" y="134"/>
                  </a:lnTo>
                  <a:lnTo>
                    <a:pt x="142" y="137"/>
                  </a:lnTo>
                  <a:lnTo>
                    <a:pt x="142" y="139"/>
                  </a:lnTo>
                  <a:lnTo>
                    <a:pt x="143" y="141"/>
                  </a:lnTo>
                  <a:lnTo>
                    <a:pt x="145" y="145"/>
                  </a:lnTo>
                  <a:lnTo>
                    <a:pt x="141" y="149"/>
                  </a:lnTo>
                  <a:lnTo>
                    <a:pt x="141" y="151"/>
                  </a:lnTo>
                  <a:lnTo>
                    <a:pt x="142" y="153"/>
                  </a:lnTo>
                  <a:lnTo>
                    <a:pt x="145" y="153"/>
                  </a:lnTo>
                  <a:lnTo>
                    <a:pt x="148" y="151"/>
                  </a:lnTo>
                  <a:lnTo>
                    <a:pt x="152" y="149"/>
                  </a:lnTo>
                  <a:lnTo>
                    <a:pt x="155" y="146"/>
                  </a:lnTo>
                  <a:lnTo>
                    <a:pt x="161" y="145"/>
                  </a:lnTo>
                  <a:lnTo>
                    <a:pt x="166" y="146"/>
                  </a:lnTo>
                  <a:lnTo>
                    <a:pt x="172" y="146"/>
                  </a:lnTo>
                  <a:lnTo>
                    <a:pt x="177" y="144"/>
                  </a:lnTo>
                  <a:lnTo>
                    <a:pt x="177" y="146"/>
                  </a:lnTo>
                  <a:lnTo>
                    <a:pt x="175" y="149"/>
                  </a:lnTo>
                  <a:lnTo>
                    <a:pt x="174" y="151"/>
                  </a:lnTo>
                  <a:lnTo>
                    <a:pt x="174" y="155"/>
                  </a:lnTo>
                  <a:lnTo>
                    <a:pt x="175" y="157"/>
                  </a:lnTo>
                  <a:lnTo>
                    <a:pt x="178" y="160"/>
                  </a:lnTo>
                  <a:lnTo>
                    <a:pt x="179" y="161"/>
                  </a:lnTo>
                  <a:lnTo>
                    <a:pt x="179" y="163"/>
                  </a:lnTo>
                  <a:lnTo>
                    <a:pt x="178" y="165"/>
                  </a:lnTo>
                  <a:lnTo>
                    <a:pt x="179" y="166"/>
                  </a:lnTo>
                  <a:lnTo>
                    <a:pt x="182" y="169"/>
                  </a:lnTo>
                  <a:lnTo>
                    <a:pt x="183" y="173"/>
                  </a:lnTo>
                  <a:lnTo>
                    <a:pt x="184" y="176"/>
                  </a:lnTo>
                  <a:lnTo>
                    <a:pt x="187" y="178"/>
                  </a:lnTo>
                  <a:lnTo>
                    <a:pt x="190" y="179"/>
                  </a:lnTo>
                  <a:lnTo>
                    <a:pt x="195" y="179"/>
                  </a:lnTo>
                  <a:lnTo>
                    <a:pt x="199" y="181"/>
                  </a:lnTo>
                  <a:lnTo>
                    <a:pt x="200" y="182"/>
                  </a:lnTo>
                  <a:lnTo>
                    <a:pt x="201" y="185"/>
                  </a:lnTo>
                  <a:lnTo>
                    <a:pt x="199" y="187"/>
                  </a:lnTo>
                  <a:lnTo>
                    <a:pt x="198" y="190"/>
                  </a:lnTo>
                  <a:lnTo>
                    <a:pt x="198" y="194"/>
                  </a:lnTo>
                  <a:lnTo>
                    <a:pt x="199" y="198"/>
                  </a:lnTo>
                  <a:lnTo>
                    <a:pt x="198" y="203"/>
                  </a:lnTo>
                  <a:lnTo>
                    <a:pt x="196" y="208"/>
                  </a:lnTo>
                  <a:lnTo>
                    <a:pt x="196" y="211"/>
                  </a:lnTo>
                  <a:lnTo>
                    <a:pt x="196" y="212"/>
                  </a:lnTo>
                  <a:lnTo>
                    <a:pt x="199" y="212"/>
                  </a:lnTo>
                  <a:lnTo>
                    <a:pt x="203" y="211"/>
                  </a:lnTo>
                  <a:lnTo>
                    <a:pt x="207" y="211"/>
                  </a:lnTo>
                  <a:lnTo>
                    <a:pt x="214" y="212"/>
                  </a:lnTo>
                  <a:lnTo>
                    <a:pt x="219" y="214"/>
                  </a:lnTo>
                  <a:lnTo>
                    <a:pt x="220" y="217"/>
                  </a:lnTo>
                  <a:lnTo>
                    <a:pt x="220" y="221"/>
                  </a:lnTo>
                  <a:lnTo>
                    <a:pt x="221" y="225"/>
                  </a:lnTo>
                  <a:lnTo>
                    <a:pt x="222" y="226"/>
                  </a:lnTo>
                  <a:lnTo>
                    <a:pt x="225" y="226"/>
                  </a:lnTo>
                  <a:lnTo>
                    <a:pt x="225" y="230"/>
                  </a:lnTo>
                  <a:lnTo>
                    <a:pt x="226" y="233"/>
                  </a:lnTo>
                  <a:lnTo>
                    <a:pt x="227" y="233"/>
                  </a:lnTo>
                  <a:lnTo>
                    <a:pt x="230" y="232"/>
                  </a:lnTo>
                  <a:lnTo>
                    <a:pt x="231" y="231"/>
                  </a:lnTo>
                  <a:lnTo>
                    <a:pt x="233" y="232"/>
                  </a:lnTo>
                  <a:lnTo>
                    <a:pt x="236" y="232"/>
                  </a:lnTo>
                  <a:lnTo>
                    <a:pt x="238" y="232"/>
                  </a:lnTo>
                  <a:lnTo>
                    <a:pt x="243" y="230"/>
                  </a:lnTo>
                  <a:lnTo>
                    <a:pt x="248" y="226"/>
                  </a:lnTo>
                  <a:lnTo>
                    <a:pt x="252" y="222"/>
                  </a:lnTo>
                  <a:lnTo>
                    <a:pt x="253" y="226"/>
                  </a:lnTo>
                  <a:lnTo>
                    <a:pt x="254" y="228"/>
                  </a:lnTo>
                  <a:lnTo>
                    <a:pt x="254" y="231"/>
                  </a:lnTo>
                  <a:lnTo>
                    <a:pt x="252" y="235"/>
                  </a:lnTo>
                  <a:lnTo>
                    <a:pt x="247" y="237"/>
                  </a:lnTo>
                  <a:lnTo>
                    <a:pt x="246" y="238"/>
                  </a:lnTo>
                  <a:lnTo>
                    <a:pt x="243" y="240"/>
                  </a:lnTo>
                  <a:lnTo>
                    <a:pt x="242" y="242"/>
                  </a:lnTo>
                  <a:lnTo>
                    <a:pt x="241" y="248"/>
                  </a:lnTo>
                  <a:lnTo>
                    <a:pt x="241" y="252"/>
                  </a:lnTo>
                  <a:lnTo>
                    <a:pt x="241" y="252"/>
                  </a:lnTo>
                  <a:lnTo>
                    <a:pt x="242" y="252"/>
                  </a:lnTo>
                  <a:lnTo>
                    <a:pt x="241" y="254"/>
                  </a:lnTo>
                  <a:lnTo>
                    <a:pt x="238" y="254"/>
                  </a:lnTo>
                  <a:lnTo>
                    <a:pt x="236" y="254"/>
                  </a:lnTo>
                  <a:lnTo>
                    <a:pt x="233" y="256"/>
                  </a:lnTo>
                  <a:lnTo>
                    <a:pt x="231" y="258"/>
                  </a:lnTo>
                  <a:lnTo>
                    <a:pt x="230" y="262"/>
                  </a:lnTo>
                  <a:lnTo>
                    <a:pt x="230" y="269"/>
                  </a:lnTo>
                  <a:lnTo>
                    <a:pt x="226" y="268"/>
                  </a:lnTo>
                  <a:lnTo>
                    <a:pt x="222" y="268"/>
                  </a:lnTo>
                  <a:lnTo>
                    <a:pt x="217" y="270"/>
                  </a:lnTo>
                  <a:lnTo>
                    <a:pt x="212" y="270"/>
                  </a:lnTo>
                  <a:lnTo>
                    <a:pt x="215" y="274"/>
                  </a:lnTo>
                  <a:lnTo>
                    <a:pt x="215" y="275"/>
                  </a:lnTo>
                  <a:lnTo>
                    <a:pt x="214" y="276"/>
                  </a:lnTo>
                  <a:lnTo>
                    <a:pt x="209" y="278"/>
                  </a:lnTo>
                  <a:lnTo>
                    <a:pt x="204" y="278"/>
                  </a:lnTo>
                  <a:lnTo>
                    <a:pt x="201" y="279"/>
                  </a:lnTo>
                  <a:lnTo>
                    <a:pt x="201" y="281"/>
                  </a:lnTo>
                  <a:lnTo>
                    <a:pt x="201" y="284"/>
                  </a:lnTo>
                  <a:lnTo>
                    <a:pt x="201" y="286"/>
                  </a:lnTo>
                  <a:lnTo>
                    <a:pt x="200" y="289"/>
                  </a:lnTo>
                  <a:lnTo>
                    <a:pt x="196" y="287"/>
                  </a:lnTo>
                  <a:lnTo>
                    <a:pt x="195" y="287"/>
                  </a:lnTo>
                  <a:lnTo>
                    <a:pt x="193" y="289"/>
                  </a:lnTo>
                  <a:lnTo>
                    <a:pt x="190" y="291"/>
                  </a:lnTo>
                  <a:lnTo>
                    <a:pt x="188" y="291"/>
                  </a:lnTo>
                  <a:lnTo>
                    <a:pt x="185" y="291"/>
                  </a:lnTo>
                  <a:lnTo>
                    <a:pt x="180" y="290"/>
                  </a:lnTo>
                  <a:lnTo>
                    <a:pt x="177" y="290"/>
                  </a:lnTo>
                  <a:lnTo>
                    <a:pt x="174" y="289"/>
                  </a:lnTo>
                  <a:lnTo>
                    <a:pt x="174" y="290"/>
                  </a:lnTo>
                  <a:lnTo>
                    <a:pt x="172" y="294"/>
                  </a:lnTo>
                  <a:lnTo>
                    <a:pt x="169" y="297"/>
                  </a:lnTo>
                  <a:lnTo>
                    <a:pt x="169" y="301"/>
                  </a:lnTo>
                  <a:lnTo>
                    <a:pt x="169" y="305"/>
                  </a:lnTo>
                  <a:lnTo>
                    <a:pt x="171" y="307"/>
                  </a:lnTo>
                  <a:lnTo>
                    <a:pt x="171" y="310"/>
                  </a:lnTo>
                  <a:lnTo>
                    <a:pt x="169" y="312"/>
                  </a:lnTo>
                  <a:lnTo>
                    <a:pt x="169" y="315"/>
                  </a:lnTo>
                  <a:lnTo>
                    <a:pt x="168" y="317"/>
                  </a:lnTo>
                  <a:lnTo>
                    <a:pt x="171" y="322"/>
                  </a:lnTo>
                  <a:lnTo>
                    <a:pt x="172" y="326"/>
                  </a:lnTo>
                  <a:lnTo>
                    <a:pt x="171" y="328"/>
                  </a:lnTo>
                  <a:lnTo>
                    <a:pt x="168" y="329"/>
                  </a:lnTo>
                  <a:lnTo>
                    <a:pt x="164" y="331"/>
                  </a:lnTo>
                  <a:lnTo>
                    <a:pt x="162" y="329"/>
                  </a:lnTo>
                  <a:lnTo>
                    <a:pt x="159" y="328"/>
                  </a:lnTo>
                  <a:lnTo>
                    <a:pt x="162" y="335"/>
                  </a:lnTo>
                  <a:lnTo>
                    <a:pt x="164" y="338"/>
                  </a:lnTo>
                  <a:lnTo>
                    <a:pt x="168" y="338"/>
                  </a:lnTo>
                  <a:lnTo>
                    <a:pt x="169" y="342"/>
                  </a:lnTo>
                  <a:lnTo>
                    <a:pt x="171" y="344"/>
                  </a:lnTo>
                  <a:lnTo>
                    <a:pt x="173" y="349"/>
                  </a:lnTo>
                  <a:lnTo>
                    <a:pt x="173" y="354"/>
                  </a:lnTo>
                  <a:lnTo>
                    <a:pt x="175" y="358"/>
                  </a:lnTo>
                  <a:lnTo>
                    <a:pt x="179" y="362"/>
                  </a:lnTo>
                  <a:lnTo>
                    <a:pt x="183" y="366"/>
                  </a:lnTo>
                  <a:lnTo>
                    <a:pt x="187" y="370"/>
                  </a:lnTo>
                  <a:lnTo>
                    <a:pt x="190" y="374"/>
                  </a:lnTo>
                  <a:lnTo>
                    <a:pt x="193" y="376"/>
                  </a:lnTo>
                  <a:lnTo>
                    <a:pt x="196" y="380"/>
                  </a:lnTo>
                  <a:lnTo>
                    <a:pt x="199" y="385"/>
                  </a:lnTo>
                  <a:lnTo>
                    <a:pt x="203" y="394"/>
                  </a:lnTo>
                  <a:lnTo>
                    <a:pt x="205" y="399"/>
                  </a:lnTo>
                  <a:lnTo>
                    <a:pt x="207" y="403"/>
                  </a:lnTo>
                  <a:lnTo>
                    <a:pt x="211" y="398"/>
                  </a:lnTo>
                  <a:lnTo>
                    <a:pt x="212" y="401"/>
                  </a:lnTo>
                  <a:lnTo>
                    <a:pt x="214" y="403"/>
                  </a:lnTo>
                  <a:lnTo>
                    <a:pt x="210" y="409"/>
                  </a:lnTo>
                  <a:lnTo>
                    <a:pt x="207" y="410"/>
                  </a:lnTo>
                  <a:lnTo>
                    <a:pt x="206" y="410"/>
                  </a:lnTo>
                  <a:lnTo>
                    <a:pt x="205" y="413"/>
                  </a:lnTo>
                  <a:lnTo>
                    <a:pt x="205" y="417"/>
                  </a:lnTo>
                  <a:lnTo>
                    <a:pt x="206" y="419"/>
                  </a:lnTo>
                  <a:lnTo>
                    <a:pt x="206" y="424"/>
                  </a:lnTo>
                  <a:lnTo>
                    <a:pt x="207" y="431"/>
                  </a:lnTo>
                  <a:lnTo>
                    <a:pt x="206" y="433"/>
                  </a:lnTo>
                  <a:lnTo>
                    <a:pt x="204" y="434"/>
                  </a:lnTo>
                  <a:lnTo>
                    <a:pt x="203" y="435"/>
                  </a:lnTo>
                  <a:lnTo>
                    <a:pt x="201" y="437"/>
                  </a:lnTo>
                  <a:lnTo>
                    <a:pt x="200" y="436"/>
                  </a:lnTo>
                  <a:lnTo>
                    <a:pt x="199" y="436"/>
                  </a:lnTo>
                  <a:lnTo>
                    <a:pt x="196" y="440"/>
                  </a:lnTo>
                  <a:lnTo>
                    <a:pt x="198" y="447"/>
                  </a:lnTo>
                  <a:lnTo>
                    <a:pt x="200" y="453"/>
                  </a:lnTo>
                  <a:lnTo>
                    <a:pt x="205" y="460"/>
                  </a:lnTo>
                  <a:lnTo>
                    <a:pt x="211" y="466"/>
                  </a:lnTo>
                  <a:lnTo>
                    <a:pt x="216" y="472"/>
                  </a:lnTo>
                  <a:lnTo>
                    <a:pt x="222" y="477"/>
                  </a:lnTo>
                  <a:lnTo>
                    <a:pt x="226" y="483"/>
                  </a:lnTo>
                  <a:lnTo>
                    <a:pt x="230" y="490"/>
                  </a:lnTo>
                  <a:lnTo>
                    <a:pt x="231" y="496"/>
                  </a:lnTo>
                  <a:lnTo>
                    <a:pt x="231" y="504"/>
                  </a:lnTo>
                  <a:lnTo>
                    <a:pt x="230" y="506"/>
                  </a:lnTo>
                  <a:lnTo>
                    <a:pt x="230" y="508"/>
                  </a:lnTo>
                  <a:lnTo>
                    <a:pt x="231" y="510"/>
                  </a:lnTo>
                  <a:lnTo>
                    <a:pt x="231" y="512"/>
                  </a:lnTo>
                  <a:lnTo>
                    <a:pt x="233" y="519"/>
                  </a:lnTo>
                  <a:lnTo>
                    <a:pt x="237" y="524"/>
                  </a:lnTo>
                  <a:lnTo>
                    <a:pt x="241" y="530"/>
                  </a:lnTo>
                  <a:lnTo>
                    <a:pt x="242" y="536"/>
                  </a:lnTo>
                  <a:lnTo>
                    <a:pt x="243" y="539"/>
                  </a:lnTo>
                  <a:lnTo>
                    <a:pt x="244" y="544"/>
                  </a:lnTo>
                  <a:lnTo>
                    <a:pt x="247" y="548"/>
                  </a:lnTo>
                  <a:lnTo>
                    <a:pt x="248" y="551"/>
                  </a:lnTo>
                  <a:lnTo>
                    <a:pt x="248" y="554"/>
                  </a:lnTo>
                  <a:lnTo>
                    <a:pt x="247" y="559"/>
                  </a:lnTo>
                  <a:lnTo>
                    <a:pt x="241" y="569"/>
                  </a:lnTo>
                  <a:lnTo>
                    <a:pt x="236" y="576"/>
                  </a:lnTo>
                  <a:lnTo>
                    <a:pt x="232" y="581"/>
                  </a:lnTo>
                  <a:lnTo>
                    <a:pt x="228" y="587"/>
                  </a:lnTo>
                  <a:lnTo>
                    <a:pt x="228" y="590"/>
                  </a:lnTo>
                  <a:lnTo>
                    <a:pt x="228" y="592"/>
                  </a:lnTo>
                  <a:lnTo>
                    <a:pt x="228" y="594"/>
                  </a:lnTo>
                  <a:lnTo>
                    <a:pt x="227" y="596"/>
                  </a:lnTo>
                  <a:lnTo>
                    <a:pt x="225" y="605"/>
                  </a:lnTo>
                  <a:lnTo>
                    <a:pt x="222" y="612"/>
                  </a:lnTo>
                  <a:lnTo>
                    <a:pt x="220" y="607"/>
                  </a:lnTo>
                  <a:lnTo>
                    <a:pt x="220" y="602"/>
                  </a:lnTo>
                  <a:lnTo>
                    <a:pt x="217" y="592"/>
                  </a:lnTo>
                  <a:lnTo>
                    <a:pt x="217" y="590"/>
                  </a:lnTo>
                  <a:lnTo>
                    <a:pt x="217" y="589"/>
                  </a:lnTo>
                  <a:lnTo>
                    <a:pt x="219" y="587"/>
                  </a:lnTo>
                  <a:lnTo>
                    <a:pt x="220" y="586"/>
                  </a:lnTo>
                  <a:lnTo>
                    <a:pt x="220" y="585"/>
                  </a:lnTo>
                  <a:lnTo>
                    <a:pt x="220" y="584"/>
                  </a:lnTo>
                  <a:lnTo>
                    <a:pt x="220" y="583"/>
                  </a:lnTo>
                  <a:lnTo>
                    <a:pt x="223" y="574"/>
                  </a:lnTo>
                  <a:lnTo>
                    <a:pt x="223" y="567"/>
                  </a:lnTo>
                  <a:lnTo>
                    <a:pt x="222" y="563"/>
                  </a:lnTo>
                  <a:lnTo>
                    <a:pt x="222" y="559"/>
                  </a:lnTo>
                  <a:lnTo>
                    <a:pt x="223" y="557"/>
                  </a:lnTo>
                  <a:lnTo>
                    <a:pt x="226" y="554"/>
                  </a:lnTo>
                  <a:lnTo>
                    <a:pt x="225" y="551"/>
                  </a:lnTo>
                  <a:lnTo>
                    <a:pt x="222" y="553"/>
                  </a:lnTo>
                  <a:lnTo>
                    <a:pt x="219" y="554"/>
                  </a:lnTo>
                  <a:lnTo>
                    <a:pt x="220" y="552"/>
                  </a:lnTo>
                  <a:lnTo>
                    <a:pt x="220" y="551"/>
                  </a:lnTo>
                  <a:lnTo>
                    <a:pt x="221" y="549"/>
                  </a:lnTo>
                  <a:lnTo>
                    <a:pt x="219" y="549"/>
                  </a:lnTo>
                  <a:lnTo>
                    <a:pt x="220" y="548"/>
                  </a:lnTo>
                  <a:lnTo>
                    <a:pt x="220" y="547"/>
                  </a:lnTo>
                  <a:lnTo>
                    <a:pt x="220" y="543"/>
                  </a:lnTo>
                  <a:lnTo>
                    <a:pt x="219" y="541"/>
                  </a:lnTo>
                  <a:lnTo>
                    <a:pt x="219" y="539"/>
                  </a:lnTo>
                  <a:lnTo>
                    <a:pt x="220" y="538"/>
                  </a:lnTo>
                  <a:lnTo>
                    <a:pt x="217" y="538"/>
                  </a:lnTo>
                  <a:lnTo>
                    <a:pt x="215" y="536"/>
                  </a:lnTo>
                  <a:lnTo>
                    <a:pt x="220" y="533"/>
                  </a:lnTo>
                  <a:lnTo>
                    <a:pt x="217" y="531"/>
                  </a:lnTo>
                  <a:lnTo>
                    <a:pt x="217" y="530"/>
                  </a:lnTo>
                  <a:lnTo>
                    <a:pt x="219" y="528"/>
                  </a:lnTo>
                  <a:lnTo>
                    <a:pt x="217" y="527"/>
                  </a:lnTo>
                  <a:lnTo>
                    <a:pt x="217" y="526"/>
                  </a:lnTo>
                  <a:lnTo>
                    <a:pt x="217" y="521"/>
                  </a:lnTo>
                  <a:lnTo>
                    <a:pt x="215" y="514"/>
                  </a:lnTo>
                  <a:lnTo>
                    <a:pt x="212" y="506"/>
                  </a:lnTo>
                  <a:lnTo>
                    <a:pt x="209" y="499"/>
                  </a:lnTo>
                  <a:lnTo>
                    <a:pt x="205" y="492"/>
                  </a:lnTo>
                  <a:lnTo>
                    <a:pt x="203" y="484"/>
                  </a:lnTo>
                  <a:lnTo>
                    <a:pt x="199" y="477"/>
                  </a:lnTo>
                  <a:lnTo>
                    <a:pt x="200" y="480"/>
                  </a:lnTo>
                  <a:lnTo>
                    <a:pt x="201" y="485"/>
                  </a:lnTo>
                  <a:lnTo>
                    <a:pt x="201" y="490"/>
                  </a:lnTo>
                  <a:lnTo>
                    <a:pt x="200" y="494"/>
                  </a:lnTo>
                  <a:lnTo>
                    <a:pt x="200" y="492"/>
                  </a:lnTo>
                  <a:lnTo>
                    <a:pt x="199" y="489"/>
                  </a:lnTo>
                  <a:lnTo>
                    <a:pt x="198" y="484"/>
                  </a:lnTo>
                  <a:lnTo>
                    <a:pt x="198" y="479"/>
                  </a:lnTo>
                  <a:lnTo>
                    <a:pt x="196" y="473"/>
                  </a:lnTo>
                  <a:lnTo>
                    <a:pt x="196" y="472"/>
                  </a:lnTo>
                  <a:lnTo>
                    <a:pt x="195" y="469"/>
                  </a:lnTo>
                  <a:lnTo>
                    <a:pt x="191" y="463"/>
                  </a:lnTo>
                  <a:lnTo>
                    <a:pt x="190" y="457"/>
                  </a:lnTo>
                  <a:lnTo>
                    <a:pt x="190" y="456"/>
                  </a:lnTo>
                  <a:lnTo>
                    <a:pt x="191" y="457"/>
                  </a:lnTo>
                  <a:lnTo>
                    <a:pt x="190" y="453"/>
                  </a:lnTo>
                  <a:lnTo>
                    <a:pt x="188" y="456"/>
                  </a:lnTo>
                  <a:lnTo>
                    <a:pt x="185" y="446"/>
                  </a:lnTo>
                  <a:lnTo>
                    <a:pt x="184" y="437"/>
                  </a:lnTo>
                  <a:lnTo>
                    <a:pt x="183" y="428"/>
                  </a:lnTo>
                  <a:lnTo>
                    <a:pt x="180" y="419"/>
                  </a:lnTo>
                  <a:lnTo>
                    <a:pt x="178" y="415"/>
                  </a:lnTo>
                  <a:lnTo>
                    <a:pt x="175" y="413"/>
                  </a:lnTo>
                  <a:lnTo>
                    <a:pt x="175" y="410"/>
                  </a:lnTo>
                  <a:lnTo>
                    <a:pt x="175" y="407"/>
                  </a:lnTo>
                  <a:lnTo>
                    <a:pt x="175" y="401"/>
                  </a:lnTo>
                  <a:lnTo>
                    <a:pt x="175" y="397"/>
                  </a:lnTo>
                  <a:lnTo>
                    <a:pt x="178" y="394"/>
                  </a:lnTo>
                  <a:lnTo>
                    <a:pt x="172" y="396"/>
                  </a:lnTo>
                  <a:lnTo>
                    <a:pt x="169" y="396"/>
                  </a:lnTo>
                  <a:lnTo>
                    <a:pt x="167" y="394"/>
                  </a:lnTo>
                  <a:lnTo>
                    <a:pt x="162" y="386"/>
                  </a:lnTo>
                  <a:lnTo>
                    <a:pt x="159" y="376"/>
                  </a:lnTo>
                  <a:lnTo>
                    <a:pt x="158" y="376"/>
                  </a:lnTo>
                  <a:lnTo>
                    <a:pt x="157" y="375"/>
                  </a:lnTo>
                  <a:lnTo>
                    <a:pt x="155" y="371"/>
                  </a:lnTo>
                  <a:lnTo>
                    <a:pt x="152" y="369"/>
                  </a:lnTo>
                  <a:lnTo>
                    <a:pt x="150" y="365"/>
                  </a:lnTo>
                  <a:lnTo>
                    <a:pt x="150" y="366"/>
                  </a:lnTo>
                  <a:lnTo>
                    <a:pt x="150" y="369"/>
                  </a:lnTo>
                  <a:lnTo>
                    <a:pt x="150" y="371"/>
                  </a:lnTo>
                  <a:lnTo>
                    <a:pt x="150" y="374"/>
                  </a:lnTo>
                  <a:lnTo>
                    <a:pt x="151" y="381"/>
                  </a:lnTo>
                  <a:lnTo>
                    <a:pt x="151" y="383"/>
                  </a:lnTo>
                  <a:lnTo>
                    <a:pt x="151" y="387"/>
                  </a:lnTo>
                  <a:lnTo>
                    <a:pt x="147" y="393"/>
                  </a:lnTo>
                  <a:lnTo>
                    <a:pt x="145" y="396"/>
                  </a:lnTo>
                  <a:lnTo>
                    <a:pt x="142" y="397"/>
                  </a:lnTo>
                  <a:lnTo>
                    <a:pt x="139" y="396"/>
                  </a:lnTo>
                  <a:lnTo>
                    <a:pt x="135" y="393"/>
                  </a:lnTo>
                  <a:lnTo>
                    <a:pt x="134" y="390"/>
                  </a:lnTo>
                  <a:lnTo>
                    <a:pt x="135" y="386"/>
                  </a:lnTo>
                  <a:lnTo>
                    <a:pt x="132" y="388"/>
                  </a:lnTo>
                  <a:lnTo>
                    <a:pt x="132" y="390"/>
                  </a:lnTo>
                  <a:lnTo>
                    <a:pt x="135" y="392"/>
                  </a:lnTo>
                  <a:lnTo>
                    <a:pt x="136" y="394"/>
                  </a:lnTo>
                  <a:lnTo>
                    <a:pt x="136" y="398"/>
                  </a:lnTo>
                  <a:lnTo>
                    <a:pt x="135" y="401"/>
                  </a:lnTo>
                  <a:lnTo>
                    <a:pt x="132" y="402"/>
                  </a:lnTo>
                  <a:lnTo>
                    <a:pt x="129" y="401"/>
                  </a:lnTo>
                  <a:lnTo>
                    <a:pt x="130" y="402"/>
                  </a:lnTo>
                  <a:lnTo>
                    <a:pt x="130" y="403"/>
                  </a:lnTo>
                  <a:lnTo>
                    <a:pt x="128" y="405"/>
                  </a:lnTo>
                  <a:lnTo>
                    <a:pt x="124" y="407"/>
                  </a:lnTo>
                  <a:lnTo>
                    <a:pt x="121" y="405"/>
                  </a:lnTo>
                  <a:lnTo>
                    <a:pt x="121" y="410"/>
                  </a:lnTo>
                  <a:lnTo>
                    <a:pt x="120" y="417"/>
                  </a:lnTo>
                  <a:lnTo>
                    <a:pt x="116" y="421"/>
                  </a:lnTo>
                  <a:lnTo>
                    <a:pt x="114" y="423"/>
                  </a:lnTo>
                  <a:lnTo>
                    <a:pt x="112" y="421"/>
                  </a:lnTo>
                  <a:lnTo>
                    <a:pt x="110" y="419"/>
                  </a:lnTo>
                  <a:lnTo>
                    <a:pt x="110" y="415"/>
                  </a:lnTo>
                  <a:lnTo>
                    <a:pt x="112" y="412"/>
                  </a:lnTo>
                  <a:lnTo>
                    <a:pt x="112" y="408"/>
                  </a:lnTo>
                  <a:lnTo>
                    <a:pt x="110" y="410"/>
                  </a:lnTo>
                  <a:lnTo>
                    <a:pt x="109" y="414"/>
                  </a:lnTo>
                  <a:lnTo>
                    <a:pt x="109" y="415"/>
                  </a:lnTo>
                  <a:lnTo>
                    <a:pt x="109" y="415"/>
                  </a:lnTo>
                  <a:lnTo>
                    <a:pt x="109" y="413"/>
                  </a:lnTo>
                  <a:lnTo>
                    <a:pt x="108" y="417"/>
                  </a:lnTo>
                  <a:lnTo>
                    <a:pt x="108" y="420"/>
                  </a:lnTo>
                  <a:lnTo>
                    <a:pt x="105" y="418"/>
                  </a:lnTo>
                  <a:lnTo>
                    <a:pt x="104" y="415"/>
                  </a:lnTo>
                  <a:lnTo>
                    <a:pt x="104" y="412"/>
                  </a:lnTo>
                  <a:lnTo>
                    <a:pt x="105" y="409"/>
                  </a:lnTo>
                  <a:lnTo>
                    <a:pt x="104" y="409"/>
                  </a:lnTo>
                  <a:lnTo>
                    <a:pt x="104" y="410"/>
                  </a:lnTo>
                  <a:lnTo>
                    <a:pt x="103" y="415"/>
                  </a:lnTo>
                  <a:lnTo>
                    <a:pt x="100" y="420"/>
                  </a:lnTo>
                  <a:lnTo>
                    <a:pt x="100" y="421"/>
                  </a:lnTo>
                  <a:lnTo>
                    <a:pt x="98" y="420"/>
                  </a:lnTo>
                  <a:lnTo>
                    <a:pt x="97" y="418"/>
                  </a:lnTo>
                  <a:lnTo>
                    <a:pt x="97" y="413"/>
                  </a:lnTo>
                  <a:lnTo>
                    <a:pt x="98" y="408"/>
                  </a:lnTo>
                  <a:lnTo>
                    <a:pt x="100" y="404"/>
                  </a:lnTo>
                  <a:lnTo>
                    <a:pt x="98" y="407"/>
                  </a:lnTo>
                  <a:lnTo>
                    <a:pt x="96" y="410"/>
                  </a:lnTo>
                  <a:lnTo>
                    <a:pt x="94" y="415"/>
                  </a:lnTo>
                  <a:lnTo>
                    <a:pt x="93" y="418"/>
                  </a:lnTo>
                  <a:lnTo>
                    <a:pt x="89" y="415"/>
                  </a:lnTo>
                  <a:lnTo>
                    <a:pt x="93" y="412"/>
                  </a:lnTo>
                  <a:lnTo>
                    <a:pt x="94" y="408"/>
                  </a:lnTo>
                  <a:lnTo>
                    <a:pt x="92" y="412"/>
                  </a:lnTo>
                  <a:lnTo>
                    <a:pt x="91" y="414"/>
                  </a:lnTo>
                  <a:lnTo>
                    <a:pt x="88" y="414"/>
                  </a:lnTo>
                  <a:lnTo>
                    <a:pt x="91" y="410"/>
                  </a:lnTo>
                  <a:lnTo>
                    <a:pt x="92" y="405"/>
                  </a:lnTo>
                  <a:lnTo>
                    <a:pt x="92" y="396"/>
                  </a:lnTo>
                  <a:lnTo>
                    <a:pt x="89" y="396"/>
                  </a:lnTo>
                  <a:lnTo>
                    <a:pt x="91" y="401"/>
                  </a:lnTo>
                  <a:lnTo>
                    <a:pt x="88" y="405"/>
                  </a:lnTo>
                  <a:lnTo>
                    <a:pt x="84" y="409"/>
                  </a:lnTo>
                  <a:lnTo>
                    <a:pt x="82" y="413"/>
                  </a:lnTo>
                  <a:lnTo>
                    <a:pt x="80" y="412"/>
                  </a:lnTo>
                  <a:lnTo>
                    <a:pt x="78" y="409"/>
                  </a:lnTo>
                  <a:lnTo>
                    <a:pt x="78" y="405"/>
                  </a:lnTo>
                  <a:lnTo>
                    <a:pt x="78" y="401"/>
                  </a:lnTo>
                  <a:lnTo>
                    <a:pt x="80" y="392"/>
                  </a:lnTo>
                  <a:lnTo>
                    <a:pt x="81" y="388"/>
                  </a:lnTo>
                  <a:lnTo>
                    <a:pt x="81" y="386"/>
                  </a:lnTo>
                  <a:lnTo>
                    <a:pt x="81" y="382"/>
                  </a:lnTo>
                  <a:lnTo>
                    <a:pt x="82" y="378"/>
                  </a:lnTo>
                  <a:lnTo>
                    <a:pt x="82" y="375"/>
                  </a:lnTo>
                  <a:lnTo>
                    <a:pt x="82" y="372"/>
                  </a:lnTo>
                  <a:lnTo>
                    <a:pt x="84" y="369"/>
                  </a:lnTo>
                  <a:lnTo>
                    <a:pt x="83" y="364"/>
                  </a:lnTo>
                  <a:lnTo>
                    <a:pt x="82" y="358"/>
                  </a:lnTo>
                  <a:lnTo>
                    <a:pt x="81" y="354"/>
                  </a:lnTo>
                  <a:lnTo>
                    <a:pt x="80" y="349"/>
                  </a:lnTo>
                  <a:lnTo>
                    <a:pt x="78" y="344"/>
                  </a:lnTo>
                  <a:lnTo>
                    <a:pt x="77" y="339"/>
                  </a:lnTo>
                  <a:lnTo>
                    <a:pt x="75" y="335"/>
                  </a:lnTo>
                  <a:lnTo>
                    <a:pt x="71" y="329"/>
                  </a:lnTo>
                  <a:lnTo>
                    <a:pt x="67" y="324"/>
                  </a:lnTo>
                  <a:lnTo>
                    <a:pt x="67" y="323"/>
                  </a:lnTo>
                  <a:lnTo>
                    <a:pt x="70" y="322"/>
                  </a:lnTo>
                  <a:lnTo>
                    <a:pt x="65" y="319"/>
                  </a:lnTo>
                  <a:lnTo>
                    <a:pt x="62" y="318"/>
                  </a:lnTo>
                  <a:lnTo>
                    <a:pt x="62" y="315"/>
                  </a:lnTo>
                  <a:lnTo>
                    <a:pt x="62" y="308"/>
                  </a:lnTo>
                  <a:lnTo>
                    <a:pt x="60" y="302"/>
                  </a:lnTo>
                  <a:lnTo>
                    <a:pt x="61" y="307"/>
                  </a:lnTo>
                  <a:lnTo>
                    <a:pt x="60" y="308"/>
                  </a:lnTo>
                  <a:lnTo>
                    <a:pt x="57" y="307"/>
                  </a:lnTo>
                  <a:lnTo>
                    <a:pt x="60" y="313"/>
                  </a:lnTo>
                  <a:lnTo>
                    <a:pt x="60" y="316"/>
                  </a:lnTo>
                  <a:lnTo>
                    <a:pt x="60" y="318"/>
                  </a:lnTo>
                  <a:lnTo>
                    <a:pt x="55" y="316"/>
                  </a:lnTo>
                  <a:lnTo>
                    <a:pt x="51" y="312"/>
                  </a:lnTo>
                  <a:lnTo>
                    <a:pt x="45" y="303"/>
                  </a:lnTo>
                  <a:lnTo>
                    <a:pt x="45" y="302"/>
                  </a:lnTo>
                  <a:lnTo>
                    <a:pt x="46" y="301"/>
                  </a:lnTo>
                  <a:lnTo>
                    <a:pt x="48" y="301"/>
                  </a:lnTo>
                  <a:lnTo>
                    <a:pt x="49" y="302"/>
                  </a:lnTo>
                  <a:lnTo>
                    <a:pt x="50" y="305"/>
                  </a:lnTo>
                  <a:lnTo>
                    <a:pt x="54" y="305"/>
                  </a:lnTo>
                  <a:lnTo>
                    <a:pt x="56" y="306"/>
                  </a:lnTo>
                  <a:lnTo>
                    <a:pt x="59" y="305"/>
                  </a:lnTo>
                  <a:lnTo>
                    <a:pt x="59" y="302"/>
                  </a:lnTo>
                  <a:lnTo>
                    <a:pt x="57" y="300"/>
                  </a:lnTo>
                  <a:lnTo>
                    <a:pt x="56" y="299"/>
                  </a:lnTo>
                  <a:lnTo>
                    <a:pt x="52" y="296"/>
                  </a:lnTo>
                  <a:lnTo>
                    <a:pt x="51" y="294"/>
                  </a:lnTo>
                  <a:lnTo>
                    <a:pt x="51" y="292"/>
                  </a:lnTo>
                  <a:lnTo>
                    <a:pt x="52" y="291"/>
                  </a:lnTo>
                  <a:lnTo>
                    <a:pt x="46" y="290"/>
                  </a:lnTo>
                  <a:lnTo>
                    <a:pt x="46" y="284"/>
                  </a:lnTo>
                  <a:lnTo>
                    <a:pt x="45" y="284"/>
                  </a:lnTo>
                  <a:lnTo>
                    <a:pt x="43" y="284"/>
                  </a:lnTo>
                  <a:lnTo>
                    <a:pt x="39" y="280"/>
                  </a:lnTo>
                  <a:lnTo>
                    <a:pt x="38" y="279"/>
                  </a:lnTo>
                  <a:lnTo>
                    <a:pt x="35" y="279"/>
                  </a:lnTo>
                  <a:lnTo>
                    <a:pt x="34" y="279"/>
                  </a:lnTo>
                  <a:lnTo>
                    <a:pt x="32" y="278"/>
                  </a:lnTo>
                  <a:lnTo>
                    <a:pt x="35" y="286"/>
                  </a:lnTo>
                  <a:lnTo>
                    <a:pt x="32" y="281"/>
                  </a:lnTo>
                  <a:lnTo>
                    <a:pt x="32" y="284"/>
                  </a:lnTo>
                  <a:lnTo>
                    <a:pt x="33" y="286"/>
                  </a:lnTo>
                  <a:lnTo>
                    <a:pt x="29" y="280"/>
                  </a:lnTo>
                  <a:lnTo>
                    <a:pt x="29" y="278"/>
                  </a:lnTo>
                  <a:lnTo>
                    <a:pt x="30" y="274"/>
                  </a:lnTo>
                  <a:lnTo>
                    <a:pt x="27" y="274"/>
                  </a:lnTo>
                  <a:lnTo>
                    <a:pt x="29" y="269"/>
                  </a:lnTo>
                  <a:lnTo>
                    <a:pt x="28" y="269"/>
                  </a:lnTo>
                  <a:lnTo>
                    <a:pt x="28" y="263"/>
                  </a:lnTo>
                  <a:lnTo>
                    <a:pt x="27" y="270"/>
                  </a:lnTo>
                  <a:lnTo>
                    <a:pt x="24" y="278"/>
                  </a:lnTo>
                  <a:lnTo>
                    <a:pt x="22" y="276"/>
                  </a:lnTo>
                  <a:lnTo>
                    <a:pt x="22" y="274"/>
                  </a:lnTo>
                  <a:lnTo>
                    <a:pt x="22" y="270"/>
                  </a:lnTo>
                  <a:lnTo>
                    <a:pt x="22" y="268"/>
                  </a:lnTo>
                  <a:lnTo>
                    <a:pt x="21" y="267"/>
                  </a:lnTo>
                  <a:lnTo>
                    <a:pt x="17" y="262"/>
                  </a:lnTo>
                  <a:lnTo>
                    <a:pt x="18" y="267"/>
                  </a:lnTo>
                  <a:lnTo>
                    <a:pt x="18" y="269"/>
                  </a:lnTo>
                  <a:lnTo>
                    <a:pt x="18" y="270"/>
                  </a:lnTo>
                  <a:lnTo>
                    <a:pt x="14" y="264"/>
                  </a:lnTo>
                  <a:lnTo>
                    <a:pt x="8" y="259"/>
                  </a:lnTo>
                  <a:lnTo>
                    <a:pt x="5" y="256"/>
                  </a:lnTo>
                  <a:lnTo>
                    <a:pt x="3" y="252"/>
                  </a:lnTo>
                  <a:lnTo>
                    <a:pt x="0" y="24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2" name="Freeform 708">
              <a:extLst>
                <a:ext uri="{FF2B5EF4-FFF2-40B4-BE49-F238E27FC236}">
                  <a16:creationId xmlns:a16="http://schemas.microsoft.com/office/drawing/2014/main" id="{E50A7DC3-90BE-447A-9594-5057873A6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8766" y="3107452"/>
              <a:ext cx="284567" cy="139121"/>
            </a:xfrm>
            <a:custGeom>
              <a:avLst/>
              <a:gdLst>
                <a:gd name="T0" fmla="*/ 17 w 271"/>
                <a:gd name="T1" fmla="*/ 100 h 133"/>
                <a:gd name="T2" fmla="*/ 31 w 271"/>
                <a:gd name="T3" fmla="*/ 106 h 133"/>
                <a:gd name="T4" fmla="*/ 36 w 271"/>
                <a:gd name="T5" fmla="*/ 105 h 133"/>
                <a:gd name="T6" fmla="*/ 46 w 271"/>
                <a:gd name="T7" fmla="*/ 96 h 133"/>
                <a:gd name="T8" fmla="*/ 57 w 271"/>
                <a:gd name="T9" fmla="*/ 100 h 133"/>
                <a:gd name="T10" fmla="*/ 60 w 271"/>
                <a:gd name="T11" fmla="*/ 100 h 133"/>
                <a:gd name="T12" fmla="*/ 69 w 271"/>
                <a:gd name="T13" fmla="*/ 99 h 133"/>
                <a:gd name="T14" fmla="*/ 70 w 271"/>
                <a:gd name="T15" fmla="*/ 95 h 133"/>
                <a:gd name="T16" fmla="*/ 77 w 271"/>
                <a:gd name="T17" fmla="*/ 90 h 133"/>
                <a:gd name="T18" fmla="*/ 85 w 271"/>
                <a:gd name="T19" fmla="*/ 88 h 133"/>
                <a:gd name="T20" fmla="*/ 92 w 271"/>
                <a:gd name="T21" fmla="*/ 82 h 133"/>
                <a:gd name="T22" fmla="*/ 86 w 271"/>
                <a:gd name="T23" fmla="*/ 78 h 133"/>
                <a:gd name="T24" fmla="*/ 71 w 271"/>
                <a:gd name="T25" fmla="*/ 73 h 133"/>
                <a:gd name="T26" fmla="*/ 61 w 271"/>
                <a:gd name="T27" fmla="*/ 68 h 133"/>
                <a:gd name="T28" fmla="*/ 48 w 271"/>
                <a:gd name="T29" fmla="*/ 59 h 133"/>
                <a:gd name="T30" fmla="*/ 44 w 271"/>
                <a:gd name="T31" fmla="*/ 71 h 133"/>
                <a:gd name="T32" fmla="*/ 28 w 271"/>
                <a:gd name="T33" fmla="*/ 66 h 133"/>
                <a:gd name="T34" fmla="*/ 18 w 271"/>
                <a:gd name="T35" fmla="*/ 61 h 133"/>
                <a:gd name="T36" fmla="*/ 9 w 271"/>
                <a:gd name="T37" fmla="*/ 57 h 133"/>
                <a:gd name="T38" fmla="*/ 26 w 271"/>
                <a:gd name="T39" fmla="*/ 40 h 133"/>
                <a:gd name="T40" fmla="*/ 22 w 271"/>
                <a:gd name="T41" fmla="*/ 30 h 133"/>
                <a:gd name="T42" fmla="*/ 25 w 271"/>
                <a:gd name="T43" fmla="*/ 20 h 133"/>
                <a:gd name="T44" fmla="*/ 43 w 271"/>
                <a:gd name="T45" fmla="*/ 14 h 133"/>
                <a:gd name="T46" fmla="*/ 69 w 271"/>
                <a:gd name="T47" fmla="*/ 21 h 133"/>
                <a:gd name="T48" fmla="*/ 81 w 271"/>
                <a:gd name="T49" fmla="*/ 25 h 133"/>
                <a:gd name="T50" fmla="*/ 86 w 271"/>
                <a:gd name="T51" fmla="*/ 23 h 133"/>
                <a:gd name="T52" fmla="*/ 90 w 271"/>
                <a:gd name="T53" fmla="*/ 5 h 133"/>
                <a:gd name="T54" fmla="*/ 112 w 271"/>
                <a:gd name="T55" fmla="*/ 5 h 133"/>
                <a:gd name="T56" fmla="*/ 139 w 271"/>
                <a:gd name="T57" fmla="*/ 16 h 133"/>
                <a:gd name="T58" fmla="*/ 145 w 271"/>
                <a:gd name="T59" fmla="*/ 12 h 133"/>
                <a:gd name="T60" fmla="*/ 170 w 271"/>
                <a:gd name="T61" fmla="*/ 10 h 133"/>
                <a:gd name="T62" fmla="*/ 187 w 271"/>
                <a:gd name="T63" fmla="*/ 12 h 133"/>
                <a:gd name="T64" fmla="*/ 214 w 271"/>
                <a:gd name="T65" fmla="*/ 13 h 133"/>
                <a:gd name="T66" fmla="*/ 241 w 271"/>
                <a:gd name="T67" fmla="*/ 21 h 133"/>
                <a:gd name="T68" fmla="*/ 255 w 271"/>
                <a:gd name="T69" fmla="*/ 27 h 133"/>
                <a:gd name="T70" fmla="*/ 271 w 271"/>
                <a:gd name="T71" fmla="*/ 39 h 133"/>
                <a:gd name="T72" fmla="*/ 258 w 271"/>
                <a:gd name="T73" fmla="*/ 45 h 133"/>
                <a:gd name="T74" fmla="*/ 230 w 271"/>
                <a:gd name="T75" fmla="*/ 62 h 133"/>
                <a:gd name="T76" fmla="*/ 221 w 271"/>
                <a:gd name="T77" fmla="*/ 73 h 133"/>
                <a:gd name="T78" fmla="*/ 196 w 271"/>
                <a:gd name="T79" fmla="*/ 73 h 133"/>
                <a:gd name="T80" fmla="*/ 188 w 271"/>
                <a:gd name="T81" fmla="*/ 90 h 133"/>
                <a:gd name="T82" fmla="*/ 173 w 271"/>
                <a:gd name="T83" fmla="*/ 96 h 133"/>
                <a:gd name="T84" fmla="*/ 161 w 271"/>
                <a:gd name="T85" fmla="*/ 86 h 133"/>
                <a:gd name="T86" fmla="*/ 154 w 271"/>
                <a:gd name="T87" fmla="*/ 91 h 133"/>
                <a:gd name="T88" fmla="*/ 143 w 271"/>
                <a:gd name="T89" fmla="*/ 94 h 133"/>
                <a:gd name="T90" fmla="*/ 135 w 271"/>
                <a:gd name="T91" fmla="*/ 102 h 133"/>
                <a:gd name="T92" fmla="*/ 124 w 271"/>
                <a:gd name="T93" fmla="*/ 107 h 133"/>
                <a:gd name="T94" fmla="*/ 125 w 271"/>
                <a:gd name="T95" fmla="*/ 121 h 133"/>
                <a:gd name="T96" fmla="*/ 118 w 271"/>
                <a:gd name="T97" fmla="*/ 125 h 133"/>
                <a:gd name="T98" fmla="*/ 107 w 271"/>
                <a:gd name="T99" fmla="*/ 128 h 133"/>
                <a:gd name="T100" fmla="*/ 86 w 271"/>
                <a:gd name="T101" fmla="*/ 130 h 133"/>
                <a:gd name="T102" fmla="*/ 71 w 271"/>
                <a:gd name="T103" fmla="*/ 130 h 133"/>
                <a:gd name="T104" fmla="*/ 66 w 271"/>
                <a:gd name="T105" fmla="*/ 125 h 133"/>
                <a:gd name="T106" fmla="*/ 59 w 271"/>
                <a:gd name="T107" fmla="*/ 120 h 133"/>
                <a:gd name="T108" fmla="*/ 44 w 271"/>
                <a:gd name="T109" fmla="*/ 127 h 133"/>
                <a:gd name="T110" fmla="*/ 32 w 271"/>
                <a:gd name="T111" fmla="*/ 121 h 133"/>
                <a:gd name="T112" fmla="*/ 17 w 271"/>
                <a:gd name="T113" fmla="*/ 121 h 133"/>
                <a:gd name="T114" fmla="*/ 2 w 271"/>
                <a:gd name="T115" fmla="*/ 122 h 133"/>
                <a:gd name="T116" fmla="*/ 0 w 271"/>
                <a:gd name="T117" fmla="*/ 110 h 133"/>
                <a:gd name="T118" fmla="*/ 4 w 271"/>
                <a:gd name="T119" fmla="*/ 107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1" h="133">
                  <a:moveTo>
                    <a:pt x="4" y="105"/>
                  </a:moveTo>
                  <a:lnTo>
                    <a:pt x="9" y="101"/>
                  </a:lnTo>
                  <a:lnTo>
                    <a:pt x="12" y="100"/>
                  </a:lnTo>
                  <a:lnTo>
                    <a:pt x="17" y="100"/>
                  </a:lnTo>
                  <a:lnTo>
                    <a:pt x="21" y="101"/>
                  </a:lnTo>
                  <a:lnTo>
                    <a:pt x="25" y="102"/>
                  </a:lnTo>
                  <a:lnTo>
                    <a:pt x="28" y="105"/>
                  </a:lnTo>
                  <a:lnTo>
                    <a:pt x="31" y="106"/>
                  </a:lnTo>
                  <a:lnTo>
                    <a:pt x="31" y="107"/>
                  </a:lnTo>
                  <a:lnTo>
                    <a:pt x="30" y="109"/>
                  </a:lnTo>
                  <a:lnTo>
                    <a:pt x="33" y="107"/>
                  </a:lnTo>
                  <a:lnTo>
                    <a:pt x="36" y="105"/>
                  </a:lnTo>
                  <a:lnTo>
                    <a:pt x="38" y="101"/>
                  </a:lnTo>
                  <a:lnTo>
                    <a:pt x="41" y="100"/>
                  </a:lnTo>
                  <a:lnTo>
                    <a:pt x="43" y="98"/>
                  </a:lnTo>
                  <a:lnTo>
                    <a:pt x="46" y="96"/>
                  </a:lnTo>
                  <a:lnTo>
                    <a:pt x="48" y="96"/>
                  </a:lnTo>
                  <a:lnTo>
                    <a:pt x="52" y="98"/>
                  </a:lnTo>
                  <a:lnTo>
                    <a:pt x="54" y="99"/>
                  </a:lnTo>
                  <a:lnTo>
                    <a:pt x="57" y="100"/>
                  </a:lnTo>
                  <a:lnTo>
                    <a:pt x="58" y="100"/>
                  </a:lnTo>
                  <a:lnTo>
                    <a:pt x="59" y="99"/>
                  </a:lnTo>
                  <a:lnTo>
                    <a:pt x="59" y="99"/>
                  </a:lnTo>
                  <a:lnTo>
                    <a:pt x="60" y="100"/>
                  </a:lnTo>
                  <a:lnTo>
                    <a:pt x="63" y="101"/>
                  </a:lnTo>
                  <a:lnTo>
                    <a:pt x="65" y="100"/>
                  </a:lnTo>
                  <a:lnTo>
                    <a:pt x="68" y="100"/>
                  </a:lnTo>
                  <a:lnTo>
                    <a:pt x="69" y="99"/>
                  </a:lnTo>
                  <a:lnTo>
                    <a:pt x="68" y="98"/>
                  </a:lnTo>
                  <a:lnTo>
                    <a:pt x="68" y="96"/>
                  </a:lnTo>
                  <a:lnTo>
                    <a:pt x="68" y="95"/>
                  </a:lnTo>
                  <a:lnTo>
                    <a:pt x="70" y="95"/>
                  </a:lnTo>
                  <a:lnTo>
                    <a:pt x="75" y="94"/>
                  </a:lnTo>
                  <a:lnTo>
                    <a:pt x="77" y="94"/>
                  </a:lnTo>
                  <a:lnTo>
                    <a:pt x="79" y="94"/>
                  </a:lnTo>
                  <a:lnTo>
                    <a:pt x="77" y="90"/>
                  </a:lnTo>
                  <a:lnTo>
                    <a:pt x="76" y="88"/>
                  </a:lnTo>
                  <a:lnTo>
                    <a:pt x="80" y="89"/>
                  </a:lnTo>
                  <a:lnTo>
                    <a:pt x="82" y="89"/>
                  </a:lnTo>
                  <a:lnTo>
                    <a:pt x="85" y="88"/>
                  </a:lnTo>
                  <a:lnTo>
                    <a:pt x="87" y="85"/>
                  </a:lnTo>
                  <a:lnTo>
                    <a:pt x="89" y="84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79"/>
                  </a:lnTo>
                  <a:lnTo>
                    <a:pt x="91" y="79"/>
                  </a:lnTo>
                  <a:lnTo>
                    <a:pt x="89" y="79"/>
                  </a:lnTo>
                  <a:lnTo>
                    <a:pt x="86" y="78"/>
                  </a:lnTo>
                  <a:lnTo>
                    <a:pt x="84" y="78"/>
                  </a:lnTo>
                  <a:lnTo>
                    <a:pt x="80" y="77"/>
                  </a:lnTo>
                  <a:lnTo>
                    <a:pt x="76" y="74"/>
                  </a:lnTo>
                  <a:lnTo>
                    <a:pt x="71" y="73"/>
                  </a:lnTo>
                  <a:lnTo>
                    <a:pt x="68" y="74"/>
                  </a:lnTo>
                  <a:lnTo>
                    <a:pt x="66" y="71"/>
                  </a:lnTo>
                  <a:lnTo>
                    <a:pt x="64" y="69"/>
                  </a:lnTo>
                  <a:lnTo>
                    <a:pt x="61" y="68"/>
                  </a:lnTo>
                  <a:lnTo>
                    <a:pt x="59" y="67"/>
                  </a:lnTo>
                  <a:lnTo>
                    <a:pt x="53" y="62"/>
                  </a:lnTo>
                  <a:lnTo>
                    <a:pt x="48" y="56"/>
                  </a:lnTo>
                  <a:lnTo>
                    <a:pt x="48" y="59"/>
                  </a:lnTo>
                  <a:lnTo>
                    <a:pt x="48" y="63"/>
                  </a:lnTo>
                  <a:lnTo>
                    <a:pt x="44" y="66"/>
                  </a:lnTo>
                  <a:lnTo>
                    <a:pt x="46" y="68"/>
                  </a:lnTo>
                  <a:lnTo>
                    <a:pt x="44" y="71"/>
                  </a:lnTo>
                  <a:lnTo>
                    <a:pt x="41" y="68"/>
                  </a:lnTo>
                  <a:lnTo>
                    <a:pt x="34" y="68"/>
                  </a:lnTo>
                  <a:lnTo>
                    <a:pt x="30" y="67"/>
                  </a:lnTo>
                  <a:lnTo>
                    <a:pt x="28" y="66"/>
                  </a:lnTo>
                  <a:lnTo>
                    <a:pt x="26" y="63"/>
                  </a:lnTo>
                  <a:lnTo>
                    <a:pt x="25" y="62"/>
                  </a:lnTo>
                  <a:lnTo>
                    <a:pt x="23" y="61"/>
                  </a:lnTo>
                  <a:lnTo>
                    <a:pt x="18" y="61"/>
                  </a:lnTo>
                  <a:lnTo>
                    <a:pt x="16" y="61"/>
                  </a:lnTo>
                  <a:lnTo>
                    <a:pt x="14" y="59"/>
                  </a:lnTo>
                  <a:lnTo>
                    <a:pt x="11" y="58"/>
                  </a:lnTo>
                  <a:lnTo>
                    <a:pt x="9" y="57"/>
                  </a:lnTo>
                  <a:lnTo>
                    <a:pt x="10" y="53"/>
                  </a:lnTo>
                  <a:lnTo>
                    <a:pt x="12" y="51"/>
                  </a:lnTo>
                  <a:lnTo>
                    <a:pt x="18" y="45"/>
                  </a:lnTo>
                  <a:lnTo>
                    <a:pt x="26" y="40"/>
                  </a:lnTo>
                  <a:lnTo>
                    <a:pt x="32" y="35"/>
                  </a:lnTo>
                  <a:lnTo>
                    <a:pt x="27" y="34"/>
                  </a:lnTo>
                  <a:lnTo>
                    <a:pt x="23" y="32"/>
                  </a:lnTo>
                  <a:lnTo>
                    <a:pt x="22" y="30"/>
                  </a:lnTo>
                  <a:lnTo>
                    <a:pt x="22" y="29"/>
                  </a:lnTo>
                  <a:lnTo>
                    <a:pt x="23" y="25"/>
                  </a:lnTo>
                  <a:lnTo>
                    <a:pt x="25" y="21"/>
                  </a:lnTo>
                  <a:lnTo>
                    <a:pt x="25" y="20"/>
                  </a:lnTo>
                  <a:lnTo>
                    <a:pt x="26" y="19"/>
                  </a:lnTo>
                  <a:lnTo>
                    <a:pt x="32" y="18"/>
                  </a:lnTo>
                  <a:lnTo>
                    <a:pt x="37" y="15"/>
                  </a:lnTo>
                  <a:lnTo>
                    <a:pt x="43" y="14"/>
                  </a:lnTo>
                  <a:lnTo>
                    <a:pt x="50" y="15"/>
                  </a:lnTo>
                  <a:lnTo>
                    <a:pt x="58" y="18"/>
                  </a:lnTo>
                  <a:lnTo>
                    <a:pt x="63" y="19"/>
                  </a:lnTo>
                  <a:lnTo>
                    <a:pt x="69" y="21"/>
                  </a:lnTo>
                  <a:lnTo>
                    <a:pt x="71" y="23"/>
                  </a:lnTo>
                  <a:lnTo>
                    <a:pt x="73" y="24"/>
                  </a:lnTo>
                  <a:lnTo>
                    <a:pt x="77" y="24"/>
                  </a:lnTo>
                  <a:lnTo>
                    <a:pt x="81" y="25"/>
                  </a:lnTo>
                  <a:lnTo>
                    <a:pt x="84" y="26"/>
                  </a:lnTo>
                  <a:lnTo>
                    <a:pt x="86" y="27"/>
                  </a:lnTo>
                  <a:lnTo>
                    <a:pt x="90" y="27"/>
                  </a:lnTo>
                  <a:lnTo>
                    <a:pt x="86" y="23"/>
                  </a:lnTo>
                  <a:lnTo>
                    <a:pt x="85" y="16"/>
                  </a:lnTo>
                  <a:lnTo>
                    <a:pt x="85" y="10"/>
                  </a:lnTo>
                  <a:lnTo>
                    <a:pt x="87" y="7"/>
                  </a:lnTo>
                  <a:lnTo>
                    <a:pt x="90" y="5"/>
                  </a:lnTo>
                  <a:lnTo>
                    <a:pt x="95" y="4"/>
                  </a:lnTo>
                  <a:lnTo>
                    <a:pt x="98" y="2"/>
                  </a:lnTo>
                  <a:lnTo>
                    <a:pt x="100" y="0"/>
                  </a:lnTo>
                  <a:lnTo>
                    <a:pt x="112" y="5"/>
                  </a:lnTo>
                  <a:lnTo>
                    <a:pt x="123" y="12"/>
                  </a:lnTo>
                  <a:lnTo>
                    <a:pt x="127" y="13"/>
                  </a:lnTo>
                  <a:lnTo>
                    <a:pt x="133" y="14"/>
                  </a:lnTo>
                  <a:lnTo>
                    <a:pt x="139" y="16"/>
                  </a:lnTo>
                  <a:lnTo>
                    <a:pt x="143" y="15"/>
                  </a:lnTo>
                  <a:lnTo>
                    <a:pt x="144" y="14"/>
                  </a:lnTo>
                  <a:lnTo>
                    <a:pt x="145" y="13"/>
                  </a:lnTo>
                  <a:lnTo>
                    <a:pt x="145" y="12"/>
                  </a:lnTo>
                  <a:lnTo>
                    <a:pt x="146" y="10"/>
                  </a:lnTo>
                  <a:lnTo>
                    <a:pt x="155" y="12"/>
                  </a:lnTo>
                  <a:lnTo>
                    <a:pt x="164" y="13"/>
                  </a:lnTo>
                  <a:lnTo>
                    <a:pt x="170" y="10"/>
                  </a:lnTo>
                  <a:lnTo>
                    <a:pt x="175" y="10"/>
                  </a:lnTo>
                  <a:lnTo>
                    <a:pt x="181" y="12"/>
                  </a:lnTo>
                  <a:lnTo>
                    <a:pt x="184" y="12"/>
                  </a:lnTo>
                  <a:lnTo>
                    <a:pt x="187" y="12"/>
                  </a:lnTo>
                  <a:lnTo>
                    <a:pt x="193" y="12"/>
                  </a:lnTo>
                  <a:lnTo>
                    <a:pt x="199" y="13"/>
                  </a:lnTo>
                  <a:lnTo>
                    <a:pt x="207" y="13"/>
                  </a:lnTo>
                  <a:lnTo>
                    <a:pt x="214" y="13"/>
                  </a:lnTo>
                  <a:lnTo>
                    <a:pt x="221" y="14"/>
                  </a:lnTo>
                  <a:lnTo>
                    <a:pt x="229" y="15"/>
                  </a:lnTo>
                  <a:lnTo>
                    <a:pt x="236" y="18"/>
                  </a:lnTo>
                  <a:lnTo>
                    <a:pt x="241" y="21"/>
                  </a:lnTo>
                  <a:lnTo>
                    <a:pt x="245" y="25"/>
                  </a:lnTo>
                  <a:lnTo>
                    <a:pt x="247" y="26"/>
                  </a:lnTo>
                  <a:lnTo>
                    <a:pt x="250" y="26"/>
                  </a:lnTo>
                  <a:lnTo>
                    <a:pt x="255" y="27"/>
                  </a:lnTo>
                  <a:lnTo>
                    <a:pt x="258" y="29"/>
                  </a:lnTo>
                  <a:lnTo>
                    <a:pt x="266" y="32"/>
                  </a:lnTo>
                  <a:lnTo>
                    <a:pt x="268" y="35"/>
                  </a:lnTo>
                  <a:lnTo>
                    <a:pt x="271" y="39"/>
                  </a:lnTo>
                  <a:lnTo>
                    <a:pt x="269" y="40"/>
                  </a:lnTo>
                  <a:lnTo>
                    <a:pt x="266" y="42"/>
                  </a:lnTo>
                  <a:lnTo>
                    <a:pt x="261" y="43"/>
                  </a:lnTo>
                  <a:lnTo>
                    <a:pt x="258" y="45"/>
                  </a:lnTo>
                  <a:lnTo>
                    <a:pt x="253" y="48"/>
                  </a:lnTo>
                  <a:lnTo>
                    <a:pt x="246" y="52"/>
                  </a:lnTo>
                  <a:lnTo>
                    <a:pt x="234" y="58"/>
                  </a:lnTo>
                  <a:lnTo>
                    <a:pt x="230" y="62"/>
                  </a:lnTo>
                  <a:lnTo>
                    <a:pt x="229" y="66"/>
                  </a:lnTo>
                  <a:lnTo>
                    <a:pt x="226" y="71"/>
                  </a:lnTo>
                  <a:lnTo>
                    <a:pt x="224" y="73"/>
                  </a:lnTo>
                  <a:lnTo>
                    <a:pt x="221" y="73"/>
                  </a:lnTo>
                  <a:lnTo>
                    <a:pt x="215" y="73"/>
                  </a:lnTo>
                  <a:lnTo>
                    <a:pt x="209" y="74"/>
                  </a:lnTo>
                  <a:lnTo>
                    <a:pt x="203" y="74"/>
                  </a:lnTo>
                  <a:lnTo>
                    <a:pt x="196" y="73"/>
                  </a:lnTo>
                  <a:lnTo>
                    <a:pt x="193" y="74"/>
                  </a:lnTo>
                  <a:lnTo>
                    <a:pt x="191" y="78"/>
                  </a:lnTo>
                  <a:lnTo>
                    <a:pt x="189" y="85"/>
                  </a:lnTo>
                  <a:lnTo>
                    <a:pt x="188" y="90"/>
                  </a:lnTo>
                  <a:lnTo>
                    <a:pt x="187" y="93"/>
                  </a:lnTo>
                  <a:lnTo>
                    <a:pt x="183" y="95"/>
                  </a:lnTo>
                  <a:lnTo>
                    <a:pt x="178" y="95"/>
                  </a:lnTo>
                  <a:lnTo>
                    <a:pt x="173" y="96"/>
                  </a:lnTo>
                  <a:lnTo>
                    <a:pt x="168" y="96"/>
                  </a:lnTo>
                  <a:lnTo>
                    <a:pt x="165" y="94"/>
                  </a:lnTo>
                  <a:lnTo>
                    <a:pt x="164" y="90"/>
                  </a:lnTo>
                  <a:lnTo>
                    <a:pt x="161" y="86"/>
                  </a:lnTo>
                  <a:lnTo>
                    <a:pt x="160" y="86"/>
                  </a:lnTo>
                  <a:lnTo>
                    <a:pt x="157" y="89"/>
                  </a:lnTo>
                  <a:lnTo>
                    <a:pt x="155" y="90"/>
                  </a:lnTo>
                  <a:lnTo>
                    <a:pt x="154" y="91"/>
                  </a:lnTo>
                  <a:lnTo>
                    <a:pt x="151" y="93"/>
                  </a:lnTo>
                  <a:lnTo>
                    <a:pt x="148" y="93"/>
                  </a:lnTo>
                  <a:lnTo>
                    <a:pt x="143" y="90"/>
                  </a:lnTo>
                  <a:lnTo>
                    <a:pt x="143" y="94"/>
                  </a:lnTo>
                  <a:lnTo>
                    <a:pt x="143" y="96"/>
                  </a:lnTo>
                  <a:lnTo>
                    <a:pt x="140" y="96"/>
                  </a:lnTo>
                  <a:lnTo>
                    <a:pt x="138" y="99"/>
                  </a:lnTo>
                  <a:lnTo>
                    <a:pt x="135" y="102"/>
                  </a:lnTo>
                  <a:lnTo>
                    <a:pt x="133" y="104"/>
                  </a:lnTo>
                  <a:lnTo>
                    <a:pt x="129" y="105"/>
                  </a:lnTo>
                  <a:lnTo>
                    <a:pt x="127" y="106"/>
                  </a:lnTo>
                  <a:lnTo>
                    <a:pt x="124" y="107"/>
                  </a:lnTo>
                  <a:lnTo>
                    <a:pt x="123" y="110"/>
                  </a:lnTo>
                  <a:lnTo>
                    <a:pt x="123" y="112"/>
                  </a:lnTo>
                  <a:lnTo>
                    <a:pt x="124" y="116"/>
                  </a:lnTo>
                  <a:lnTo>
                    <a:pt x="125" y="121"/>
                  </a:lnTo>
                  <a:lnTo>
                    <a:pt x="125" y="122"/>
                  </a:lnTo>
                  <a:lnTo>
                    <a:pt x="123" y="125"/>
                  </a:lnTo>
                  <a:lnTo>
                    <a:pt x="121" y="125"/>
                  </a:lnTo>
                  <a:lnTo>
                    <a:pt x="118" y="125"/>
                  </a:lnTo>
                  <a:lnTo>
                    <a:pt x="116" y="125"/>
                  </a:lnTo>
                  <a:lnTo>
                    <a:pt x="113" y="126"/>
                  </a:lnTo>
                  <a:lnTo>
                    <a:pt x="111" y="127"/>
                  </a:lnTo>
                  <a:lnTo>
                    <a:pt x="107" y="128"/>
                  </a:lnTo>
                  <a:lnTo>
                    <a:pt x="101" y="127"/>
                  </a:lnTo>
                  <a:lnTo>
                    <a:pt x="96" y="127"/>
                  </a:lnTo>
                  <a:lnTo>
                    <a:pt x="91" y="127"/>
                  </a:lnTo>
                  <a:lnTo>
                    <a:pt x="86" y="130"/>
                  </a:lnTo>
                  <a:lnTo>
                    <a:pt x="84" y="133"/>
                  </a:lnTo>
                  <a:lnTo>
                    <a:pt x="79" y="131"/>
                  </a:lnTo>
                  <a:lnTo>
                    <a:pt x="75" y="130"/>
                  </a:lnTo>
                  <a:lnTo>
                    <a:pt x="71" y="130"/>
                  </a:lnTo>
                  <a:lnTo>
                    <a:pt x="69" y="128"/>
                  </a:lnTo>
                  <a:lnTo>
                    <a:pt x="69" y="128"/>
                  </a:lnTo>
                  <a:lnTo>
                    <a:pt x="69" y="127"/>
                  </a:lnTo>
                  <a:lnTo>
                    <a:pt x="66" y="125"/>
                  </a:lnTo>
                  <a:lnTo>
                    <a:pt x="65" y="125"/>
                  </a:lnTo>
                  <a:lnTo>
                    <a:pt x="61" y="123"/>
                  </a:lnTo>
                  <a:lnTo>
                    <a:pt x="60" y="122"/>
                  </a:lnTo>
                  <a:lnTo>
                    <a:pt x="59" y="120"/>
                  </a:lnTo>
                  <a:lnTo>
                    <a:pt x="57" y="121"/>
                  </a:lnTo>
                  <a:lnTo>
                    <a:pt x="53" y="123"/>
                  </a:lnTo>
                  <a:lnTo>
                    <a:pt x="48" y="126"/>
                  </a:lnTo>
                  <a:lnTo>
                    <a:pt x="44" y="127"/>
                  </a:lnTo>
                  <a:lnTo>
                    <a:pt x="41" y="126"/>
                  </a:lnTo>
                  <a:lnTo>
                    <a:pt x="38" y="123"/>
                  </a:lnTo>
                  <a:lnTo>
                    <a:pt x="36" y="121"/>
                  </a:lnTo>
                  <a:lnTo>
                    <a:pt x="32" y="121"/>
                  </a:lnTo>
                  <a:lnTo>
                    <a:pt x="26" y="122"/>
                  </a:lnTo>
                  <a:lnTo>
                    <a:pt x="26" y="120"/>
                  </a:lnTo>
                  <a:lnTo>
                    <a:pt x="22" y="121"/>
                  </a:lnTo>
                  <a:lnTo>
                    <a:pt x="17" y="121"/>
                  </a:lnTo>
                  <a:lnTo>
                    <a:pt x="12" y="121"/>
                  </a:lnTo>
                  <a:lnTo>
                    <a:pt x="9" y="122"/>
                  </a:lnTo>
                  <a:lnTo>
                    <a:pt x="5" y="122"/>
                  </a:lnTo>
                  <a:lnTo>
                    <a:pt x="2" y="122"/>
                  </a:lnTo>
                  <a:lnTo>
                    <a:pt x="1" y="121"/>
                  </a:lnTo>
                  <a:lnTo>
                    <a:pt x="0" y="118"/>
                  </a:lnTo>
                  <a:lnTo>
                    <a:pt x="0" y="112"/>
                  </a:lnTo>
                  <a:lnTo>
                    <a:pt x="0" y="110"/>
                  </a:lnTo>
                  <a:lnTo>
                    <a:pt x="0" y="109"/>
                  </a:lnTo>
                  <a:lnTo>
                    <a:pt x="1" y="109"/>
                  </a:lnTo>
                  <a:lnTo>
                    <a:pt x="2" y="110"/>
                  </a:lnTo>
                  <a:lnTo>
                    <a:pt x="4" y="107"/>
                  </a:lnTo>
                  <a:lnTo>
                    <a:pt x="4" y="10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3" name="Freeform 801">
              <a:extLst>
                <a:ext uri="{FF2B5EF4-FFF2-40B4-BE49-F238E27FC236}">
                  <a16:creationId xmlns:a16="http://schemas.microsoft.com/office/drawing/2014/main" id="{6CA7F4FD-1000-498F-B0B1-93DEA384ED1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4334" y="3796734"/>
              <a:ext cx="265595" cy="514327"/>
            </a:xfrm>
            <a:custGeom>
              <a:avLst/>
              <a:gdLst>
                <a:gd name="T0" fmla="*/ 20 w 252"/>
                <a:gd name="T1" fmla="*/ 28 h 490"/>
                <a:gd name="T2" fmla="*/ 39 w 252"/>
                <a:gd name="T3" fmla="*/ 25 h 490"/>
                <a:gd name="T4" fmla="*/ 59 w 252"/>
                <a:gd name="T5" fmla="*/ 19 h 490"/>
                <a:gd name="T6" fmla="*/ 73 w 252"/>
                <a:gd name="T7" fmla="*/ 10 h 490"/>
                <a:gd name="T8" fmla="*/ 111 w 252"/>
                <a:gd name="T9" fmla="*/ 14 h 490"/>
                <a:gd name="T10" fmla="*/ 126 w 252"/>
                <a:gd name="T11" fmla="*/ 26 h 490"/>
                <a:gd name="T12" fmla="*/ 147 w 252"/>
                <a:gd name="T13" fmla="*/ 56 h 490"/>
                <a:gd name="T14" fmla="*/ 177 w 252"/>
                <a:gd name="T15" fmla="*/ 62 h 490"/>
                <a:gd name="T16" fmla="*/ 158 w 252"/>
                <a:gd name="T17" fmla="*/ 71 h 490"/>
                <a:gd name="T18" fmla="*/ 150 w 252"/>
                <a:gd name="T19" fmla="*/ 78 h 490"/>
                <a:gd name="T20" fmla="*/ 138 w 252"/>
                <a:gd name="T21" fmla="*/ 83 h 490"/>
                <a:gd name="T22" fmla="*/ 136 w 252"/>
                <a:gd name="T23" fmla="*/ 100 h 490"/>
                <a:gd name="T24" fmla="*/ 119 w 252"/>
                <a:gd name="T25" fmla="*/ 125 h 490"/>
                <a:gd name="T26" fmla="*/ 123 w 252"/>
                <a:gd name="T27" fmla="*/ 154 h 490"/>
                <a:gd name="T28" fmla="*/ 143 w 252"/>
                <a:gd name="T29" fmla="*/ 186 h 490"/>
                <a:gd name="T30" fmla="*/ 169 w 252"/>
                <a:gd name="T31" fmla="*/ 213 h 490"/>
                <a:gd name="T32" fmla="*/ 194 w 252"/>
                <a:gd name="T33" fmla="*/ 233 h 490"/>
                <a:gd name="T34" fmla="*/ 205 w 252"/>
                <a:gd name="T35" fmla="*/ 243 h 490"/>
                <a:gd name="T36" fmla="*/ 226 w 252"/>
                <a:gd name="T37" fmla="*/ 266 h 490"/>
                <a:gd name="T38" fmla="*/ 239 w 252"/>
                <a:gd name="T39" fmla="*/ 305 h 490"/>
                <a:gd name="T40" fmla="*/ 243 w 252"/>
                <a:gd name="T41" fmla="*/ 325 h 490"/>
                <a:gd name="T42" fmla="*/ 250 w 252"/>
                <a:gd name="T43" fmla="*/ 347 h 490"/>
                <a:gd name="T44" fmla="*/ 243 w 252"/>
                <a:gd name="T45" fmla="*/ 362 h 490"/>
                <a:gd name="T46" fmla="*/ 247 w 252"/>
                <a:gd name="T47" fmla="*/ 386 h 490"/>
                <a:gd name="T48" fmla="*/ 229 w 252"/>
                <a:gd name="T49" fmla="*/ 405 h 490"/>
                <a:gd name="T50" fmla="*/ 205 w 252"/>
                <a:gd name="T51" fmla="*/ 422 h 490"/>
                <a:gd name="T52" fmla="*/ 184 w 252"/>
                <a:gd name="T53" fmla="*/ 422 h 490"/>
                <a:gd name="T54" fmla="*/ 179 w 252"/>
                <a:gd name="T55" fmla="*/ 425 h 490"/>
                <a:gd name="T56" fmla="*/ 173 w 252"/>
                <a:gd name="T57" fmla="*/ 432 h 490"/>
                <a:gd name="T58" fmla="*/ 174 w 252"/>
                <a:gd name="T59" fmla="*/ 441 h 490"/>
                <a:gd name="T60" fmla="*/ 173 w 252"/>
                <a:gd name="T61" fmla="*/ 445 h 490"/>
                <a:gd name="T62" fmla="*/ 174 w 252"/>
                <a:gd name="T63" fmla="*/ 457 h 490"/>
                <a:gd name="T64" fmla="*/ 166 w 252"/>
                <a:gd name="T65" fmla="*/ 460 h 490"/>
                <a:gd name="T66" fmla="*/ 138 w 252"/>
                <a:gd name="T67" fmla="*/ 485 h 490"/>
                <a:gd name="T68" fmla="*/ 126 w 252"/>
                <a:gd name="T69" fmla="*/ 461 h 490"/>
                <a:gd name="T70" fmla="*/ 130 w 252"/>
                <a:gd name="T71" fmla="*/ 441 h 490"/>
                <a:gd name="T72" fmla="*/ 123 w 252"/>
                <a:gd name="T73" fmla="*/ 423 h 490"/>
                <a:gd name="T74" fmla="*/ 143 w 252"/>
                <a:gd name="T75" fmla="*/ 410 h 490"/>
                <a:gd name="T76" fmla="*/ 163 w 252"/>
                <a:gd name="T77" fmla="*/ 410 h 490"/>
                <a:gd name="T78" fmla="*/ 157 w 252"/>
                <a:gd name="T79" fmla="*/ 383 h 490"/>
                <a:gd name="T80" fmla="*/ 174 w 252"/>
                <a:gd name="T81" fmla="*/ 377 h 490"/>
                <a:gd name="T82" fmla="*/ 198 w 252"/>
                <a:gd name="T83" fmla="*/ 352 h 490"/>
                <a:gd name="T84" fmla="*/ 189 w 252"/>
                <a:gd name="T85" fmla="*/ 310 h 490"/>
                <a:gd name="T86" fmla="*/ 190 w 252"/>
                <a:gd name="T87" fmla="*/ 284 h 490"/>
                <a:gd name="T88" fmla="*/ 185 w 252"/>
                <a:gd name="T89" fmla="*/ 261 h 490"/>
                <a:gd name="T90" fmla="*/ 177 w 252"/>
                <a:gd name="T91" fmla="*/ 240 h 490"/>
                <a:gd name="T92" fmla="*/ 158 w 252"/>
                <a:gd name="T93" fmla="*/ 229 h 490"/>
                <a:gd name="T94" fmla="*/ 124 w 252"/>
                <a:gd name="T95" fmla="*/ 185 h 490"/>
                <a:gd name="T96" fmla="*/ 105 w 252"/>
                <a:gd name="T97" fmla="*/ 158 h 490"/>
                <a:gd name="T98" fmla="*/ 71 w 252"/>
                <a:gd name="T99" fmla="*/ 138 h 490"/>
                <a:gd name="T100" fmla="*/ 67 w 252"/>
                <a:gd name="T101" fmla="*/ 123 h 490"/>
                <a:gd name="T102" fmla="*/ 88 w 252"/>
                <a:gd name="T103" fmla="*/ 116 h 490"/>
                <a:gd name="T104" fmla="*/ 81 w 252"/>
                <a:gd name="T105" fmla="*/ 100 h 490"/>
                <a:gd name="T106" fmla="*/ 72 w 252"/>
                <a:gd name="T107" fmla="*/ 85 h 490"/>
                <a:gd name="T108" fmla="*/ 46 w 252"/>
                <a:gd name="T109" fmla="*/ 85 h 490"/>
                <a:gd name="T110" fmla="*/ 27 w 252"/>
                <a:gd name="T111" fmla="*/ 62 h 490"/>
                <a:gd name="T112" fmla="*/ 16 w 252"/>
                <a:gd name="T113" fmla="*/ 5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52" h="490">
                  <a:moveTo>
                    <a:pt x="0" y="32"/>
                  </a:moveTo>
                  <a:lnTo>
                    <a:pt x="3" y="31"/>
                  </a:lnTo>
                  <a:lnTo>
                    <a:pt x="4" y="29"/>
                  </a:lnTo>
                  <a:lnTo>
                    <a:pt x="6" y="25"/>
                  </a:lnTo>
                  <a:lnTo>
                    <a:pt x="8" y="23"/>
                  </a:lnTo>
                  <a:lnTo>
                    <a:pt x="12" y="21"/>
                  </a:lnTo>
                  <a:lnTo>
                    <a:pt x="16" y="23"/>
                  </a:lnTo>
                  <a:lnTo>
                    <a:pt x="18" y="25"/>
                  </a:lnTo>
                  <a:lnTo>
                    <a:pt x="20" y="28"/>
                  </a:lnTo>
                  <a:lnTo>
                    <a:pt x="23" y="30"/>
                  </a:lnTo>
                  <a:lnTo>
                    <a:pt x="25" y="30"/>
                  </a:lnTo>
                  <a:lnTo>
                    <a:pt x="28" y="28"/>
                  </a:lnTo>
                  <a:lnTo>
                    <a:pt x="30" y="24"/>
                  </a:lnTo>
                  <a:lnTo>
                    <a:pt x="33" y="21"/>
                  </a:lnTo>
                  <a:lnTo>
                    <a:pt x="34" y="23"/>
                  </a:lnTo>
                  <a:lnTo>
                    <a:pt x="36" y="24"/>
                  </a:lnTo>
                  <a:lnTo>
                    <a:pt x="39" y="28"/>
                  </a:lnTo>
                  <a:lnTo>
                    <a:pt x="39" y="25"/>
                  </a:lnTo>
                  <a:lnTo>
                    <a:pt x="40" y="23"/>
                  </a:lnTo>
                  <a:lnTo>
                    <a:pt x="41" y="21"/>
                  </a:lnTo>
                  <a:lnTo>
                    <a:pt x="44" y="23"/>
                  </a:lnTo>
                  <a:lnTo>
                    <a:pt x="47" y="26"/>
                  </a:lnTo>
                  <a:lnTo>
                    <a:pt x="51" y="30"/>
                  </a:lnTo>
                  <a:lnTo>
                    <a:pt x="52" y="29"/>
                  </a:lnTo>
                  <a:lnTo>
                    <a:pt x="54" y="25"/>
                  </a:lnTo>
                  <a:lnTo>
                    <a:pt x="56" y="20"/>
                  </a:lnTo>
                  <a:lnTo>
                    <a:pt x="59" y="19"/>
                  </a:lnTo>
                  <a:lnTo>
                    <a:pt x="59" y="21"/>
                  </a:lnTo>
                  <a:lnTo>
                    <a:pt x="60" y="23"/>
                  </a:lnTo>
                  <a:lnTo>
                    <a:pt x="65" y="21"/>
                  </a:lnTo>
                  <a:lnTo>
                    <a:pt x="71" y="19"/>
                  </a:lnTo>
                  <a:lnTo>
                    <a:pt x="73" y="16"/>
                  </a:lnTo>
                  <a:lnTo>
                    <a:pt x="75" y="15"/>
                  </a:lnTo>
                  <a:lnTo>
                    <a:pt x="75" y="13"/>
                  </a:lnTo>
                  <a:lnTo>
                    <a:pt x="73" y="12"/>
                  </a:lnTo>
                  <a:lnTo>
                    <a:pt x="73" y="10"/>
                  </a:lnTo>
                  <a:lnTo>
                    <a:pt x="76" y="8"/>
                  </a:lnTo>
                  <a:lnTo>
                    <a:pt x="79" y="5"/>
                  </a:lnTo>
                  <a:lnTo>
                    <a:pt x="83" y="4"/>
                  </a:lnTo>
                  <a:lnTo>
                    <a:pt x="86" y="0"/>
                  </a:lnTo>
                  <a:lnTo>
                    <a:pt x="93" y="8"/>
                  </a:lnTo>
                  <a:lnTo>
                    <a:pt x="102" y="14"/>
                  </a:lnTo>
                  <a:lnTo>
                    <a:pt x="105" y="14"/>
                  </a:lnTo>
                  <a:lnTo>
                    <a:pt x="108" y="14"/>
                  </a:lnTo>
                  <a:lnTo>
                    <a:pt x="111" y="14"/>
                  </a:lnTo>
                  <a:lnTo>
                    <a:pt x="114" y="16"/>
                  </a:lnTo>
                  <a:lnTo>
                    <a:pt x="118" y="18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7" y="18"/>
                  </a:lnTo>
                  <a:lnTo>
                    <a:pt x="129" y="20"/>
                  </a:lnTo>
                  <a:lnTo>
                    <a:pt x="130" y="24"/>
                  </a:lnTo>
                  <a:lnTo>
                    <a:pt x="129" y="26"/>
                  </a:lnTo>
                  <a:lnTo>
                    <a:pt x="126" y="26"/>
                  </a:lnTo>
                  <a:lnTo>
                    <a:pt x="126" y="32"/>
                  </a:lnTo>
                  <a:lnTo>
                    <a:pt x="129" y="37"/>
                  </a:lnTo>
                  <a:lnTo>
                    <a:pt x="132" y="47"/>
                  </a:lnTo>
                  <a:lnTo>
                    <a:pt x="135" y="46"/>
                  </a:lnTo>
                  <a:lnTo>
                    <a:pt x="138" y="47"/>
                  </a:lnTo>
                  <a:lnTo>
                    <a:pt x="141" y="48"/>
                  </a:lnTo>
                  <a:lnTo>
                    <a:pt x="142" y="51"/>
                  </a:lnTo>
                  <a:lnTo>
                    <a:pt x="145" y="53"/>
                  </a:lnTo>
                  <a:lnTo>
                    <a:pt x="147" y="56"/>
                  </a:lnTo>
                  <a:lnTo>
                    <a:pt x="151" y="57"/>
                  </a:lnTo>
                  <a:lnTo>
                    <a:pt x="153" y="59"/>
                  </a:lnTo>
                  <a:lnTo>
                    <a:pt x="156" y="57"/>
                  </a:lnTo>
                  <a:lnTo>
                    <a:pt x="157" y="59"/>
                  </a:lnTo>
                  <a:lnTo>
                    <a:pt x="158" y="59"/>
                  </a:lnTo>
                  <a:lnTo>
                    <a:pt x="163" y="58"/>
                  </a:lnTo>
                  <a:lnTo>
                    <a:pt x="168" y="58"/>
                  </a:lnTo>
                  <a:lnTo>
                    <a:pt x="173" y="59"/>
                  </a:lnTo>
                  <a:lnTo>
                    <a:pt x="177" y="62"/>
                  </a:lnTo>
                  <a:lnTo>
                    <a:pt x="178" y="63"/>
                  </a:lnTo>
                  <a:lnTo>
                    <a:pt x="177" y="63"/>
                  </a:lnTo>
                  <a:lnTo>
                    <a:pt x="174" y="64"/>
                  </a:lnTo>
                  <a:lnTo>
                    <a:pt x="172" y="63"/>
                  </a:lnTo>
                  <a:lnTo>
                    <a:pt x="169" y="62"/>
                  </a:lnTo>
                  <a:lnTo>
                    <a:pt x="166" y="63"/>
                  </a:lnTo>
                  <a:lnTo>
                    <a:pt x="162" y="67"/>
                  </a:lnTo>
                  <a:lnTo>
                    <a:pt x="161" y="69"/>
                  </a:lnTo>
                  <a:lnTo>
                    <a:pt x="158" y="71"/>
                  </a:lnTo>
                  <a:lnTo>
                    <a:pt x="156" y="71"/>
                  </a:lnTo>
                  <a:lnTo>
                    <a:pt x="156" y="73"/>
                  </a:lnTo>
                  <a:lnTo>
                    <a:pt x="156" y="75"/>
                  </a:lnTo>
                  <a:lnTo>
                    <a:pt x="156" y="78"/>
                  </a:lnTo>
                  <a:lnTo>
                    <a:pt x="153" y="79"/>
                  </a:lnTo>
                  <a:lnTo>
                    <a:pt x="150" y="80"/>
                  </a:lnTo>
                  <a:lnTo>
                    <a:pt x="148" y="80"/>
                  </a:lnTo>
                  <a:lnTo>
                    <a:pt x="148" y="79"/>
                  </a:lnTo>
                  <a:lnTo>
                    <a:pt x="150" y="78"/>
                  </a:lnTo>
                  <a:lnTo>
                    <a:pt x="147" y="78"/>
                  </a:lnTo>
                  <a:lnTo>
                    <a:pt x="145" y="80"/>
                  </a:lnTo>
                  <a:lnTo>
                    <a:pt x="143" y="82"/>
                  </a:lnTo>
                  <a:lnTo>
                    <a:pt x="142" y="83"/>
                  </a:lnTo>
                  <a:lnTo>
                    <a:pt x="140" y="80"/>
                  </a:lnTo>
                  <a:lnTo>
                    <a:pt x="137" y="79"/>
                  </a:lnTo>
                  <a:lnTo>
                    <a:pt x="136" y="79"/>
                  </a:lnTo>
                  <a:lnTo>
                    <a:pt x="140" y="82"/>
                  </a:lnTo>
                  <a:lnTo>
                    <a:pt x="138" y="83"/>
                  </a:lnTo>
                  <a:lnTo>
                    <a:pt x="138" y="85"/>
                  </a:lnTo>
                  <a:lnTo>
                    <a:pt x="141" y="89"/>
                  </a:lnTo>
                  <a:lnTo>
                    <a:pt x="141" y="90"/>
                  </a:lnTo>
                  <a:lnTo>
                    <a:pt x="138" y="90"/>
                  </a:lnTo>
                  <a:lnTo>
                    <a:pt x="137" y="90"/>
                  </a:lnTo>
                  <a:lnTo>
                    <a:pt x="136" y="90"/>
                  </a:lnTo>
                  <a:lnTo>
                    <a:pt x="136" y="93"/>
                  </a:lnTo>
                  <a:lnTo>
                    <a:pt x="137" y="96"/>
                  </a:lnTo>
                  <a:lnTo>
                    <a:pt x="136" y="100"/>
                  </a:lnTo>
                  <a:lnTo>
                    <a:pt x="135" y="102"/>
                  </a:lnTo>
                  <a:lnTo>
                    <a:pt x="136" y="102"/>
                  </a:lnTo>
                  <a:lnTo>
                    <a:pt x="135" y="105"/>
                  </a:lnTo>
                  <a:lnTo>
                    <a:pt x="131" y="109"/>
                  </a:lnTo>
                  <a:lnTo>
                    <a:pt x="127" y="111"/>
                  </a:lnTo>
                  <a:lnTo>
                    <a:pt x="125" y="111"/>
                  </a:lnTo>
                  <a:lnTo>
                    <a:pt x="123" y="114"/>
                  </a:lnTo>
                  <a:lnTo>
                    <a:pt x="120" y="117"/>
                  </a:lnTo>
                  <a:lnTo>
                    <a:pt x="119" y="125"/>
                  </a:lnTo>
                  <a:lnTo>
                    <a:pt x="119" y="130"/>
                  </a:lnTo>
                  <a:lnTo>
                    <a:pt x="119" y="133"/>
                  </a:lnTo>
                  <a:lnTo>
                    <a:pt x="119" y="138"/>
                  </a:lnTo>
                  <a:lnTo>
                    <a:pt x="118" y="142"/>
                  </a:lnTo>
                  <a:lnTo>
                    <a:pt x="116" y="146"/>
                  </a:lnTo>
                  <a:lnTo>
                    <a:pt x="118" y="149"/>
                  </a:lnTo>
                  <a:lnTo>
                    <a:pt x="120" y="152"/>
                  </a:lnTo>
                  <a:lnTo>
                    <a:pt x="121" y="157"/>
                  </a:lnTo>
                  <a:lnTo>
                    <a:pt x="123" y="154"/>
                  </a:lnTo>
                  <a:lnTo>
                    <a:pt x="124" y="155"/>
                  </a:lnTo>
                  <a:lnTo>
                    <a:pt x="125" y="158"/>
                  </a:lnTo>
                  <a:lnTo>
                    <a:pt x="125" y="160"/>
                  </a:lnTo>
                  <a:lnTo>
                    <a:pt x="134" y="169"/>
                  </a:lnTo>
                  <a:lnTo>
                    <a:pt x="143" y="175"/>
                  </a:lnTo>
                  <a:lnTo>
                    <a:pt x="145" y="179"/>
                  </a:lnTo>
                  <a:lnTo>
                    <a:pt x="146" y="181"/>
                  </a:lnTo>
                  <a:lnTo>
                    <a:pt x="146" y="187"/>
                  </a:lnTo>
                  <a:lnTo>
                    <a:pt x="143" y="186"/>
                  </a:lnTo>
                  <a:lnTo>
                    <a:pt x="141" y="186"/>
                  </a:lnTo>
                  <a:lnTo>
                    <a:pt x="146" y="187"/>
                  </a:lnTo>
                  <a:lnTo>
                    <a:pt x="150" y="191"/>
                  </a:lnTo>
                  <a:lnTo>
                    <a:pt x="152" y="196"/>
                  </a:lnTo>
                  <a:lnTo>
                    <a:pt x="156" y="200"/>
                  </a:lnTo>
                  <a:lnTo>
                    <a:pt x="161" y="202"/>
                  </a:lnTo>
                  <a:lnTo>
                    <a:pt x="166" y="207"/>
                  </a:lnTo>
                  <a:lnTo>
                    <a:pt x="169" y="211"/>
                  </a:lnTo>
                  <a:lnTo>
                    <a:pt x="169" y="213"/>
                  </a:lnTo>
                  <a:lnTo>
                    <a:pt x="169" y="216"/>
                  </a:lnTo>
                  <a:lnTo>
                    <a:pt x="173" y="216"/>
                  </a:lnTo>
                  <a:lnTo>
                    <a:pt x="177" y="218"/>
                  </a:lnTo>
                  <a:lnTo>
                    <a:pt x="180" y="222"/>
                  </a:lnTo>
                  <a:lnTo>
                    <a:pt x="183" y="224"/>
                  </a:lnTo>
                  <a:lnTo>
                    <a:pt x="179" y="223"/>
                  </a:lnTo>
                  <a:lnTo>
                    <a:pt x="186" y="228"/>
                  </a:lnTo>
                  <a:lnTo>
                    <a:pt x="193" y="234"/>
                  </a:lnTo>
                  <a:lnTo>
                    <a:pt x="194" y="233"/>
                  </a:lnTo>
                  <a:lnTo>
                    <a:pt x="196" y="233"/>
                  </a:lnTo>
                  <a:lnTo>
                    <a:pt x="200" y="236"/>
                  </a:lnTo>
                  <a:lnTo>
                    <a:pt x="204" y="240"/>
                  </a:lnTo>
                  <a:lnTo>
                    <a:pt x="204" y="244"/>
                  </a:lnTo>
                  <a:lnTo>
                    <a:pt x="204" y="243"/>
                  </a:lnTo>
                  <a:lnTo>
                    <a:pt x="204" y="240"/>
                  </a:lnTo>
                  <a:lnTo>
                    <a:pt x="205" y="239"/>
                  </a:lnTo>
                  <a:lnTo>
                    <a:pt x="207" y="240"/>
                  </a:lnTo>
                  <a:lnTo>
                    <a:pt x="205" y="243"/>
                  </a:lnTo>
                  <a:lnTo>
                    <a:pt x="206" y="245"/>
                  </a:lnTo>
                  <a:lnTo>
                    <a:pt x="209" y="249"/>
                  </a:lnTo>
                  <a:lnTo>
                    <a:pt x="212" y="254"/>
                  </a:lnTo>
                  <a:lnTo>
                    <a:pt x="218" y="261"/>
                  </a:lnTo>
                  <a:lnTo>
                    <a:pt x="221" y="264"/>
                  </a:lnTo>
                  <a:lnTo>
                    <a:pt x="222" y="266"/>
                  </a:lnTo>
                  <a:lnTo>
                    <a:pt x="223" y="265"/>
                  </a:lnTo>
                  <a:lnTo>
                    <a:pt x="225" y="265"/>
                  </a:lnTo>
                  <a:lnTo>
                    <a:pt x="226" y="266"/>
                  </a:lnTo>
                  <a:lnTo>
                    <a:pt x="227" y="267"/>
                  </a:lnTo>
                  <a:lnTo>
                    <a:pt x="227" y="270"/>
                  </a:lnTo>
                  <a:lnTo>
                    <a:pt x="227" y="271"/>
                  </a:lnTo>
                  <a:lnTo>
                    <a:pt x="226" y="271"/>
                  </a:lnTo>
                  <a:lnTo>
                    <a:pt x="226" y="272"/>
                  </a:lnTo>
                  <a:lnTo>
                    <a:pt x="229" y="280"/>
                  </a:lnTo>
                  <a:lnTo>
                    <a:pt x="233" y="286"/>
                  </a:lnTo>
                  <a:lnTo>
                    <a:pt x="237" y="296"/>
                  </a:lnTo>
                  <a:lnTo>
                    <a:pt x="239" y="305"/>
                  </a:lnTo>
                  <a:lnTo>
                    <a:pt x="243" y="313"/>
                  </a:lnTo>
                  <a:lnTo>
                    <a:pt x="243" y="315"/>
                  </a:lnTo>
                  <a:lnTo>
                    <a:pt x="243" y="316"/>
                  </a:lnTo>
                  <a:lnTo>
                    <a:pt x="243" y="318"/>
                  </a:lnTo>
                  <a:lnTo>
                    <a:pt x="242" y="316"/>
                  </a:lnTo>
                  <a:lnTo>
                    <a:pt x="242" y="314"/>
                  </a:lnTo>
                  <a:lnTo>
                    <a:pt x="242" y="318"/>
                  </a:lnTo>
                  <a:lnTo>
                    <a:pt x="243" y="323"/>
                  </a:lnTo>
                  <a:lnTo>
                    <a:pt x="243" y="325"/>
                  </a:lnTo>
                  <a:lnTo>
                    <a:pt x="243" y="324"/>
                  </a:lnTo>
                  <a:lnTo>
                    <a:pt x="242" y="323"/>
                  </a:lnTo>
                  <a:lnTo>
                    <a:pt x="245" y="327"/>
                  </a:lnTo>
                  <a:lnTo>
                    <a:pt x="243" y="329"/>
                  </a:lnTo>
                  <a:lnTo>
                    <a:pt x="243" y="330"/>
                  </a:lnTo>
                  <a:lnTo>
                    <a:pt x="245" y="334"/>
                  </a:lnTo>
                  <a:lnTo>
                    <a:pt x="248" y="340"/>
                  </a:lnTo>
                  <a:lnTo>
                    <a:pt x="250" y="345"/>
                  </a:lnTo>
                  <a:lnTo>
                    <a:pt x="250" y="347"/>
                  </a:lnTo>
                  <a:lnTo>
                    <a:pt x="250" y="351"/>
                  </a:lnTo>
                  <a:lnTo>
                    <a:pt x="252" y="353"/>
                  </a:lnTo>
                  <a:lnTo>
                    <a:pt x="250" y="356"/>
                  </a:lnTo>
                  <a:lnTo>
                    <a:pt x="248" y="351"/>
                  </a:lnTo>
                  <a:lnTo>
                    <a:pt x="245" y="353"/>
                  </a:lnTo>
                  <a:lnTo>
                    <a:pt x="245" y="357"/>
                  </a:lnTo>
                  <a:lnTo>
                    <a:pt x="247" y="361"/>
                  </a:lnTo>
                  <a:lnTo>
                    <a:pt x="249" y="363"/>
                  </a:lnTo>
                  <a:lnTo>
                    <a:pt x="243" y="362"/>
                  </a:lnTo>
                  <a:lnTo>
                    <a:pt x="245" y="364"/>
                  </a:lnTo>
                  <a:lnTo>
                    <a:pt x="247" y="370"/>
                  </a:lnTo>
                  <a:lnTo>
                    <a:pt x="247" y="375"/>
                  </a:lnTo>
                  <a:lnTo>
                    <a:pt x="247" y="379"/>
                  </a:lnTo>
                  <a:lnTo>
                    <a:pt x="245" y="373"/>
                  </a:lnTo>
                  <a:lnTo>
                    <a:pt x="245" y="378"/>
                  </a:lnTo>
                  <a:lnTo>
                    <a:pt x="244" y="382"/>
                  </a:lnTo>
                  <a:lnTo>
                    <a:pt x="248" y="383"/>
                  </a:lnTo>
                  <a:lnTo>
                    <a:pt x="247" y="386"/>
                  </a:lnTo>
                  <a:lnTo>
                    <a:pt x="244" y="389"/>
                  </a:lnTo>
                  <a:lnTo>
                    <a:pt x="243" y="390"/>
                  </a:lnTo>
                  <a:lnTo>
                    <a:pt x="242" y="390"/>
                  </a:lnTo>
                  <a:lnTo>
                    <a:pt x="242" y="394"/>
                  </a:lnTo>
                  <a:lnTo>
                    <a:pt x="242" y="395"/>
                  </a:lnTo>
                  <a:lnTo>
                    <a:pt x="241" y="398"/>
                  </a:lnTo>
                  <a:lnTo>
                    <a:pt x="237" y="399"/>
                  </a:lnTo>
                  <a:lnTo>
                    <a:pt x="232" y="402"/>
                  </a:lnTo>
                  <a:lnTo>
                    <a:pt x="229" y="405"/>
                  </a:lnTo>
                  <a:lnTo>
                    <a:pt x="227" y="407"/>
                  </a:lnTo>
                  <a:lnTo>
                    <a:pt x="218" y="411"/>
                  </a:lnTo>
                  <a:lnTo>
                    <a:pt x="217" y="414"/>
                  </a:lnTo>
                  <a:lnTo>
                    <a:pt x="216" y="416"/>
                  </a:lnTo>
                  <a:lnTo>
                    <a:pt x="215" y="417"/>
                  </a:lnTo>
                  <a:lnTo>
                    <a:pt x="214" y="418"/>
                  </a:lnTo>
                  <a:lnTo>
                    <a:pt x="211" y="418"/>
                  </a:lnTo>
                  <a:lnTo>
                    <a:pt x="209" y="420"/>
                  </a:lnTo>
                  <a:lnTo>
                    <a:pt x="205" y="422"/>
                  </a:lnTo>
                  <a:lnTo>
                    <a:pt x="199" y="426"/>
                  </a:lnTo>
                  <a:lnTo>
                    <a:pt x="196" y="427"/>
                  </a:lnTo>
                  <a:lnTo>
                    <a:pt x="194" y="430"/>
                  </a:lnTo>
                  <a:lnTo>
                    <a:pt x="193" y="427"/>
                  </a:lnTo>
                  <a:lnTo>
                    <a:pt x="190" y="426"/>
                  </a:lnTo>
                  <a:lnTo>
                    <a:pt x="188" y="423"/>
                  </a:lnTo>
                  <a:lnTo>
                    <a:pt x="186" y="421"/>
                  </a:lnTo>
                  <a:lnTo>
                    <a:pt x="185" y="426"/>
                  </a:lnTo>
                  <a:lnTo>
                    <a:pt x="184" y="422"/>
                  </a:lnTo>
                  <a:lnTo>
                    <a:pt x="184" y="423"/>
                  </a:lnTo>
                  <a:lnTo>
                    <a:pt x="184" y="425"/>
                  </a:lnTo>
                  <a:lnTo>
                    <a:pt x="184" y="423"/>
                  </a:lnTo>
                  <a:lnTo>
                    <a:pt x="182" y="421"/>
                  </a:lnTo>
                  <a:lnTo>
                    <a:pt x="183" y="421"/>
                  </a:lnTo>
                  <a:lnTo>
                    <a:pt x="182" y="421"/>
                  </a:lnTo>
                  <a:lnTo>
                    <a:pt x="180" y="420"/>
                  </a:lnTo>
                  <a:lnTo>
                    <a:pt x="179" y="420"/>
                  </a:lnTo>
                  <a:lnTo>
                    <a:pt x="179" y="425"/>
                  </a:lnTo>
                  <a:lnTo>
                    <a:pt x="177" y="426"/>
                  </a:lnTo>
                  <a:lnTo>
                    <a:pt x="174" y="426"/>
                  </a:lnTo>
                  <a:lnTo>
                    <a:pt x="175" y="427"/>
                  </a:lnTo>
                  <a:lnTo>
                    <a:pt x="178" y="427"/>
                  </a:lnTo>
                  <a:lnTo>
                    <a:pt x="179" y="427"/>
                  </a:lnTo>
                  <a:lnTo>
                    <a:pt x="180" y="428"/>
                  </a:lnTo>
                  <a:lnTo>
                    <a:pt x="180" y="432"/>
                  </a:lnTo>
                  <a:lnTo>
                    <a:pt x="177" y="432"/>
                  </a:lnTo>
                  <a:lnTo>
                    <a:pt x="173" y="432"/>
                  </a:lnTo>
                  <a:lnTo>
                    <a:pt x="170" y="432"/>
                  </a:lnTo>
                  <a:lnTo>
                    <a:pt x="173" y="433"/>
                  </a:lnTo>
                  <a:lnTo>
                    <a:pt x="177" y="434"/>
                  </a:lnTo>
                  <a:lnTo>
                    <a:pt x="179" y="436"/>
                  </a:lnTo>
                  <a:lnTo>
                    <a:pt x="182" y="438"/>
                  </a:lnTo>
                  <a:lnTo>
                    <a:pt x="179" y="439"/>
                  </a:lnTo>
                  <a:lnTo>
                    <a:pt x="178" y="441"/>
                  </a:lnTo>
                  <a:lnTo>
                    <a:pt x="177" y="442"/>
                  </a:lnTo>
                  <a:lnTo>
                    <a:pt x="174" y="441"/>
                  </a:lnTo>
                  <a:lnTo>
                    <a:pt x="173" y="439"/>
                  </a:lnTo>
                  <a:lnTo>
                    <a:pt x="170" y="437"/>
                  </a:lnTo>
                  <a:lnTo>
                    <a:pt x="169" y="434"/>
                  </a:lnTo>
                  <a:lnTo>
                    <a:pt x="167" y="433"/>
                  </a:lnTo>
                  <a:lnTo>
                    <a:pt x="169" y="437"/>
                  </a:lnTo>
                  <a:lnTo>
                    <a:pt x="174" y="441"/>
                  </a:lnTo>
                  <a:lnTo>
                    <a:pt x="177" y="444"/>
                  </a:lnTo>
                  <a:lnTo>
                    <a:pt x="178" y="448"/>
                  </a:lnTo>
                  <a:lnTo>
                    <a:pt x="173" y="445"/>
                  </a:lnTo>
                  <a:lnTo>
                    <a:pt x="169" y="442"/>
                  </a:lnTo>
                  <a:lnTo>
                    <a:pt x="162" y="434"/>
                  </a:lnTo>
                  <a:lnTo>
                    <a:pt x="163" y="436"/>
                  </a:lnTo>
                  <a:lnTo>
                    <a:pt x="166" y="438"/>
                  </a:lnTo>
                  <a:lnTo>
                    <a:pt x="172" y="445"/>
                  </a:lnTo>
                  <a:lnTo>
                    <a:pt x="174" y="448"/>
                  </a:lnTo>
                  <a:lnTo>
                    <a:pt x="177" y="452"/>
                  </a:lnTo>
                  <a:lnTo>
                    <a:pt x="177" y="454"/>
                  </a:lnTo>
                  <a:lnTo>
                    <a:pt x="174" y="457"/>
                  </a:lnTo>
                  <a:lnTo>
                    <a:pt x="172" y="458"/>
                  </a:lnTo>
                  <a:lnTo>
                    <a:pt x="169" y="457"/>
                  </a:lnTo>
                  <a:lnTo>
                    <a:pt x="163" y="452"/>
                  </a:lnTo>
                  <a:lnTo>
                    <a:pt x="158" y="445"/>
                  </a:lnTo>
                  <a:lnTo>
                    <a:pt x="153" y="442"/>
                  </a:lnTo>
                  <a:lnTo>
                    <a:pt x="157" y="445"/>
                  </a:lnTo>
                  <a:lnTo>
                    <a:pt x="162" y="450"/>
                  </a:lnTo>
                  <a:lnTo>
                    <a:pt x="166" y="455"/>
                  </a:lnTo>
                  <a:lnTo>
                    <a:pt x="166" y="460"/>
                  </a:lnTo>
                  <a:lnTo>
                    <a:pt x="163" y="464"/>
                  </a:lnTo>
                  <a:lnTo>
                    <a:pt x="159" y="465"/>
                  </a:lnTo>
                  <a:lnTo>
                    <a:pt x="156" y="468"/>
                  </a:lnTo>
                  <a:lnTo>
                    <a:pt x="152" y="469"/>
                  </a:lnTo>
                  <a:lnTo>
                    <a:pt x="148" y="471"/>
                  </a:lnTo>
                  <a:lnTo>
                    <a:pt x="146" y="475"/>
                  </a:lnTo>
                  <a:lnTo>
                    <a:pt x="143" y="479"/>
                  </a:lnTo>
                  <a:lnTo>
                    <a:pt x="141" y="482"/>
                  </a:lnTo>
                  <a:lnTo>
                    <a:pt x="138" y="485"/>
                  </a:lnTo>
                  <a:lnTo>
                    <a:pt x="134" y="489"/>
                  </a:lnTo>
                  <a:lnTo>
                    <a:pt x="130" y="490"/>
                  </a:lnTo>
                  <a:lnTo>
                    <a:pt x="126" y="487"/>
                  </a:lnTo>
                  <a:lnTo>
                    <a:pt x="129" y="486"/>
                  </a:lnTo>
                  <a:lnTo>
                    <a:pt x="131" y="485"/>
                  </a:lnTo>
                  <a:lnTo>
                    <a:pt x="131" y="481"/>
                  </a:lnTo>
                  <a:lnTo>
                    <a:pt x="127" y="482"/>
                  </a:lnTo>
                  <a:lnTo>
                    <a:pt x="126" y="473"/>
                  </a:lnTo>
                  <a:lnTo>
                    <a:pt x="126" y="461"/>
                  </a:lnTo>
                  <a:lnTo>
                    <a:pt x="126" y="457"/>
                  </a:lnTo>
                  <a:lnTo>
                    <a:pt x="127" y="452"/>
                  </a:lnTo>
                  <a:lnTo>
                    <a:pt x="129" y="449"/>
                  </a:lnTo>
                  <a:lnTo>
                    <a:pt x="130" y="445"/>
                  </a:lnTo>
                  <a:lnTo>
                    <a:pt x="132" y="444"/>
                  </a:lnTo>
                  <a:lnTo>
                    <a:pt x="132" y="444"/>
                  </a:lnTo>
                  <a:lnTo>
                    <a:pt x="134" y="447"/>
                  </a:lnTo>
                  <a:lnTo>
                    <a:pt x="132" y="443"/>
                  </a:lnTo>
                  <a:lnTo>
                    <a:pt x="130" y="441"/>
                  </a:lnTo>
                  <a:lnTo>
                    <a:pt x="124" y="437"/>
                  </a:lnTo>
                  <a:lnTo>
                    <a:pt x="118" y="433"/>
                  </a:lnTo>
                  <a:lnTo>
                    <a:pt x="115" y="431"/>
                  </a:lnTo>
                  <a:lnTo>
                    <a:pt x="115" y="428"/>
                  </a:lnTo>
                  <a:lnTo>
                    <a:pt x="114" y="430"/>
                  </a:lnTo>
                  <a:lnTo>
                    <a:pt x="111" y="427"/>
                  </a:lnTo>
                  <a:lnTo>
                    <a:pt x="115" y="426"/>
                  </a:lnTo>
                  <a:lnTo>
                    <a:pt x="118" y="425"/>
                  </a:lnTo>
                  <a:lnTo>
                    <a:pt x="123" y="423"/>
                  </a:lnTo>
                  <a:lnTo>
                    <a:pt x="126" y="422"/>
                  </a:lnTo>
                  <a:lnTo>
                    <a:pt x="127" y="421"/>
                  </a:lnTo>
                  <a:lnTo>
                    <a:pt x="129" y="418"/>
                  </a:lnTo>
                  <a:lnTo>
                    <a:pt x="129" y="415"/>
                  </a:lnTo>
                  <a:lnTo>
                    <a:pt x="129" y="412"/>
                  </a:lnTo>
                  <a:lnTo>
                    <a:pt x="130" y="410"/>
                  </a:lnTo>
                  <a:lnTo>
                    <a:pt x="135" y="412"/>
                  </a:lnTo>
                  <a:lnTo>
                    <a:pt x="140" y="412"/>
                  </a:lnTo>
                  <a:lnTo>
                    <a:pt x="143" y="410"/>
                  </a:lnTo>
                  <a:lnTo>
                    <a:pt x="148" y="409"/>
                  </a:lnTo>
                  <a:lnTo>
                    <a:pt x="151" y="410"/>
                  </a:lnTo>
                  <a:lnTo>
                    <a:pt x="152" y="411"/>
                  </a:lnTo>
                  <a:lnTo>
                    <a:pt x="154" y="414"/>
                  </a:lnTo>
                  <a:lnTo>
                    <a:pt x="157" y="415"/>
                  </a:lnTo>
                  <a:lnTo>
                    <a:pt x="162" y="416"/>
                  </a:lnTo>
                  <a:lnTo>
                    <a:pt x="161" y="412"/>
                  </a:lnTo>
                  <a:lnTo>
                    <a:pt x="161" y="411"/>
                  </a:lnTo>
                  <a:lnTo>
                    <a:pt x="163" y="410"/>
                  </a:lnTo>
                  <a:lnTo>
                    <a:pt x="162" y="407"/>
                  </a:lnTo>
                  <a:lnTo>
                    <a:pt x="158" y="405"/>
                  </a:lnTo>
                  <a:lnTo>
                    <a:pt x="156" y="404"/>
                  </a:lnTo>
                  <a:lnTo>
                    <a:pt x="153" y="401"/>
                  </a:lnTo>
                  <a:lnTo>
                    <a:pt x="150" y="391"/>
                  </a:lnTo>
                  <a:lnTo>
                    <a:pt x="150" y="389"/>
                  </a:lnTo>
                  <a:lnTo>
                    <a:pt x="151" y="388"/>
                  </a:lnTo>
                  <a:lnTo>
                    <a:pt x="154" y="385"/>
                  </a:lnTo>
                  <a:lnTo>
                    <a:pt x="157" y="383"/>
                  </a:lnTo>
                  <a:lnTo>
                    <a:pt x="161" y="384"/>
                  </a:lnTo>
                  <a:lnTo>
                    <a:pt x="164" y="385"/>
                  </a:lnTo>
                  <a:lnTo>
                    <a:pt x="168" y="386"/>
                  </a:lnTo>
                  <a:lnTo>
                    <a:pt x="167" y="384"/>
                  </a:lnTo>
                  <a:lnTo>
                    <a:pt x="167" y="382"/>
                  </a:lnTo>
                  <a:lnTo>
                    <a:pt x="167" y="379"/>
                  </a:lnTo>
                  <a:lnTo>
                    <a:pt x="166" y="377"/>
                  </a:lnTo>
                  <a:lnTo>
                    <a:pt x="170" y="377"/>
                  </a:lnTo>
                  <a:lnTo>
                    <a:pt x="174" y="377"/>
                  </a:lnTo>
                  <a:lnTo>
                    <a:pt x="179" y="374"/>
                  </a:lnTo>
                  <a:lnTo>
                    <a:pt x="183" y="372"/>
                  </a:lnTo>
                  <a:lnTo>
                    <a:pt x="185" y="368"/>
                  </a:lnTo>
                  <a:lnTo>
                    <a:pt x="189" y="367"/>
                  </a:lnTo>
                  <a:lnTo>
                    <a:pt x="193" y="366"/>
                  </a:lnTo>
                  <a:lnTo>
                    <a:pt x="196" y="364"/>
                  </a:lnTo>
                  <a:lnTo>
                    <a:pt x="199" y="362"/>
                  </a:lnTo>
                  <a:lnTo>
                    <a:pt x="199" y="359"/>
                  </a:lnTo>
                  <a:lnTo>
                    <a:pt x="198" y="352"/>
                  </a:lnTo>
                  <a:lnTo>
                    <a:pt x="195" y="345"/>
                  </a:lnTo>
                  <a:lnTo>
                    <a:pt x="195" y="339"/>
                  </a:lnTo>
                  <a:lnTo>
                    <a:pt x="196" y="332"/>
                  </a:lnTo>
                  <a:lnTo>
                    <a:pt x="195" y="329"/>
                  </a:lnTo>
                  <a:lnTo>
                    <a:pt x="194" y="325"/>
                  </a:lnTo>
                  <a:lnTo>
                    <a:pt x="191" y="320"/>
                  </a:lnTo>
                  <a:lnTo>
                    <a:pt x="191" y="316"/>
                  </a:lnTo>
                  <a:lnTo>
                    <a:pt x="190" y="313"/>
                  </a:lnTo>
                  <a:lnTo>
                    <a:pt x="189" y="310"/>
                  </a:lnTo>
                  <a:lnTo>
                    <a:pt x="188" y="309"/>
                  </a:lnTo>
                  <a:lnTo>
                    <a:pt x="186" y="307"/>
                  </a:lnTo>
                  <a:lnTo>
                    <a:pt x="186" y="304"/>
                  </a:lnTo>
                  <a:lnTo>
                    <a:pt x="186" y="299"/>
                  </a:lnTo>
                  <a:lnTo>
                    <a:pt x="188" y="296"/>
                  </a:lnTo>
                  <a:lnTo>
                    <a:pt x="189" y="293"/>
                  </a:lnTo>
                  <a:lnTo>
                    <a:pt x="190" y="289"/>
                  </a:lnTo>
                  <a:lnTo>
                    <a:pt x="190" y="287"/>
                  </a:lnTo>
                  <a:lnTo>
                    <a:pt x="190" y="284"/>
                  </a:lnTo>
                  <a:lnTo>
                    <a:pt x="189" y="282"/>
                  </a:lnTo>
                  <a:lnTo>
                    <a:pt x="189" y="281"/>
                  </a:lnTo>
                  <a:lnTo>
                    <a:pt x="186" y="278"/>
                  </a:lnTo>
                  <a:lnTo>
                    <a:pt x="188" y="277"/>
                  </a:lnTo>
                  <a:lnTo>
                    <a:pt x="189" y="276"/>
                  </a:lnTo>
                  <a:lnTo>
                    <a:pt x="190" y="273"/>
                  </a:lnTo>
                  <a:lnTo>
                    <a:pt x="191" y="268"/>
                  </a:lnTo>
                  <a:lnTo>
                    <a:pt x="189" y="265"/>
                  </a:lnTo>
                  <a:lnTo>
                    <a:pt x="185" y="261"/>
                  </a:lnTo>
                  <a:lnTo>
                    <a:pt x="182" y="259"/>
                  </a:lnTo>
                  <a:lnTo>
                    <a:pt x="178" y="255"/>
                  </a:lnTo>
                  <a:lnTo>
                    <a:pt x="175" y="254"/>
                  </a:lnTo>
                  <a:lnTo>
                    <a:pt x="174" y="251"/>
                  </a:lnTo>
                  <a:lnTo>
                    <a:pt x="175" y="249"/>
                  </a:lnTo>
                  <a:lnTo>
                    <a:pt x="178" y="248"/>
                  </a:lnTo>
                  <a:lnTo>
                    <a:pt x="180" y="245"/>
                  </a:lnTo>
                  <a:lnTo>
                    <a:pt x="183" y="243"/>
                  </a:lnTo>
                  <a:lnTo>
                    <a:pt x="177" y="240"/>
                  </a:lnTo>
                  <a:lnTo>
                    <a:pt x="172" y="235"/>
                  </a:lnTo>
                  <a:lnTo>
                    <a:pt x="170" y="234"/>
                  </a:lnTo>
                  <a:lnTo>
                    <a:pt x="168" y="234"/>
                  </a:lnTo>
                  <a:lnTo>
                    <a:pt x="167" y="233"/>
                  </a:lnTo>
                  <a:lnTo>
                    <a:pt x="166" y="232"/>
                  </a:lnTo>
                  <a:lnTo>
                    <a:pt x="164" y="229"/>
                  </a:lnTo>
                  <a:lnTo>
                    <a:pt x="162" y="229"/>
                  </a:lnTo>
                  <a:lnTo>
                    <a:pt x="161" y="229"/>
                  </a:lnTo>
                  <a:lnTo>
                    <a:pt x="158" y="229"/>
                  </a:lnTo>
                  <a:lnTo>
                    <a:pt x="157" y="228"/>
                  </a:lnTo>
                  <a:lnTo>
                    <a:pt x="154" y="225"/>
                  </a:lnTo>
                  <a:lnTo>
                    <a:pt x="153" y="221"/>
                  </a:lnTo>
                  <a:lnTo>
                    <a:pt x="151" y="211"/>
                  </a:lnTo>
                  <a:lnTo>
                    <a:pt x="143" y="203"/>
                  </a:lnTo>
                  <a:lnTo>
                    <a:pt x="140" y="201"/>
                  </a:lnTo>
                  <a:lnTo>
                    <a:pt x="136" y="198"/>
                  </a:lnTo>
                  <a:lnTo>
                    <a:pt x="130" y="191"/>
                  </a:lnTo>
                  <a:lnTo>
                    <a:pt x="124" y="185"/>
                  </a:lnTo>
                  <a:lnTo>
                    <a:pt x="120" y="179"/>
                  </a:lnTo>
                  <a:lnTo>
                    <a:pt x="118" y="174"/>
                  </a:lnTo>
                  <a:lnTo>
                    <a:pt x="116" y="173"/>
                  </a:lnTo>
                  <a:lnTo>
                    <a:pt x="114" y="173"/>
                  </a:lnTo>
                  <a:lnTo>
                    <a:pt x="110" y="170"/>
                  </a:lnTo>
                  <a:lnTo>
                    <a:pt x="107" y="166"/>
                  </a:lnTo>
                  <a:lnTo>
                    <a:pt x="105" y="163"/>
                  </a:lnTo>
                  <a:lnTo>
                    <a:pt x="104" y="160"/>
                  </a:lnTo>
                  <a:lnTo>
                    <a:pt x="105" y="158"/>
                  </a:lnTo>
                  <a:lnTo>
                    <a:pt x="105" y="157"/>
                  </a:lnTo>
                  <a:lnTo>
                    <a:pt x="104" y="155"/>
                  </a:lnTo>
                  <a:lnTo>
                    <a:pt x="100" y="154"/>
                  </a:lnTo>
                  <a:lnTo>
                    <a:pt x="97" y="153"/>
                  </a:lnTo>
                  <a:lnTo>
                    <a:pt x="94" y="152"/>
                  </a:lnTo>
                  <a:lnTo>
                    <a:pt x="88" y="149"/>
                  </a:lnTo>
                  <a:lnTo>
                    <a:pt x="82" y="146"/>
                  </a:lnTo>
                  <a:lnTo>
                    <a:pt x="77" y="141"/>
                  </a:lnTo>
                  <a:lnTo>
                    <a:pt x="71" y="138"/>
                  </a:lnTo>
                  <a:lnTo>
                    <a:pt x="68" y="137"/>
                  </a:lnTo>
                  <a:lnTo>
                    <a:pt x="66" y="136"/>
                  </a:lnTo>
                  <a:lnTo>
                    <a:pt x="66" y="134"/>
                  </a:lnTo>
                  <a:lnTo>
                    <a:pt x="67" y="132"/>
                  </a:lnTo>
                  <a:lnTo>
                    <a:pt x="70" y="131"/>
                  </a:lnTo>
                  <a:lnTo>
                    <a:pt x="70" y="130"/>
                  </a:lnTo>
                  <a:lnTo>
                    <a:pt x="70" y="128"/>
                  </a:lnTo>
                  <a:lnTo>
                    <a:pt x="67" y="126"/>
                  </a:lnTo>
                  <a:lnTo>
                    <a:pt x="67" y="123"/>
                  </a:lnTo>
                  <a:lnTo>
                    <a:pt x="68" y="122"/>
                  </a:lnTo>
                  <a:lnTo>
                    <a:pt x="72" y="122"/>
                  </a:lnTo>
                  <a:lnTo>
                    <a:pt x="76" y="123"/>
                  </a:lnTo>
                  <a:lnTo>
                    <a:pt x="78" y="123"/>
                  </a:lnTo>
                  <a:lnTo>
                    <a:pt x="82" y="123"/>
                  </a:lnTo>
                  <a:lnTo>
                    <a:pt x="87" y="121"/>
                  </a:lnTo>
                  <a:lnTo>
                    <a:pt x="89" y="118"/>
                  </a:lnTo>
                  <a:lnTo>
                    <a:pt x="89" y="117"/>
                  </a:lnTo>
                  <a:lnTo>
                    <a:pt x="88" y="116"/>
                  </a:lnTo>
                  <a:lnTo>
                    <a:pt x="91" y="114"/>
                  </a:lnTo>
                  <a:lnTo>
                    <a:pt x="92" y="112"/>
                  </a:lnTo>
                  <a:lnTo>
                    <a:pt x="93" y="111"/>
                  </a:lnTo>
                  <a:lnTo>
                    <a:pt x="92" y="109"/>
                  </a:lnTo>
                  <a:lnTo>
                    <a:pt x="91" y="106"/>
                  </a:lnTo>
                  <a:lnTo>
                    <a:pt x="86" y="105"/>
                  </a:lnTo>
                  <a:lnTo>
                    <a:pt x="83" y="104"/>
                  </a:lnTo>
                  <a:lnTo>
                    <a:pt x="83" y="101"/>
                  </a:lnTo>
                  <a:lnTo>
                    <a:pt x="81" y="100"/>
                  </a:lnTo>
                  <a:lnTo>
                    <a:pt x="79" y="99"/>
                  </a:lnTo>
                  <a:lnTo>
                    <a:pt x="73" y="98"/>
                  </a:lnTo>
                  <a:lnTo>
                    <a:pt x="75" y="96"/>
                  </a:lnTo>
                  <a:lnTo>
                    <a:pt x="77" y="95"/>
                  </a:lnTo>
                  <a:lnTo>
                    <a:pt x="78" y="94"/>
                  </a:lnTo>
                  <a:lnTo>
                    <a:pt x="79" y="93"/>
                  </a:lnTo>
                  <a:lnTo>
                    <a:pt x="78" y="90"/>
                  </a:lnTo>
                  <a:lnTo>
                    <a:pt x="77" y="88"/>
                  </a:lnTo>
                  <a:lnTo>
                    <a:pt x="72" y="85"/>
                  </a:lnTo>
                  <a:lnTo>
                    <a:pt x="67" y="82"/>
                  </a:lnTo>
                  <a:lnTo>
                    <a:pt x="65" y="82"/>
                  </a:lnTo>
                  <a:lnTo>
                    <a:pt x="62" y="82"/>
                  </a:lnTo>
                  <a:lnTo>
                    <a:pt x="59" y="83"/>
                  </a:lnTo>
                  <a:lnTo>
                    <a:pt x="56" y="84"/>
                  </a:lnTo>
                  <a:lnTo>
                    <a:pt x="55" y="88"/>
                  </a:lnTo>
                  <a:lnTo>
                    <a:pt x="54" y="90"/>
                  </a:lnTo>
                  <a:lnTo>
                    <a:pt x="49" y="87"/>
                  </a:lnTo>
                  <a:lnTo>
                    <a:pt x="46" y="85"/>
                  </a:lnTo>
                  <a:lnTo>
                    <a:pt x="43" y="85"/>
                  </a:lnTo>
                  <a:lnTo>
                    <a:pt x="40" y="85"/>
                  </a:lnTo>
                  <a:lnTo>
                    <a:pt x="36" y="83"/>
                  </a:lnTo>
                  <a:lnTo>
                    <a:pt x="33" y="79"/>
                  </a:lnTo>
                  <a:lnTo>
                    <a:pt x="30" y="77"/>
                  </a:lnTo>
                  <a:lnTo>
                    <a:pt x="29" y="73"/>
                  </a:lnTo>
                  <a:lnTo>
                    <a:pt x="28" y="69"/>
                  </a:lnTo>
                  <a:lnTo>
                    <a:pt x="27" y="66"/>
                  </a:lnTo>
                  <a:lnTo>
                    <a:pt x="27" y="62"/>
                  </a:lnTo>
                  <a:lnTo>
                    <a:pt x="28" y="58"/>
                  </a:lnTo>
                  <a:lnTo>
                    <a:pt x="25" y="56"/>
                  </a:lnTo>
                  <a:lnTo>
                    <a:pt x="24" y="55"/>
                  </a:lnTo>
                  <a:lnTo>
                    <a:pt x="22" y="51"/>
                  </a:lnTo>
                  <a:lnTo>
                    <a:pt x="23" y="55"/>
                  </a:lnTo>
                  <a:lnTo>
                    <a:pt x="20" y="57"/>
                  </a:lnTo>
                  <a:lnTo>
                    <a:pt x="19" y="56"/>
                  </a:lnTo>
                  <a:lnTo>
                    <a:pt x="17" y="53"/>
                  </a:lnTo>
                  <a:lnTo>
                    <a:pt x="16" y="50"/>
                  </a:lnTo>
                  <a:lnTo>
                    <a:pt x="13" y="47"/>
                  </a:lnTo>
                  <a:lnTo>
                    <a:pt x="6" y="41"/>
                  </a:lnTo>
                  <a:lnTo>
                    <a:pt x="2" y="37"/>
                  </a:lnTo>
                  <a:lnTo>
                    <a:pt x="0" y="3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4" name="Freeform 802">
              <a:extLst>
                <a:ext uri="{FF2B5EF4-FFF2-40B4-BE49-F238E27FC236}">
                  <a16:creationId xmlns:a16="http://schemas.microsoft.com/office/drawing/2014/main" id="{CDF27EC7-9E67-493D-AE1A-18DE451A1C3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1887" y="3881050"/>
              <a:ext cx="0" cy="4216"/>
            </a:xfrm>
            <a:custGeom>
              <a:avLst/>
              <a:gdLst>
                <a:gd name="T0" fmla="*/ 1 w 1"/>
                <a:gd name="T1" fmla="*/ 2 h 2"/>
                <a:gd name="T2" fmla="*/ 1 w 1"/>
                <a:gd name="T3" fmla="*/ 1 h 2"/>
                <a:gd name="T4" fmla="*/ 0 w 1"/>
                <a:gd name="T5" fmla="*/ 0 h 2"/>
                <a:gd name="T6" fmla="*/ 1 w 1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lnTo>
                    <a:pt x="1" y="1"/>
                  </a:lnTo>
                  <a:lnTo>
                    <a:pt x="0" y="0"/>
                  </a:lnTo>
                  <a:lnTo>
                    <a:pt x="1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5" name="Freeform 803">
              <a:extLst>
                <a:ext uri="{FF2B5EF4-FFF2-40B4-BE49-F238E27FC236}">
                  <a16:creationId xmlns:a16="http://schemas.microsoft.com/office/drawing/2014/main" id="{E6088CD6-558F-453C-803A-EC4E422E6B2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6102" y="3885266"/>
              <a:ext cx="6324" cy="4216"/>
            </a:xfrm>
            <a:custGeom>
              <a:avLst/>
              <a:gdLst>
                <a:gd name="T0" fmla="*/ 0 w 7"/>
                <a:gd name="T1" fmla="*/ 0 h 5"/>
                <a:gd name="T2" fmla="*/ 5 w 7"/>
                <a:gd name="T3" fmla="*/ 5 h 5"/>
                <a:gd name="T4" fmla="*/ 7 w 7"/>
                <a:gd name="T5" fmla="*/ 3 h 5"/>
                <a:gd name="T6" fmla="*/ 5 w 7"/>
                <a:gd name="T7" fmla="*/ 1 h 5"/>
                <a:gd name="T8" fmla="*/ 0 w 7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0" y="0"/>
                  </a:moveTo>
                  <a:lnTo>
                    <a:pt x="5" y="5"/>
                  </a:lnTo>
                  <a:lnTo>
                    <a:pt x="7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6" name="Freeform 804">
              <a:extLst>
                <a:ext uri="{FF2B5EF4-FFF2-40B4-BE49-F238E27FC236}">
                  <a16:creationId xmlns:a16="http://schemas.microsoft.com/office/drawing/2014/main" id="{0BF2307D-1FC6-4B85-9CA8-4FFA6723BC9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750" y="3870511"/>
              <a:ext cx="4216" cy="6324"/>
            </a:xfrm>
            <a:custGeom>
              <a:avLst/>
              <a:gdLst>
                <a:gd name="T0" fmla="*/ 1 w 2"/>
                <a:gd name="T1" fmla="*/ 0 h 7"/>
                <a:gd name="T2" fmla="*/ 0 w 2"/>
                <a:gd name="T3" fmla="*/ 7 h 7"/>
                <a:gd name="T4" fmla="*/ 1 w 2"/>
                <a:gd name="T5" fmla="*/ 4 h 7"/>
                <a:gd name="T6" fmla="*/ 2 w 2"/>
                <a:gd name="T7" fmla="*/ 3 h 7"/>
                <a:gd name="T8" fmla="*/ 2 w 2"/>
                <a:gd name="T9" fmla="*/ 1 h 7"/>
                <a:gd name="T10" fmla="*/ 1 w 2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7">
                  <a:moveTo>
                    <a:pt x="1" y="0"/>
                  </a:moveTo>
                  <a:lnTo>
                    <a:pt x="0" y="7"/>
                  </a:lnTo>
                  <a:lnTo>
                    <a:pt x="1" y="4"/>
                  </a:lnTo>
                  <a:lnTo>
                    <a:pt x="2" y="3"/>
                  </a:lnTo>
                  <a:lnTo>
                    <a:pt x="2" y="1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7" name="Freeform 805">
              <a:extLst>
                <a:ext uri="{FF2B5EF4-FFF2-40B4-BE49-F238E27FC236}">
                  <a16:creationId xmlns:a16="http://schemas.microsoft.com/office/drawing/2014/main" id="{F8B9E4D9-8239-48DA-AC33-76E9FCBEE4F4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0857" y="3876834"/>
              <a:ext cx="4216" cy="6324"/>
            </a:xfrm>
            <a:custGeom>
              <a:avLst/>
              <a:gdLst>
                <a:gd name="T0" fmla="*/ 4 w 4"/>
                <a:gd name="T1" fmla="*/ 0 h 5"/>
                <a:gd name="T2" fmla="*/ 0 w 4"/>
                <a:gd name="T3" fmla="*/ 5 h 5"/>
                <a:gd name="T4" fmla="*/ 3 w 4"/>
                <a:gd name="T5" fmla="*/ 2 h 5"/>
                <a:gd name="T6" fmla="*/ 4 w 4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5">
                  <a:moveTo>
                    <a:pt x="4" y="0"/>
                  </a:moveTo>
                  <a:lnTo>
                    <a:pt x="0" y="5"/>
                  </a:lnTo>
                  <a:lnTo>
                    <a:pt x="3" y="2"/>
                  </a:lnTo>
                  <a:lnTo>
                    <a:pt x="4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8" name="Freeform 806">
              <a:extLst>
                <a:ext uri="{FF2B5EF4-FFF2-40B4-BE49-F238E27FC236}">
                  <a16:creationId xmlns:a16="http://schemas.microsoft.com/office/drawing/2014/main" id="{A365A386-D407-41CA-8F99-E4B84495546E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504" y="3864187"/>
              <a:ext cx="2109" cy="2109"/>
            </a:xfrm>
            <a:custGeom>
              <a:avLst/>
              <a:gdLst>
                <a:gd name="T0" fmla="*/ 0 w 3"/>
                <a:gd name="T1" fmla="*/ 1 h 1"/>
                <a:gd name="T2" fmla="*/ 1 w 3"/>
                <a:gd name="T3" fmla="*/ 1 h 1"/>
                <a:gd name="T4" fmla="*/ 3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lnTo>
                    <a:pt x="1" y="1"/>
                  </a:lnTo>
                  <a:lnTo>
                    <a:pt x="3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9" name="Freeform 812">
              <a:extLst>
                <a:ext uri="{FF2B5EF4-FFF2-40B4-BE49-F238E27FC236}">
                  <a16:creationId xmlns:a16="http://schemas.microsoft.com/office/drawing/2014/main" id="{3431116E-EA48-4D54-A674-7C33C214A45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7042" y="2709059"/>
              <a:ext cx="10540" cy="4216"/>
            </a:xfrm>
            <a:custGeom>
              <a:avLst/>
              <a:gdLst>
                <a:gd name="T0" fmla="*/ 1 w 10"/>
                <a:gd name="T1" fmla="*/ 2 h 5"/>
                <a:gd name="T2" fmla="*/ 0 w 10"/>
                <a:gd name="T3" fmla="*/ 5 h 5"/>
                <a:gd name="T4" fmla="*/ 5 w 10"/>
                <a:gd name="T5" fmla="*/ 5 h 5"/>
                <a:gd name="T6" fmla="*/ 10 w 10"/>
                <a:gd name="T7" fmla="*/ 5 h 5"/>
                <a:gd name="T8" fmla="*/ 9 w 10"/>
                <a:gd name="T9" fmla="*/ 2 h 5"/>
                <a:gd name="T10" fmla="*/ 9 w 10"/>
                <a:gd name="T11" fmla="*/ 0 h 5"/>
                <a:gd name="T12" fmla="*/ 5 w 10"/>
                <a:gd name="T13" fmla="*/ 0 h 5"/>
                <a:gd name="T14" fmla="*/ 1 w 10"/>
                <a:gd name="T1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5">
                  <a:moveTo>
                    <a:pt x="1" y="2"/>
                  </a:moveTo>
                  <a:lnTo>
                    <a:pt x="0" y="5"/>
                  </a:lnTo>
                  <a:lnTo>
                    <a:pt x="5" y="5"/>
                  </a:lnTo>
                  <a:lnTo>
                    <a:pt x="10" y="5"/>
                  </a:lnTo>
                  <a:lnTo>
                    <a:pt x="9" y="2"/>
                  </a:lnTo>
                  <a:lnTo>
                    <a:pt x="9" y="0"/>
                  </a:lnTo>
                  <a:lnTo>
                    <a:pt x="5" y="0"/>
                  </a:lnTo>
                  <a:lnTo>
                    <a:pt x="1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0" name="Freeform 813">
              <a:extLst>
                <a:ext uri="{FF2B5EF4-FFF2-40B4-BE49-F238E27FC236}">
                  <a16:creationId xmlns:a16="http://schemas.microsoft.com/office/drawing/2014/main" id="{FBD04C99-9639-408B-AE1E-40AABA450E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3905" y="2704843"/>
              <a:ext cx="18972" cy="18972"/>
            </a:xfrm>
            <a:custGeom>
              <a:avLst/>
              <a:gdLst>
                <a:gd name="T0" fmla="*/ 0 w 19"/>
                <a:gd name="T1" fmla="*/ 6 h 18"/>
                <a:gd name="T2" fmla="*/ 1 w 19"/>
                <a:gd name="T3" fmla="*/ 13 h 18"/>
                <a:gd name="T4" fmla="*/ 4 w 19"/>
                <a:gd name="T5" fmla="*/ 11 h 18"/>
                <a:gd name="T6" fmla="*/ 5 w 19"/>
                <a:gd name="T7" fmla="*/ 11 h 18"/>
                <a:gd name="T8" fmla="*/ 9 w 19"/>
                <a:gd name="T9" fmla="*/ 14 h 18"/>
                <a:gd name="T10" fmla="*/ 13 w 19"/>
                <a:gd name="T11" fmla="*/ 16 h 18"/>
                <a:gd name="T12" fmla="*/ 15 w 19"/>
                <a:gd name="T13" fmla="*/ 18 h 18"/>
                <a:gd name="T14" fmla="*/ 17 w 19"/>
                <a:gd name="T15" fmla="*/ 16 h 18"/>
                <a:gd name="T16" fmla="*/ 19 w 19"/>
                <a:gd name="T17" fmla="*/ 14 h 18"/>
                <a:gd name="T18" fmla="*/ 19 w 19"/>
                <a:gd name="T19" fmla="*/ 9 h 18"/>
                <a:gd name="T20" fmla="*/ 15 w 19"/>
                <a:gd name="T21" fmla="*/ 5 h 18"/>
                <a:gd name="T22" fmla="*/ 14 w 19"/>
                <a:gd name="T23" fmla="*/ 5 h 18"/>
                <a:gd name="T24" fmla="*/ 13 w 19"/>
                <a:gd name="T25" fmla="*/ 6 h 18"/>
                <a:gd name="T26" fmla="*/ 11 w 19"/>
                <a:gd name="T27" fmla="*/ 3 h 18"/>
                <a:gd name="T28" fmla="*/ 8 w 19"/>
                <a:gd name="T29" fmla="*/ 2 h 18"/>
                <a:gd name="T30" fmla="*/ 4 w 19"/>
                <a:gd name="T31" fmla="*/ 2 h 18"/>
                <a:gd name="T32" fmla="*/ 0 w 19"/>
                <a:gd name="T33" fmla="*/ 0 h 18"/>
                <a:gd name="T34" fmla="*/ 0 w 19"/>
                <a:gd name="T35" fmla="*/ 4 h 18"/>
                <a:gd name="T36" fmla="*/ 0 w 19"/>
                <a:gd name="T37" fmla="*/ 5 h 18"/>
                <a:gd name="T38" fmla="*/ 0 w 19"/>
                <a:gd name="T3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" h="18">
                  <a:moveTo>
                    <a:pt x="0" y="6"/>
                  </a:moveTo>
                  <a:lnTo>
                    <a:pt x="1" y="13"/>
                  </a:lnTo>
                  <a:lnTo>
                    <a:pt x="4" y="11"/>
                  </a:lnTo>
                  <a:lnTo>
                    <a:pt x="5" y="11"/>
                  </a:lnTo>
                  <a:lnTo>
                    <a:pt x="9" y="14"/>
                  </a:lnTo>
                  <a:lnTo>
                    <a:pt x="13" y="16"/>
                  </a:lnTo>
                  <a:lnTo>
                    <a:pt x="15" y="18"/>
                  </a:lnTo>
                  <a:lnTo>
                    <a:pt x="17" y="16"/>
                  </a:lnTo>
                  <a:lnTo>
                    <a:pt x="19" y="14"/>
                  </a:lnTo>
                  <a:lnTo>
                    <a:pt x="19" y="9"/>
                  </a:lnTo>
                  <a:lnTo>
                    <a:pt x="15" y="5"/>
                  </a:lnTo>
                  <a:lnTo>
                    <a:pt x="14" y="5"/>
                  </a:lnTo>
                  <a:lnTo>
                    <a:pt x="13" y="6"/>
                  </a:lnTo>
                  <a:lnTo>
                    <a:pt x="11" y="3"/>
                  </a:lnTo>
                  <a:lnTo>
                    <a:pt x="8" y="2"/>
                  </a:lnTo>
                  <a:lnTo>
                    <a:pt x="4" y="2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1" name="Freeform 814">
              <a:extLst>
                <a:ext uri="{FF2B5EF4-FFF2-40B4-BE49-F238E27FC236}">
                  <a16:creationId xmlns:a16="http://schemas.microsoft.com/office/drawing/2014/main" id="{3EF0416B-FF72-4B43-9327-CD327E46451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52876" y="2725922"/>
              <a:ext cx="4216" cy="4216"/>
            </a:xfrm>
            <a:custGeom>
              <a:avLst/>
              <a:gdLst>
                <a:gd name="T0" fmla="*/ 5 w 5"/>
                <a:gd name="T1" fmla="*/ 5 h 5"/>
                <a:gd name="T2" fmla="*/ 0 w 5"/>
                <a:gd name="T3" fmla="*/ 0 h 5"/>
                <a:gd name="T4" fmla="*/ 2 w 5"/>
                <a:gd name="T5" fmla="*/ 4 h 5"/>
                <a:gd name="T6" fmla="*/ 5 w 5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5" y="5"/>
                  </a:moveTo>
                  <a:lnTo>
                    <a:pt x="0" y="0"/>
                  </a:lnTo>
                  <a:lnTo>
                    <a:pt x="2" y="4"/>
                  </a:lnTo>
                  <a:lnTo>
                    <a:pt x="5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2" name="Freeform 815">
              <a:extLst>
                <a:ext uri="{FF2B5EF4-FFF2-40B4-BE49-F238E27FC236}">
                  <a16:creationId xmlns:a16="http://schemas.microsoft.com/office/drawing/2014/main" id="{B135699C-D22F-4784-81E3-D23748585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59199" y="2728031"/>
              <a:ext cx="4216" cy="4216"/>
            </a:xfrm>
            <a:custGeom>
              <a:avLst/>
              <a:gdLst>
                <a:gd name="T0" fmla="*/ 0 w 3"/>
                <a:gd name="T1" fmla="*/ 4 h 4"/>
                <a:gd name="T2" fmla="*/ 3 w 3"/>
                <a:gd name="T3" fmla="*/ 2 h 4"/>
                <a:gd name="T4" fmla="*/ 0 w 3"/>
                <a:gd name="T5" fmla="*/ 0 h 4"/>
                <a:gd name="T6" fmla="*/ 0 w 3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0" y="4"/>
                  </a:moveTo>
                  <a:lnTo>
                    <a:pt x="3" y="2"/>
                  </a:lnTo>
                  <a:lnTo>
                    <a:pt x="0" y="0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3" name="Freeform 816">
              <a:extLst>
                <a:ext uri="{FF2B5EF4-FFF2-40B4-BE49-F238E27FC236}">
                  <a16:creationId xmlns:a16="http://schemas.microsoft.com/office/drawing/2014/main" id="{3189BDDD-CD9B-4616-AF42-58946915C56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458" y="2730138"/>
              <a:ext cx="233977" cy="286674"/>
            </a:xfrm>
            <a:custGeom>
              <a:avLst/>
              <a:gdLst>
                <a:gd name="T0" fmla="*/ 20 w 222"/>
                <a:gd name="T1" fmla="*/ 18 h 272"/>
                <a:gd name="T2" fmla="*/ 25 w 222"/>
                <a:gd name="T3" fmla="*/ 21 h 272"/>
                <a:gd name="T4" fmla="*/ 21 w 222"/>
                <a:gd name="T5" fmla="*/ 25 h 272"/>
                <a:gd name="T6" fmla="*/ 26 w 222"/>
                <a:gd name="T7" fmla="*/ 31 h 272"/>
                <a:gd name="T8" fmla="*/ 21 w 222"/>
                <a:gd name="T9" fmla="*/ 32 h 272"/>
                <a:gd name="T10" fmla="*/ 15 w 222"/>
                <a:gd name="T11" fmla="*/ 28 h 272"/>
                <a:gd name="T12" fmla="*/ 15 w 222"/>
                <a:gd name="T13" fmla="*/ 36 h 272"/>
                <a:gd name="T14" fmla="*/ 32 w 222"/>
                <a:gd name="T15" fmla="*/ 58 h 272"/>
                <a:gd name="T16" fmla="*/ 50 w 222"/>
                <a:gd name="T17" fmla="*/ 82 h 272"/>
                <a:gd name="T18" fmla="*/ 75 w 222"/>
                <a:gd name="T19" fmla="*/ 101 h 272"/>
                <a:gd name="T20" fmla="*/ 88 w 222"/>
                <a:gd name="T21" fmla="*/ 123 h 272"/>
                <a:gd name="T22" fmla="*/ 112 w 222"/>
                <a:gd name="T23" fmla="*/ 152 h 272"/>
                <a:gd name="T24" fmla="*/ 126 w 222"/>
                <a:gd name="T25" fmla="*/ 181 h 272"/>
                <a:gd name="T26" fmla="*/ 148 w 222"/>
                <a:gd name="T27" fmla="*/ 202 h 272"/>
                <a:gd name="T28" fmla="*/ 150 w 222"/>
                <a:gd name="T29" fmla="*/ 214 h 272"/>
                <a:gd name="T30" fmla="*/ 163 w 222"/>
                <a:gd name="T31" fmla="*/ 230 h 272"/>
                <a:gd name="T32" fmla="*/ 170 w 222"/>
                <a:gd name="T33" fmla="*/ 248 h 272"/>
                <a:gd name="T34" fmla="*/ 191 w 222"/>
                <a:gd name="T35" fmla="*/ 272 h 272"/>
                <a:gd name="T36" fmla="*/ 186 w 222"/>
                <a:gd name="T37" fmla="*/ 252 h 272"/>
                <a:gd name="T38" fmla="*/ 190 w 222"/>
                <a:gd name="T39" fmla="*/ 245 h 272"/>
                <a:gd name="T40" fmla="*/ 202 w 222"/>
                <a:gd name="T41" fmla="*/ 249 h 272"/>
                <a:gd name="T42" fmla="*/ 214 w 222"/>
                <a:gd name="T43" fmla="*/ 254 h 272"/>
                <a:gd name="T44" fmla="*/ 219 w 222"/>
                <a:gd name="T45" fmla="*/ 257 h 272"/>
                <a:gd name="T46" fmla="*/ 207 w 222"/>
                <a:gd name="T47" fmla="*/ 242 h 272"/>
                <a:gd name="T48" fmla="*/ 200 w 222"/>
                <a:gd name="T49" fmla="*/ 241 h 272"/>
                <a:gd name="T50" fmla="*/ 201 w 222"/>
                <a:gd name="T51" fmla="*/ 245 h 272"/>
                <a:gd name="T52" fmla="*/ 189 w 222"/>
                <a:gd name="T53" fmla="*/ 231 h 272"/>
                <a:gd name="T54" fmla="*/ 169 w 222"/>
                <a:gd name="T55" fmla="*/ 216 h 272"/>
                <a:gd name="T56" fmla="*/ 154 w 222"/>
                <a:gd name="T57" fmla="*/ 193 h 272"/>
                <a:gd name="T58" fmla="*/ 144 w 222"/>
                <a:gd name="T59" fmla="*/ 168 h 272"/>
                <a:gd name="T60" fmla="*/ 152 w 222"/>
                <a:gd name="T61" fmla="*/ 162 h 272"/>
                <a:gd name="T62" fmla="*/ 146 w 222"/>
                <a:gd name="T63" fmla="*/ 160 h 272"/>
                <a:gd name="T64" fmla="*/ 160 w 222"/>
                <a:gd name="T65" fmla="*/ 161 h 272"/>
                <a:gd name="T66" fmla="*/ 174 w 222"/>
                <a:gd name="T67" fmla="*/ 166 h 272"/>
                <a:gd name="T68" fmla="*/ 193 w 222"/>
                <a:gd name="T69" fmla="*/ 179 h 272"/>
                <a:gd name="T70" fmla="*/ 191 w 222"/>
                <a:gd name="T71" fmla="*/ 176 h 272"/>
                <a:gd name="T72" fmla="*/ 168 w 222"/>
                <a:gd name="T73" fmla="*/ 157 h 272"/>
                <a:gd name="T74" fmla="*/ 105 w 222"/>
                <a:gd name="T75" fmla="*/ 98 h 272"/>
                <a:gd name="T76" fmla="*/ 106 w 222"/>
                <a:gd name="T77" fmla="*/ 101 h 272"/>
                <a:gd name="T78" fmla="*/ 99 w 222"/>
                <a:gd name="T79" fmla="*/ 92 h 272"/>
                <a:gd name="T80" fmla="*/ 94 w 222"/>
                <a:gd name="T81" fmla="*/ 91 h 272"/>
                <a:gd name="T82" fmla="*/ 86 w 222"/>
                <a:gd name="T83" fmla="*/ 82 h 272"/>
                <a:gd name="T84" fmla="*/ 74 w 222"/>
                <a:gd name="T85" fmla="*/ 71 h 272"/>
                <a:gd name="T86" fmla="*/ 72 w 222"/>
                <a:gd name="T87" fmla="*/ 65 h 272"/>
                <a:gd name="T88" fmla="*/ 63 w 222"/>
                <a:gd name="T89" fmla="*/ 52 h 272"/>
                <a:gd name="T90" fmla="*/ 45 w 222"/>
                <a:gd name="T91" fmla="*/ 38 h 272"/>
                <a:gd name="T92" fmla="*/ 53 w 222"/>
                <a:gd name="T93" fmla="*/ 39 h 272"/>
                <a:gd name="T94" fmla="*/ 55 w 222"/>
                <a:gd name="T95" fmla="*/ 40 h 272"/>
                <a:gd name="T96" fmla="*/ 25 w 222"/>
                <a:gd name="T97" fmla="*/ 18 h 272"/>
                <a:gd name="T98" fmla="*/ 25 w 222"/>
                <a:gd name="T99" fmla="*/ 17 h 272"/>
                <a:gd name="T100" fmla="*/ 21 w 222"/>
                <a:gd name="T101" fmla="*/ 10 h 272"/>
                <a:gd name="T102" fmla="*/ 7 w 222"/>
                <a:gd name="T103" fmla="*/ 0 h 272"/>
                <a:gd name="T104" fmla="*/ 0 w 222"/>
                <a:gd name="T105" fmla="*/ 4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22" h="272">
                  <a:moveTo>
                    <a:pt x="14" y="12"/>
                  </a:moveTo>
                  <a:lnTo>
                    <a:pt x="18" y="15"/>
                  </a:lnTo>
                  <a:lnTo>
                    <a:pt x="20" y="18"/>
                  </a:lnTo>
                  <a:lnTo>
                    <a:pt x="21" y="20"/>
                  </a:lnTo>
                  <a:lnTo>
                    <a:pt x="24" y="20"/>
                  </a:lnTo>
                  <a:lnTo>
                    <a:pt x="25" y="21"/>
                  </a:lnTo>
                  <a:lnTo>
                    <a:pt x="26" y="22"/>
                  </a:lnTo>
                  <a:lnTo>
                    <a:pt x="20" y="23"/>
                  </a:lnTo>
                  <a:lnTo>
                    <a:pt x="21" y="25"/>
                  </a:lnTo>
                  <a:lnTo>
                    <a:pt x="24" y="26"/>
                  </a:lnTo>
                  <a:lnTo>
                    <a:pt x="29" y="28"/>
                  </a:lnTo>
                  <a:lnTo>
                    <a:pt x="26" y="31"/>
                  </a:lnTo>
                  <a:lnTo>
                    <a:pt x="24" y="33"/>
                  </a:lnTo>
                  <a:lnTo>
                    <a:pt x="23" y="33"/>
                  </a:lnTo>
                  <a:lnTo>
                    <a:pt x="21" y="32"/>
                  </a:lnTo>
                  <a:lnTo>
                    <a:pt x="20" y="31"/>
                  </a:lnTo>
                  <a:lnTo>
                    <a:pt x="19" y="29"/>
                  </a:lnTo>
                  <a:lnTo>
                    <a:pt x="15" y="28"/>
                  </a:lnTo>
                  <a:lnTo>
                    <a:pt x="14" y="28"/>
                  </a:lnTo>
                  <a:lnTo>
                    <a:pt x="13" y="32"/>
                  </a:lnTo>
                  <a:lnTo>
                    <a:pt x="15" y="36"/>
                  </a:lnTo>
                  <a:lnTo>
                    <a:pt x="18" y="39"/>
                  </a:lnTo>
                  <a:lnTo>
                    <a:pt x="26" y="48"/>
                  </a:lnTo>
                  <a:lnTo>
                    <a:pt x="32" y="58"/>
                  </a:lnTo>
                  <a:lnTo>
                    <a:pt x="36" y="68"/>
                  </a:lnTo>
                  <a:lnTo>
                    <a:pt x="42" y="76"/>
                  </a:lnTo>
                  <a:lnTo>
                    <a:pt x="50" y="82"/>
                  </a:lnTo>
                  <a:lnTo>
                    <a:pt x="58" y="88"/>
                  </a:lnTo>
                  <a:lnTo>
                    <a:pt x="67" y="95"/>
                  </a:lnTo>
                  <a:lnTo>
                    <a:pt x="75" y="101"/>
                  </a:lnTo>
                  <a:lnTo>
                    <a:pt x="80" y="109"/>
                  </a:lnTo>
                  <a:lnTo>
                    <a:pt x="84" y="118"/>
                  </a:lnTo>
                  <a:lnTo>
                    <a:pt x="88" y="123"/>
                  </a:lnTo>
                  <a:lnTo>
                    <a:pt x="91" y="127"/>
                  </a:lnTo>
                  <a:lnTo>
                    <a:pt x="100" y="136"/>
                  </a:lnTo>
                  <a:lnTo>
                    <a:pt x="112" y="152"/>
                  </a:lnTo>
                  <a:lnTo>
                    <a:pt x="116" y="162"/>
                  </a:lnTo>
                  <a:lnTo>
                    <a:pt x="121" y="171"/>
                  </a:lnTo>
                  <a:lnTo>
                    <a:pt x="126" y="181"/>
                  </a:lnTo>
                  <a:lnTo>
                    <a:pt x="133" y="187"/>
                  </a:lnTo>
                  <a:lnTo>
                    <a:pt x="141" y="194"/>
                  </a:lnTo>
                  <a:lnTo>
                    <a:pt x="148" y="202"/>
                  </a:lnTo>
                  <a:lnTo>
                    <a:pt x="149" y="205"/>
                  </a:lnTo>
                  <a:lnTo>
                    <a:pt x="150" y="210"/>
                  </a:lnTo>
                  <a:lnTo>
                    <a:pt x="150" y="214"/>
                  </a:lnTo>
                  <a:lnTo>
                    <a:pt x="153" y="219"/>
                  </a:lnTo>
                  <a:lnTo>
                    <a:pt x="159" y="226"/>
                  </a:lnTo>
                  <a:lnTo>
                    <a:pt x="163" y="230"/>
                  </a:lnTo>
                  <a:lnTo>
                    <a:pt x="165" y="233"/>
                  </a:lnTo>
                  <a:lnTo>
                    <a:pt x="169" y="243"/>
                  </a:lnTo>
                  <a:lnTo>
                    <a:pt x="170" y="248"/>
                  </a:lnTo>
                  <a:lnTo>
                    <a:pt x="173" y="252"/>
                  </a:lnTo>
                  <a:lnTo>
                    <a:pt x="181" y="263"/>
                  </a:lnTo>
                  <a:lnTo>
                    <a:pt x="191" y="272"/>
                  </a:lnTo>
                  <a:lnTo>
                    <a:pt x="190" y="267"/>
                  </a:lnTo>
                  <a:lnTo>
                    <a:pt x="189" y="261"/>
                  </a:lnTo>
                  <a:lnTo>
                    <a:pt x="186" y="252"/>
                  </a:lnTo>
                  <a:lnTo>
                    <a:pt x="186" y="248"/>
                  </a:lnTo>
                  <a:lnTo>
                    <a:pt x="187" y="246"/>
                  </a:lnTo>
                  <a:lnTo>
                    <a:pt x="190" y="245"/>
                  </a:lnTo>
                  <a:lnTo>
                    <a:pt x="193" y="247"/>
                  </a:lnTo>
                  <a:lnTo>
                    <a:pt x="196" y="249"/>
                  </a:lnTo>
                  <a:lnTo>
                    <a:pt x="202" y="249"/>
                  </a:lnTo>
                  <a:lnTo>
                    <a:pt x="207" y="249"/>
                  </a:lnTo>
                  <a:lnTo>
                    <a:pt x="211" y="251"/>
                  </a:lnTo>
                  <a:lnTo>
                    <a:pt x="214" y="254"/>
                  </a:lnTo>
                  <a:lnTo>
                    <a:pt x="217" y="257"/>
                  </a:lnTo>
                  <a:lnTo>
                    <a:pt x="222" y="264"/>
                  </a:lnTo>
                  <a:lnTo>
                    <a:pt x="219" y="257"/>
                  </a:lnTo>
                  <a:lnTo>
                    <a:pt x="216" y="251"/>
                  </a:lnTo>
                  <a:lnTo>
                    <a:pt x="209" y="243"/>
                  </a:lnTo>
                  <a:lnTo>
                    <a:pt x="207" y="242"/>
                  </a:lnTo>
                  <a:lnTo>
                    <a:pt x="206" y="242"/>
                  </a:lnTo>
                  <a:lnTo>
                    <a:pt x="202" y="242"/>
                  </a:lnTo>
                  <a:lnTo>
                    <a:pt x="200" y="241"/>
                  </a:lnTo>
                  <a:lnTo>
                    <a:pt x="206" y="243"/>
                  </a:lnTo>
                  <a:lnTo>
                    <a:pt x="203" y="245"/>
                  </a:lnTo>
                  <a:lnTo>
                    <a:pt x="201" y="245"/>
                  </a:lnTo>
                  <a:lnTo>
                    <a:pt x="196" y="240"/>
                  </a:lnTo>
                  <a:lnTo>
                    <a:pt x="192" y="235"/>
                  </a:lnTo>
                  <a:lnTo>
                    <a:pt x="189" y="231"/>
                  </a:lnTo>
                  <a:lnTo>
                    <a:pt x="182" y="225"/>
                  </a:lnTo>
                  <a:lnTo>
                    <a:pt x="176" y="220"/>
                  </a:lnTo>
                  <a:lnTo>
                    <a:pt x="169" y="216"/>
                  </a:lnTo>
                  <a:lnTo>
                    <a:pt x="163" y="211"/>
                  </a:lnTo>
                  <a:lnTo>
                    <a:pt x="158" y="203"/>
                  </a:lnTo>
                  <a:lnTo>
                    <a:pt x="154" y="193"/>
                  </a:lnTo>
                  <a:lnTo>
                    <a:pt x="152" y="183"/>
                  </a:lnTo>
                  <a:lnTo>
                    <a:pt x="148" y="174"/>
                  </a:lnTo>
                  <a:lnTo>
                    <a:pt x="144" y="168"/>
                  </a:lnTo>
                  <a:lnTo>
                    <a:pt x="144" y="166"/>
                  </a:lnTo>
                  <a:lnTo>
                    <a:pt x="147" y="163"/>
                  </a:lnTo>
                  <a:lnTo>
                    <a:pt x="152" y="162"/>
                  </a:lnTo>
                  <a:lnTo>
                    <a:pt x="157" y="161"/>
                  </a:lnTo>
                  <a:lnTo>
                    <a:pt x="150" y="161"/>
                  </a:lnTo>
                  <a:lnTo>
                    <a:pt x="146" y="160"/>
                  </a:lnTo>
                  <a:lnTo>
                    <a:pt x="148" y="159"/>
                  </a:lnTo>
                  <a:lnTo>
                    <a:pt x="152" y="159"/>
                  </a:lnTo>
                  <a:lnTo>
                    <a:pt x="160" y="161"/>
                  </a:lnTo>
                  <a:lnTo>
                    <a:pt x="168" y="163"/>
                  </a:lnTo>
                  <a:lnTo>
                    <a:pt x="171" y="165"/>
                  </a:lnTo>
                  <a:lnTo>
                    <a:pt x="174" y="166"/>
                  </a:lnTo>
                  <a:lnTo>
                    <a:pt x="181" y="170"/>
                  </a:lnTo>
                  <a:lnTo>
                    <a:pt x="189" y="174"/>
                  </a:lnTo>
                  <a:lnTo>
                    <a:pt x="193" y="179"/>
                  </a:lnTo>
                  <a:lnTo>
                    <a:pt x="200" y="183"/>
                  </a:lnTo>
                  <a:lnTo>
                    <a:pt x="195" y="179"/>
                  </a:lnTo>
                  <a:lnTo>
                    <a:pt x="191" y="176"/>
                  </a:lnTo>
                  <a:lnTo>
                    <a:pt x="186" y="171"/>
                  </a:lnTo>
                  <a:lnTo>
                    <a:pt x="180" y="168"/>
                  </a:lnTo>
                  <a:lnTo>
                    <a:pt x="168" y="157"/>
                  </a:lnTo>
                  <a:lnTo>
                    <a:pt x="155" y="145"/>
                  </a:lnTo>
                  <a:lnTo>
                    <a:pt x="131" y="122"/>
                  </a:lnTo>
                  <a:lnTo>
                    <a:pt x="105" y="98"/>
                  </a:lnTo>
                  <a:lnTo>
                    <a:pt x="107" y="99"/>
                  </a:lnTo>
                  <a:lnTo>
                    <a:pt x="107" y="101"/>
                  </a:lnTo>
                  <a:lnTo>
                    <a:pt x="106" y="101"/>
                  </a:lnTo>
                  <a:lnTo>
                    <a:pt x="104" y="98"/>
                  </a:lnTo>
                  <a:lnTo>
                    <a:pt x="102" y="97"/>
                  </a:lnTo>
                  <a:lnTo>
                    <a:pt x="99" y="92"/>
                  </a:lnTo>
                  <a:lnTo>
                    <a:pt x="93" y="87"/>
                  </a:lnTo>
                  <a:lnTo>
                    <a:pt x="95" y="90"/>
                  </a:lnTo>
                  <a:lnTo>
                    <a:pt x="94" y="91"/>
                  </a:lnTo>
                  <a:lnTo>
                    <a:pt x="91" y="90"/>
                  </a:lnTo>
                  <a:lnTo>
                    <a:pt x="90" y="86"/>
                  </a:lnTo>
                  <a:lnTo>
                    <a:pt x="86" y="82"/>
                  </a:lnTo>
                  <a:lnTo>
                    <a:pt x="83" y="80"/>
                  </a:lnTo>
                  <a:lnTo>
                    <a:pt x="78" y="76"/>
                  </a:lnTo>
                  <a:lnTo>
                    <a:pt x="74" y="71"/>
                  </a:lnTo>
                  <a:lnTo>
                    <a:pt x="70" y="65"/>
                  </a:lnTo>
                  <a:lnTo>
                    <a:pt x="68" y="59"/>
                  </a:lnTo>
                  <a:lnTo>
                    <a:pt x="72" y="65"/>
                  </a:lnTo>
                  <a:lnTo>
                    <a:pt x="70" y="59"/>
                  </a:lnTo>
                  <a:lnTo>
                    <a:pt x="68" y="55"/>
                  </a:lnTo>
                  <a:lnTo>
                    <a:pt x="63" y="52"/>
                  </a:lnTo>
                  <a:lnTo>
                    <a:pt x="58" y="48"/>
                  </a:lnTo>
                  <a:lnTo>
                    <a:pt x="48" y="42"/>
                  </a:lnTo>
                  <a:lnTo>
                    <a:pt x="45" y="38"/>
                  </a:lnTo>
                  <a:lnTo>
                    <a:pt x="43" y="33"/>
                  </a:lnTo>
                  <a:lnTo>
                    <a:pt x="48" y="36"/>
                  </a:lnTo>
                  <a:lnTo>
                    <a:pt x="53" y="39"/>
                  </a:lnTo>
                  <a:lnTo>
                    <a:pt x="58" y="44"/>
                  </a:lnTo>
                  <a:lnTo>
                    <a:pt x="62" y="49"/>
                  </a:lnTo>
                  <a:lnTo>
                    <a:pt x="55" y="40"/>
                  </a:lnTo>
                  <a:lnTo>
                    <a:pt x="46" y="33"/>
                  </a:lnTo>
                  <a:lnTo>
                    <a:pt x="36" y="26"/>
                  </a:lnTo>
                  <a:lnTo>
                    <a:pt x="25" y="18"/>
                  </a:lnTo>
                  <a:lnTo>
                    <a:pt x="31" y="22"/>
                  </a:lnTo>
                  <a:lnTo>
                    <a:pt x="29" y="20"/>
                  </a:lnTo>
                  <a:lnTo>
                    <a:pt x="25" y="17"/>
                  </a:lnTo>
                  <a:lnTo>
                    <a:pt x="24" y="16"/>
                  </a:lnTo>
                  <a:lnTo>
                    <a:pt x="23" y="15"/>
                  </a:lnTo>
                  <a:lnTo>
                    <a:pt x="21" y="10"/>
                  </a:lnTo>
                  <a:lnTo>
                    <a:pt x="19" y="7"/>
                  </a:lnTo>
                  <a:lnTo>
                    <a:pt x="15" y="5"/>
                  </a:lnTo>
                  <a:lnTo>
                    <a:pt x="7" y="0"/>
                  </a:lnTo>
                  <a:lnTo>
                    <a:pt x="5" y="2"/>
                  </a:lnTo>
                  <a:lnTo>
                    <a:pt x="4" y="4"/>
                  </a:lnTo>
                  <a:lnTo>
                    <a:pt x="0" y="4"/>
                  </a:lnTo>
                  <a:lnTo>
                    <a:pt x="8" y="9"/>
                  </a:lnTo>
                  <a:lnTo>
                    <a:pt x="14" y="1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4" name="Freeform 908">
              <a:extLst>
                <a:ext uri="{FF2B5EF4-FFF2-40B4-BE49-F238E27FC236}">
                  <a16:creationId xmlns:a16="http://schemas.microsoft.com/office/drawing/2014/main" id="{535F191A-1A80-4122-96FB-DA92A8F401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5012" y="2687980"/>
              <a:ext cx="105395" cy="141230"/>
            </a:xfrm>
            <a:custGeom>
              <a:avLst/>
              <a:gdLst>
                <a:gd name="T0" fmla="*/ 69 w 100"/>
                <a:gd name="T1" fmla="*/ 0 h 134"/>
                <a:gd name="T2" fmla="*/ 73 w 100"/>
                <a:gd name="T3" fmla="*/ 0 h 134"/>
                <a:gd name="T4" fmla="*/ 78 w 100"/>
                <a:gd name="T5" fmla="*/ 5 h 134"/>
                <a:gd name="T6" fmla="*/ 89 w 100"/>
                <a:gd name="T7" fmla="*/ 31 h 134"/>
                <a:gd name="T8" fmla="*/ 93 w 100"/>
                <a:gd name="T9" fmla="*/ 42 h 134"/>
                <a:gd name="T10" fmla="*/ 98 w 100"/>
                <a:gd name="T11" fmla="*/ 49 h 134"/>
                <a:gd name="T12" fmla="*/ 98 w 100"/>
                <a:gd name="T13" fmla="*/ 58 h 134"/>
                <a:gd name="T14" fmla="*/ 100 w 100"/>
                <a:gd name="T15" fmla="*/ 65 h 134"/>
                <a:gd name="T16" fmla="*/ 96 w 100"/>
                <a:gd name="T17" fmla="*/ 65 h 134"/>
                <a:gd name="T18" fmla="*/ 93 w 100"/>
                <a:gd name="T19" fmla="*/ 60 h 134"/>
                <a:gd name="T20" fmla="*/ 88 w 100"/>
                <a:gd name="T21" fmla="*/ 60 h 134"/>
                <a:gd name="T22" fmla="*/ 87 w 100"/>
                <a:gd name="T23" fmla="*/ 67 h 134"/>
                <a:gd name="T24" fmla="*/ 90 w 100"/>
                <a:gd name="T25" fmla="*/ 69 h 134"/>
                <a:gd name="T26" fmla="*/ 98 w 100"/>
                <a:gd name="T27" fmla="*/ 70 h 134"/>
                <a:gd name="T28" fmla="*/ 99 w 100"/>
                <a:gd name="T29" fmla="*/ 76 h 134"/>
                <a:gd name="T30" fmla="*/ 91 w 100"/>
                <a:gd name="T31" fmla="*/ 79 h 134"/>
                <a:gd name="T32" fmla="*/ 89 w 100"/>
                <a:gd name="T33" fmla="*/ 87 h 134"/>
                <a:gd name="T34" fmla="*/ 82 w 100"/>
                <a:gd name="T35" fmla="*/ 95 h 134"/>
                <a:gd name="T36" fmla="*/ 71 w 100"/>
                <a:gd name="T37" fmla="*/ 100 h 134"/>
                <a:gd name="T38" fmla="*/ 67 w 100"/>
                <a:gd name="T39" fmla="*/ 106 h 134"/>
                <a:gd name="T40" fmla="*/ 63 w 100"/>
                <a:gd name="T41" fmla="*/ 107 h 134"/>
                <a:gd name="T42" fmla="*/ 56 w 100"/>
                <a:gd name="T43" fmla="*/ 106 h 134"/>
                <a:gd name="T44" fmla="*/ 55 w 100"/>
                <a:gd name="T45" fmla="*/ 111 h 134"/>
                <a:gd name="T46" fmla="*/ 57 w 100"/>
                <a:gd name="T47" fmla="*/ 117 h 134"/>
                <a:gd name="T48" fmla="*/ 55 w 100"/>
                <a:gd name="T49" fmla="*/ 124 h 134"/>
                <a:gd name="T50" fmla="*/ 42 w 100"/>
                <a:gd name="T51" fmla="*/ 130 h 134"/>
                <a:gd name="T52" fmla="*/ 28 w 100"/>
                <a:gd name="T53" fmla="*/ 134 h 134"/>
                <a:gd name="T54" fmla="*/ 9 w 100"/>
                <a:gd name="T55" fmla="*/ 132 h 134"/>
                <a:gd name="T56" fmla="*/ 8 w 100"/>
                <a:gd name="T57" fmla="*/ 126 h 134"/>
                <a:gd name="T58" fmla="*/ 21 w 100"/>
                <a:gd name="T59" fmla="*/ 123 h 134"/>
                <a:gd name="T60" fmla="*/ 31 w 100"/>
                <a:gd name="T61" fmla="*/ 121 h 134"/>
                <a:gd name="T62" fmla="*/ 39 w 100"/>
                <a:gd name="T63" fmla="*/ 113 h 134"/>
                <a:gd name="T64" fmla="*/ 44 w 100"/>
                <a:gd name="T65" fmla="*/ 103 h 134"/>
                <a:gd name="T66" fmla="*/ 51 w 100"/>
                <a:gd name="T67" fmla="*/ 97 h 134"/>
                <a:gd name="T68" fmla="*/ 53 w 100"/>
                <a:gd name="T69" fmla="*/ 91 h 134"/>
                <a:gd name="T70" fmla="*/ 55 w 100"/>
                <a:gd name="T71" fmla="*/ 87 h 134"/>
                <a:gd name="T72" fmla="*/ 52 w 100"/>
                <a:gd name="T73" fmla="*/ 85 h 134"/>
                <a:gd name="T74" fmla="*/ 56 w 100"/>
                <a:gd name="T75" fmla="*/ 79 h 134"/>
                <a:gd name="T76" fmla="*/ 59 w 100"/>
                <a:gd name="T77" fmla="*/ 74 h 134"/>
                <a:gd name="T78" fmla="*/ 64 w 100"/>
                <a:gd name="T79" fmla="*/ 65 h 134"/>
                <a:gd name="T80" fmla="*/ 69 w 100"/>
                <a:gd name="T81" fmla="*/ 57 h 134"/>
                <a:gd name="T82" fmla="*/ 68 w 100"/>
                <a:gd name="T83" fmla="*/ 46 h 134"/>
                <a:gd name="T84" fmla="*/ 69 w 100"/>
                <a:gd name="T85" fmla="*/ 33 h 134"/>
                <a:gd name="T86" fmla="*/ 69 w 100"/>
                <a:gd name="T87" fmla="*/ 20 h 134"/>
                <a:gd name="T88" fmla="*/ 63 w 100"/>
                <a:gd name="T89" fmla="*/ 10 h 134"/>
                <a:gd name="T90" fmla="*/ 63 w 100"/>
                <a:gd name="T91" fmla="*/ 4 h 134"/>
                <a:gd name="T92" fmla="*/ 68 w 100"/>
                <a:gd name="T93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0" h="134">
                  <a:moveTo>
                    <a:pt x="68" y="0"/>
                  </a:moveTo>
                  <a:lnTo>
                    <a:pt x="69" y="0"/>
                  </a:lnTo>
                  <a:lnTo>
                    <a:pt x="72" y="0"/>
                  </a:lnTo>
                  <a:lnTo>
                    <a:pt x="73" y="0"/>
                  </a:lnTo>
                  <a:lnTo>
                    <a:pt x="75" y="1"/>
                  </a:lnTo>
                  <a:lnTo>
                    <a:pt x="78" y="5"/>
                  </a:lnTo>
                  <a:lnTo>
                    <a:pt x="79" y="10"/>
                  </a:lnTo>
                  <a:lnTo>
                    <a:pt x="89" y="31"/>
                  </a:lnTo>
                  <a:lnTo>
                    <a:pt x="90" y="37"/>
                  </a:lnTo>
                  <a:lnTo>
                    <a:pt x="93" y="42"/>
                  </a:lnTo>
                  <a:lnTo>
                    <a:pt x="95" y="46"/>
                  </a:lnTo>
                  <a:lnTo>
                    <a:pt x="98" y="49"/>
                  </a:lnTo>
                  <a:lnTo>
                    <a:pt x="99" y="53"/>
                  </a:lnTo>
                  <a:lnTo>
                    <a:pt x="98" y="58"/>
                  </a:lnTo>
                  <a:lnTo>
                    <a:pt x="98" y="62"/>
                  </a:lnTo>
                  <a:lnTo>
                    <a:pt x="100" y="65"/>
                  </a:lnTo>
                  <a:lnTo>
                    <a:pt x="98" y="67"/>
                  </a:lnTo>
                  <a:lnTo>
                    <a:pt x="96" y="65"/>
                  </a:lnTo>
                  <a:lnTo>
                    <a:pt x="95" y="64"/>
                  </a:lnTo>
                  <a:lnTo>
                    <a:pt x="93" y="60"/>
                  </a:lnTo>
                  <a:lnTo>
                    <a:pt x="90" y="59"/>
                  </a:lnTo>
                  <a:lnTo>
                    <a:pt x="88" y="60"/>
                  </a:lnTo>
                  <a:lnTo>
                    <a:pt x="88" y="63"/>
                  </a:lnTo>
                  <a:lnTo>
                    <a:pt x="87" y="67"/>
                  </a:lnTo>
                  <a:lnTo>
                    <a:pt x="87" y="69"/>
                  </a:lnTo>
                  <a:lnTo>
                    <a:pt x="90" y="69"/>
                  </a:lnTo>
                  <a:lnTo>
                    <a:pt x="95" y="69"/>
                  </a:lnTo>
                  <a:lnTo>
                    <a:pt x="98" y="70"/>
                  </a:lnTo>
                  <a:lnTo>
                    <a:pt x="100" y="73"/>
                  </a:lnTo>
                  <a:lnTo>
                    <a:pt x="99" y="76"/>
                  </a:lnTo>
                  <a:lnTo>
                    <a:pt x="95" y="78"/>
                  </a:lnTo>
                  <a:lnTo>
                    <a:pt x="91" y="79"/>
                  </a:lnTo>
                  <a:lnTo>
                    <a:pt x="90" y="82"/>
                  </a:lnTo>
                  <a:lnTo>
                    <a:pt x="89" y="87"/>
                  </a:lnTo>
                  <a:lnTo>
                    <a:pt x="88" y="91"/>
                  </a:lnTo>
                  <a:lnTo>
                    <a:pt x="82" y="95"/>
                  </a:lnTo>
                  <a:lnTo>
                    <a:pt x="73" y="97"/>
                  </a:lnTo>
                  <a:lnTo>
                    <a:pt x="71" y="100"/>
                  </a:lnTo>
                  <a:lnTo>
                    <a:pt x="67" y="102"/>
                  </a:lnTo>
                  <a:lnTo>
                    <a:pt x="67" y="106"/>
                  </a:lnTo>
                  <a:lnTo>
                    <a:pt x="66" y="107"/>
                  </a:lnTo>
                  <a:lnTo>
                    <a:pt x="63" y="107"/>
                  </a:lnTo>
                  <a:lnTo>
                    <a:pt x="59" y="106"/>
                  </a:lnTo>
                  <a:lnTo>
                    <a:pt x="56" y="106"/>
                  </a:lnTo>
                  <a:lnTo>
                    <a:pt x="55" y="108"/>
                  </a:lnTo>
                  <a:lnTo>
                    <a:pt x="55" y="111"/>
                  </a:lnTo>
                  <a:lnTo>
                    <a:pt x="56" y="114"/>
                  </a:lnTo>
                  <a:lnTo>
                    <a:pt x="57" y="117"/>
                  </a:lnTo>
                  <a:lnTo>
                    <a:pt x="57" y="121"/>
                  </a:lnTo>
                  <a:lnTo>
                    <a:pt x="55" y="124"/>
                  </a:lnTo>
                  <a:lnTo>
                    <a:pt x="50" y="128"/>
                  </a:lnTo>
                  <a:lnTo>
                    <a:pt x="42" y="130"/>
                  </a:lnTo>
                  <a:lnTo>
                    <a:pt x="35" y="132"/>
                  </a:lnTo>
                  <a:lnTo>
                    <a:pt x="28" y="134"/>
                  </a:lnTo>
                  <a:lnTo>
                    <a:pt x="18" y="134"/>
                  </a:lnTo>
                  <a:lnTo>
                    <a:pt x="9" y="132"/>
                  </a:lnTo>
                  <a:lnTo>
                    <a:pt x="0" y="128"/>
                  </a:lnTo>
                  <a:lnTo>
                    <a:pt x="8" y="126"/>
                  </a:lnTo>
                  <a:lnTo>
                    <a:pt x="15" y="124"/>
                  </a:lnTo>
                  <a:lnTo>
                    <a:pt x="21" y="123"/>
                  </a:lnTo>
                  <a:lnTo>
                    <a:pt x="26" y="122"/>
                  </a:lnTo>
                  <a:lnTo>
                    <a:pt x="31" y="121"/>
                  </a:lnTo>
                  <a:lnTo>
                    <a:pt x="36" y="118"/>
                  </a:lnTo>
                  <a:lnTo>
                    <a:pt x="39" y="113"/>
                  </a:lnTo>
                  <a:lnTo>
                    <a:pt x="41" y="108"/>
                  </a:lnTo>
                  <a:lnTo>
                    <a:pt x="44" y="103"/>
                  </a:lnTo>
                  <a:lnTo>
                    <a:pt x="47" y="100"/>
                  </a:lnTo>
                  <a:lnTo>
                    <a:pt x="51" y="97"/>
                  </a:lnTo>
                  <a:lnTo>
                    <a:pt x="53" y="94"/>
                  </a:lnTo>
                  <a:lnTo>
                    <a:pt x="53" y="91"/>
                  </a:lnTo>
                  <a:lnTo>
                    <a:pt x="55" y="90"/>
                  </a:lnTo>
                  <a:lnTo>
                    <a:pt x="55" y="87"/>
                  </a:lnTo>
                  <a:lnTo>
                    <a:pt x="53" y="86"/>
                  </a:lnTo>
                  <a:lnTo>
                    <a:pt x="52" y="85"/>
                  </a:lnTo>
                  <a:lnTo>
                    <a:pt x="53" y="81"/>
                  </a:lnTo>
                  <a:lnTo>
                    <a:pt x="56" y="79"/>
                  </a:lnTo>
                  <a:lnTo>
                    <a:pt x="57" y="78"/>
                  </a:lnTo>
                  <a:lnTo>
                    <a:pt x="59" y="74"/>
                  </a:lnTo>
                  <a:lnTo>
                    <a:pt x="62" y="70"/>
                  </a:lnTo>
                  <a:lnTo>
                    <a:pt x="64" y="65"/>
                  </a:lnTo>
                  <a:lnTo>
                    <a:pt x="67" y="62"/>
                  </a:lnTo>
                  <a:lnTo>
                    <a:pt x="69" y="57"/>
                  </a:lnTo>
                  <a:lnTo>
                    <a:pt x="69" y="51"/>
                  </a:lnTo>
                  <a:lnTo>
                    <a:pt x="68" y="46"/>
                  </a:lnTo>
                  <a:lnTo>
                    <a:pt x="68" y="39"/>
                  </a:lnTo>
                  <a:lnTo>
                    <a:pt x="69" y="33"/>
                  </a:lnTo>
                  <a:lnTo>
                    <a:pt x="69" y="27"/>
                  </a:lnTo>
                  <a:lnTo>
                    <a:pt x="69" y="20"/>
                  </a:lnTo>
                  <a:lnTo>
                    <a:pt x="67" y="14"/>
                  </a:lnTo>
                  <a:lnTo>
                    <a:pt x="63" y="10"/>
                  </a:lnTo>
                  <a:lnTo>
                    <a:pt x="63" y="7"/>
                  </a:lnTo>
                  <a:lnTo>
                    <a:pt x="63" y="4"/>
                  </a:lnTo>
                  <a:lnTo>
                    <a:pt x="66" y="1"/>
                  </a:lnTo>
                  <a:lnTo>
                    <a:pt x="68" y="0"/>
                  </a:lnTo>
                  <a:lnTo>
                    <a:pt x="68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5" name="Freeform 990">
              <a:extLst>
                <a:ext uri="{FF2B5EF4-FFF2-40B4-BE49-F238E27FC236}">
                  <a16:creationId xmlns:a16="http://schemas.microsoft.com/office/drawing/2014/main" id="{74C8362F-3365-4CD9-9F6F-56FFF93EBB83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8271" y="3113775"/>
              <a:ext cx="4216" cy="4216"/>
            </a:xfrm>
            <a:custGeom>
              <a:avLst/>
              <a:gdLst>
                <a:gd name="T0" fmla="*/ 4 w 4"/>
                <a:gd name="T1" fmla="*/ 1 h 2"/>
                <a:gd name="T2" fmla="*/ 0 w 4"/>
                <a:gd name="T3" fmla="*/ 0 h 2"/>
                <a:gd name="T4" fmla="*/ 1 w 4"/>
                <a:gd name="T5" fmla="*/ 2 h 2"/>
                <a:gd name="T6" fmla="*/ 4 w 4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1"/>
                  </a:moveTo>
                  <a:lnTo>
                    <a:pt x="0" y="0"/>
                  </a:lnTo>
                  <a:lnTo>
                    <a:pt x="1" y="2"/>
                  </a:lnTo>
                  <a:lnTo>
                    <a:pt x="4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6" name="Freeform 1007">
              <a:extLst>
                <a:ext uri="{FF2B5EF4-FFF2-40B4-BE49-F238E27FC236}">
                  <a16:creationId xmlns:a16="http://schemas.microsoft.com/office/drawing/2014/main" id="{8388BD19-D2AE-4E36-9ED3-BF3433F85C31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9896" y="3377263"/>
              <a:ext cx="847375" cy="950663"/>
            </a:xfrm>
            <a:custGeom>
              <a:avLst/>
              <a:gdLst>
                <a:gd name="T0" fmla="*/ 52 w 804"/>
                <a:gd name="T1" fmla="*/ 370 h 902"/>
                <a:gd name="T2" fmla="*/ 68 w 804"/>
                <a:gd name="T3" fmla="*/ 337 h 902"/>
                <a:gd name="T4" fmla="*/ 25 w 804"/>
                <a:gd name="T5" fmla="*/ 278 h 902"/>
                <a:gd name="T6" fmla="*/ 87 w 804"/>
                <a:gd name="T7" fmla="*/ 245 h 902"/>
                <a:gd name="T8" fmla="*/ 132 w 804"/>
                <a:gd name="T9" fmla="*/ 170 h 902"/>
                <a:gd name="T10" fmla="*/ 143 w 804"/>
                <a:gd name="T11" fmla="*/ 117 h 902"/>
                <a:gd name="T12" fmla="*/ 125 w 804"/>
                <a:gd name="T13" fmla="*/ 81 h 902"/>
                <a:gd name="T14" fmla="*/ 108 w 804"/>
                <a:gd name="T15" fmla="*/ 46 h 902"/>
                <a:gd name="T16" fmla="*/ 180 w 804"/>
                <a:gd name="T17" fmla="*/ 24 h 902"/>
                <a:gd name="T18" fmla="*/ 220 w 804"/>
                <a:gd name="T19" fmla="*/ 22 h 902"/>
                <a:gd name="T20" fmla="*/ 267 w 804"/>
                <a:gd name="T21" fmla="*/ 76 h 902"/>
                <a:gd name="T22" fmla="*/ 250 w 804"/>
                <a:gd name="T23" fmla="*/ 108 h 902"/>
                <a:gd name="T24" fmla="*/ 287 w 804"/>
                <a:gd name="T25" fmla="*/ 149 h 902"/>
                <a:gd name="T26" fmla="*/ 322 w 804"/>
                <a:gd name="T27" fmla="*/ 188 h 902"/>
                <a:gd name="T28" fmla="*/ 336 w 804"/>
                <a:gd name="T29" fmla="*/ 228 h 902"/>
                <a:gd name="T30" fmla="*/ 398 w 804"/>
                <a:gd name="T31" fmla="*/ 262 h 902"/>
                <a:gd name="T32" fmla="*/ 455 w 804"/>
                <a:gd name="T33" fmla="*/ 277 h 902"/>
                <a:gd name="T34" fmla="*/ 517 w 804"/>
                <a:gd name="T35" fmla="*/ 296 h 902"/>
                <a:gd name="T36" fmla="*/ 546 w 804"/>
                <a:gd name="T37" fmla="*/ 276 h 902"/>
                <a:gd name="T38" fmla="*/ 568 w 804"/>
                <a:gd name="T39" fmla="*/ 272 h 902"/>
                <a:gd name="T40" fmla="*/ 639 w 804"/>
                <a:gd name="T41" fmla="*/ 287 h 902"/>
                <a:gd name="T42" fmla="*/ 647 w 804"/>
                <a:gd name="T43" fmla="*/ 262 h 902"/>
                <a:gd name="T44" fmla="*/ 701 w 804"/>
                <a:gd name="T45" fmla="*/ 220 h 902"/>
                <a:gd name="T46" fmla="*/ 760 w 804"/>
                <a:gd name="T47" fmla="*/ 199 h 902"/>
                <a:gd name="T48" fmla="*/ 774 w 804"/>
                <a:gd name="T49" fmla="*/ 229 h 902"/>
                <a:gd name="T50" fmla="*/ 798 w 804"/>
                <a:gd name="T51" fmla="*/ 253 h 902"/>
                <a:gd name="T52" fmla="*/ 764 w 804"/>
                <a:gd name="T53" fmla="*/ 284 h 902"/>
                <a:gd name="T54" fmla="*/ 744 w 804"/>
                <a:gd name="T55" fmla="*/ 332 h 902"/>
                <a:gd name="T56" fmla="*/ 718 w 804"/>
                <a:gd name="T57" fmla="*/ 403 h 902"/>
                <a:gd name="T58" fmla="*/ 703 w 804"/>
                <a:gd name="T59" fmla="*/ 443 h 902"/>
                <a:gd name="T60" fmla="*/ 662 w 804"/>
                <a:gd name="T61" fmla="*/ 403 h 902"/>
                <a:gd name="T62" fmla="*/ 680 w 804"/>
                <a:gd name="T63" fmla="*/ 355 h 902"/>
                <a:gd name="T64" fmla="*/ 608 w 804"/>
                <a:gd name="T65" fmla="*/ 323 h 902"/>
                <a:gd name="T66" fmla="*/ 564 w 804"/>
                <a:gd name="T67" fmla="*/ 295 h 902"/>
                <a:gd name="T68" fmla="*/ 584 w 804"/>
                <a:gd name="T69" fmla="*/ 337 h 902"/>
                <a:gd name="T70" fmla="*/ 576 w 804"/>
                <a:gd name="T71" fmla="*/ 365 h 902"/>
                <a:gd name="T72" fmla="*/ 593 w 804"/>
                <a:gd name="T73" fmla="*/ 405 h 902"/>
                <a:gd name="T74" fmla="*/ 596 w 804"/>
                <a:gd name="T75" fmla="*/ 451 h 902"/>
                <a:gd name="T76" fmla="*/ 588 w 804"/>
                <a:gd name="T77" fmla="*/ 460 h 902"/>
                <a:gd name="T78" fmla="*/ 577 w 804"/>
                <a:gd name="T79" fmla="*/ 453 h 902"/>
                <a:gd name="T80" fmla="*/ 541 w 804"/>
                <a:gd name="T81" fmla="*/ 473 h 902"/>
                <a:gd name="T82" fmla="*/ 507 w 804"/>
                <a:gd name="T83" fmla="*/ 520 h 902"/>
                <a:gd name="T84" fmla="*/ 482 w 804"/>
                <a:gd name="T85" fmla="*/ 553 h 902"/>
                <a:gd name="T86" fmla="*/ 427 w 804"/>
                <a:gd name="T87" fmla="*/ 615 h 902"/>
                <a:gd name="T88" fmla="*/ 381 w 804"/>
                <a:gd name="T89" fmla="*/ 647 h 902"/>
                <a:gd name="T90" fmla="*/ 371 w 804"/>
                <a:gd name="T91" fmla="*/ 722 h 902"/>
                <a:gd name="T92" fmla="*/ 371 w 804"/>
                <a:gd name="T93" fmla="*/ 819 h 902"/>
                <a:gd name="T94" fmla="*/ 347 w 804"/>
                <a:gd name="T95" fmla="*/ 859 h 902"/>
                <a:gd name="T96" fmla="*/ 311 w 804"/>
                <a:gd name="T97" fmla="*/ 901 h 902"/>
                <a:gd name="T98" fmla="*/ 268 w 804"/>
                <a:gd name="T99" fmla="*/ 841 h 902"/>
                <a:gd name="T100" fmla="*/ 262 w 804"/>
                <a:gd name="T101" fmla="*/ 828 h 902"/>
                <a:gd name="T102" fmla="*/ 209 w 804"/>
                <a:gd name="T103" fmla="*/ 700 h 902"/>
                <a:gd name="T104" fmla="*/ 186 w 804"/>
                <a:gd name="T105" fmla="*/ 659 h 902"/>
                <a:gd name="T106" fmla="*/ 153 w 804"/>
                <a:gd name="T107" fmla="*/ 563 h 902"/>
                <a:gd name="T108" fmla="*/ 151 w 804"/>
                <a:gd name="T109" fmla="*/ 534 h 902"/>
                <a:gd name="T110" fmla="*/ 139 w 804"/>
                <a:gd name="T111" fmla="*/ 473 h 902"/>
                <a:gd name="T112" fmla="*/ 132 w 804"/>
                <a:gd name="T113" fmla="*/ 448 h 902"/>
                <a:gd name="T114" fmla="*/ 122 w 804"/>
                <a:gd name="T115" fmla="*/ 437 h 902"/>
                <a:gd name="T116" fmla="*/ 87 w 804"/>
                <a:gd name="T117" fmla="*/ 487 h 902"/>
                <a:gd name="T118" fmla="*/ 41 w 804"/>
                <a:gd name="T119" fmla="*/ 433 h 902"/>
                <a:gd name="T120" fmla="*/ 47 w 804"/>
                <a:gd name="T121" fmla="*/ 419 h 902"/>
                <a:gd name="T122" fmla="*/ 2 w 804"/>
                <a:gd name="T123" fmla="*/ 392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04" h="902">
                  <a:moveTo>
                    <a:pt x="0" y="386"/>
                  </a:moveTo>
                  <a:lnTo>
                    <a:pt x="1" y="382"/>
                  </a:lnTo>
                  <a:lnTo>
                    <a:pt x="4" y="380"/>
                  </a:lnTo>
                  <a:lnTo>
                    <a:pt x="12" y="379"/>
                  </a:lnTo>
                  <a:lnTo>
                    <a:pt x="15" y="378"/>
                  </a:lnTo>
                  <a:lnTo>
                    <a:pt x="15" y="375"/>
                  </a:lnTo>
                  <a:lnTo>
                    <a:pt x="15" y="370"/>
                  </a:lnTo>
                  <a:lnTo>
                    <a:pt x="15" y="368"/>
                  </a:lnTo>
                  <a:lnTo>
                    <a:pt x="17" y="369"/>
                  </a:lnTo>
                  <a:lnTo>
                    <a:pt x="22" y="369"/>
                  </a:lnTo>
                  <a:lnTo>
                    <a:pt x="27" y="369"/>
                  </a:lnTo>
                  <a:lnTo>
                    <a:pt x="30" y="369"/>
                  </a:lnTo>
                  <a:lnTo>
                    <a:pt x="36" y="370"/>
                  </a:lnTo>
                  <a:lnTo>
                    <a:pt x="41" y="371"/>
                  </a:lnTo>
                  <a:lnTo>
                    <a:pt x="46" y="373"/>
                  </a:lnTo>
                  <a:lnTo>
                    <a:pt x="52" y="371"/>
                  </a:lnTo>
                  <a:lnTo>
                    <a:pt x="52" y="371"/>
                  </a:lnTo>
                  <a:lnTo>
                    <a:pt x="52" y="370"/>
                  </a:lnTo>
                  <a:lnTo>
                    <a:pt x="53" y="368"/>
                  </a:lnTo>
                  <a:lnTo>
                    <a:pt x="54" y="368"/>
                  </a:lnTo>
                  <a:lnTo>
                    <a:pt x="57" y="366"/>
                  </a:lnTo>
                  <a:lnTo>
                    <a:pt x="59" y="365"/>
                  </a:lnTo>
                  <a:lnTo>
                    <a:pt x="62" y="364"/>
                  </a:lnTo>
                  <a:lnTo>
                    <a:pt x="65" y="365"/>
                  </a:lnTo>
                  <a:lnTo>
                    <a:pt x="69" y="369"/>
                  </a:lnTo>
                  <a:lnTo>
                    <a:pt x="73" y="370"/>
                  </a:lnTo>
                  <a:lnTo>
                    <a:pt x="76" y="368"/>
                  </a:lnTo>
                  <a:lnTo>
                    <a:pt x="81" y="364"/>
                  </a:lnTo>
                  <a:lnTo>
                    <a:pt x="78" y="363"/>
                  </a:lnTo>
                  <a:lnTo>
                    <a:pt x="76" y="360"/>
                  </a:lnTo>
                  <a:lnTo>
                    <a:pt x="76" y="358"/>
                  </a:lnTo>
                  <a:lnTo>
                    <a:pt x="78" y="357"/>
                  </a:lnTo>
                  <a:lnTo>
                    <a:pt x="79" y="355"/>
                  </a:lnTo>
                  <a:lnTo>
                    <a:pt x="75" y="348"/>
                  </a:lnTo>
                  <a:lnTo>
                    <a:pt x="71" y="342"/>
                  </a:lnTo>
                  <a:lnTo>
                    <a:pt x="68" y="337"/>
                  </a:lnTo>
                  <a:lnTo>
                    <a:pt x="65" y="332"/>
                  </a:lnTo>
                  <a:lnTo>
                    <a:pt x="65" y="328"/>
                  </a:lnTo>
                  <a:lnTo>
                    <a:pt x="64" y="325"/>
                  </a:lnTo>
                  <a:lnTo>
                    <a:pt x="63" y="322"/>
                  </a:lnTo>
                  <a:lnTo>
                    <a:pt x="59" y="322"/>
                  </a:lnTo>
                  <a:lnTo>
                    <a:pt x="53" y="322"/>
                  </a:lnTo>
                  <a:lnTo>
                    <a:pt x="49" y="320"/>
                  </a:lnTo>
                  <a:lnTo>
                    <a:pt x="47" y="316"/>
                  </a:lnTo>
                  <a:lnTo>
                    <a:pt x="47" y="311"/>
                  </a:lnTo>
                  <a:lnTo>
                    <a:pt x="47" y="307"/>
                  </a:lnTo>
                  <a:lnTo>
                    <a:pt x="48" y="303"/>
                  </a:lnTo>
                  <a:lnTo>
                    <a:pt x="47" y="298"/>
                  </a:lnTo>
                  <a:lnTo>
                    <a:pt x="46" y="295"/>
                  </a:lnTo>
                  <a:lnTo>
                    <a:pt x="39" y="293"/>
                  </a:lnTo>
                  <a:lnTo>
                    <a:pt x="34" y="292"/>
                  </a:lnTo>
                  <a:lnTo>
                    <a:pt x="28" y="289"/>
                  </a:lnTo>
                  <a:lnTo>
                    <a:pt x="26" y="284"/>
                  </a:lnTo>
                  <a:lnTo>
                    <a:pt x="25" y="278"/>
                  </a:lnTo>
                  <a:lnTo>
                    <a:pt x="27" y="273"/>
                  </a:lnTo>
                  <a:lnTo>
                    <a:pt x="30" y="268"/>
                  </a:lnTo>
                  <a:lnTo>
                    <a:pt x="33" y="263"/>
                  </a:lnTo>
                  <a:lnTo>
                    <a:pt x="36" y="258"/>
                  </a:lnTo>
                  <a:lnTo>
                    <a:pt x="39" y="253"/>
                  </a:lnTo>
                  <a:lnTo>
                    <a:pt x="43" y="247"/>
                  </a:lnTo>
                  <a:lnTo>
                    <a:pt x="46" y="246"/>
                  </a:lnTo>
                  <a:lnTo>
                    <a:pt x="49" y="245"/>
                  </a:lnTo>
                  <a:lnTo>
                    <a:pt x="52" y="247"/>
                  </a:lnTo>
                  <a:lnTo>
                    <a:pt x="54" y="251"/>
                  </a:lnTo>
                  <a:lnTo>
                    <a:pt x="57" y="253"/>
                  </a:lnTo>
                  <a:lnTo>
                    <a:pt x="59" y="256"/>
                  </a:lnTo>
                  <a:lnTo>
                    <a:pt x="64" y="255"/>
                  </a:lnTo>
                  <a:lnTo>
                    <a:pt x="69" y="252"/>
                  </a:lnTo>
                  <a:lnTo>
                    <a:pt x="74" y="251"/>
                  </a:lnTo>
                  <a:lnTo>
                    <a:pt x="80" y="250"/>
                  </a:lnTo>
                  <a:lnTo>
                    <a:pt x="85" y="248"/>
                  </a:lnTo>
                  <a:lnTo>
                    <a:pt x="87" y="245"/>
                  </a:lnTo>
                  <a:lnTo>
                    <a:pt x="90" y="241"/>
                  </a:lnTo>
                  <a:lnTo>
                    <a:pt x="92" y="236"/>
                  </a:lnTo>
                  <a:lnTo>
                    <a:pt x="96" y="231"/>
                  </a:lnTo>
                  <a:lnTo>
                    <a:pt x="97" y="226"/>
                  </a:lnTo>
                  <a:lnTo>
                    <a:pt x="100" y="221"/>
                  </a:lnTo>
                  <a:lnTo>
                    <a:pt x="103" y="217"/>
                  </a:lnTo>
                  <a:lnTo>
                    <a:pt x="109" y="213"/>
                  </a:lnTo>
                  <a:lnTo>
                    <a:pt x="113" y="209"/>
                  </a:lnTo>
                  <a:lnTo>
                    <a:pt x="118" y="198"/>
                  </a:lnTo>
                  <a:lnTo>
                    <a:pt x="118" y="192"/>
                  </a:lnTo>
                  <a:lnTo>
                    <a:pt x="119" y="187"/>
                  </a:lnTo>
                  <a:lnTo>
                    <a:pt x="122" y="182"/>
                  </a:lnTo>
                  <a:lnTo>
                    <a:pt x="125" y="180"/>
                  </a:lnTo>
                  <a:lnTo>
                    <a:pt x="130" y="178"/>
                  </a:lnTo>
                  <a:lnTo>
                    <a:pt x="134" y="175"/>
                  </a:lnTo>
                  <a:lnTo>
                    <a:pt x="134" y="172"/>
                  </a:lnTo>
                  <a:lnTo>
                    <a:pt x="133" y="171"/>
                  </a:lnTo>
                  <a:lnTo>
                    <a:pt x="132" y="170"/>
                  </a:lnTo>
                  <a:lnTo>
                    <a:pt x="130" y="169"/>
                  </a:lnTo>
                  <a:lnTo>
                    <a:pt x="132" y="165"/>
                  </a:lnTo>
                  <a:lnTo>
                    <a:pt x="134" y="161"/>
                  </a:lnTo>
                  <a:lnTo>
                    <a:pt x="137" y="158"/>
                  </a:lnTo>
                  <a:lnTo>
                    <a:pt x="138" y="155"/>
                  </a:lnTo>
                  <a:lnTo>
                    <a:pt x="141" y="153"/>
                  </a:lnTo>
                  <a:lnTo>
                    <a:pt x="144" y="150"/>
                  </a:lnTo>
                  <a:lnTo>
                    <a:pt x="148" y="148"/>
                  </a:lnTo>
                  <a:lnTo>
                    <a:pt x="149" y="144"/>
                  </a:lnTo>
                  <a:lnTo>
                    <a:pt x="146" y="143"/>
                  </a:lnTo>
                  <a:lnTo>
                    <a:pt x="145" y="142"/>
                  </a:lnTo>
                  <a:lnTo>
                    <a:pt x="145" y="134"/>
                  </a:lnTo>
                  <a:lnTo>
                    <a:pt x="144" y="132"/>
                  </a:lnTo>
                  <a:lnTo>
                    <a:pt x="143" y="128"/>
                  </a:lnTo>
                  <a:lnTo>
                    <a:pt x="141" y="126"/>
                  </a:lnTo>
                  <a:lnTo>
                    <a:pt x="140" y="122"/>
                  </a:lnTo>
                  <a:lnTo>
                    <a:pt x="141" y="119"/>
                  </a:lnTo>
                  <a:lnTo>
                    <a:pt x="143" y="117"/>
                  </a:lnTo>
                  <a:lnTo>
                    <a:pt x="149" y="114"/>
                  </a:lnTo>
                  <a:lnTo>
                    <a:pt x="154" y="112"/>
                  </a:lnTo>
                  <a:lnTo>
                    <a:pt x="159" y="108"/>
                  </a:lnTo>
                  <a:lnTo>
                    <a:pt x="160" y="106"/>
                  </a:lnTo>
                  <a:lnTo>
                    <a:pt x="160" y="103"/>
                  </a:lnTo>
                  <a:lnTo>
                    <a:pt x="157" y="102"/>
                  </a:lnTo>
                  <a:lnTo>
                    <a:pt x="155" y="101"/>
                  </a:lnTo>
                  <a:lnTo>
                    <a:pt x="148" y="100"/>
                  </a:lnTo>
                  <a:lnTo>
                    <a:pt x="145" y="100"/>
                  </a:lnTo>
                  <a:lnTo>
                    <a:pt x="143" y="98"/>
                  </a:lnTo>
                  <a:lnTo>
                    <a:pt x="141" y="97"/>
                  </a:lnTo>
                  <a:lnTo>
                    <a:pt x="140" y="95"/>
                  </a:lnTo>
                  <a:lnTo>
                    <a:pt x="139" y="92"/>
                  </a:lnTo>
                  <a:lnTo>
                    <a:pt x="137" y="90"/>
                  </a:lnTo>
                  <a:lnTo>
                    <a:pt x="133" y="89"/>
                  </a:lnTo>
                  <a:lnTo>
                    <a:pt x="128" y="87"/>
                  </a:lnTo>
                  <a:lnTo>
                    <a:pt x="129" y="84"/>
                  </a:lnTo>
                  <a:lnTo>
                    <a:pt x="125" y="81"/>
                  </a:lnTo>
                  <a:lnTo>
                    <a:pt x="123" y="80"/>
                  </a:lnTo>
                  <a:lnTo>
                    <a:pt x="121" y="78"/>
                  </a:lnTo>
                  <a:lnTo>
                    <a:pt x="118" y="75"/>
                  </a:lnTo>
                  <a:lnTo>
                    <a:pt x="118" y="73"/>
                  </a:lnTo>
                  <a:lnTo>
                    <a:pt x="119" y="68"/>
                  </a:lnTo>
                  <a:lnTo>
                    <a:pt x="119" y="65"/>
                  </a:lnTo>
                  <a:lnTo>
                    <a:pt x="117" y="63"/>
                  </a:lnTo>
                  <a:lnTo>
                    <a:pt x="113" y="59"/>
                  </a:lnTo>
                  <a:lnTo>
                    <a:pt x="113" y="57"/>
                  </a:lnTo>
                  <a:lnTo>
                    <a:pt x="114" y="54"/>
                  </a:lnTo>
                  <a:lnTo>
                    <a:pt x="117" y="53"/>
                  </a:lnTo>
                  <a:lnTo>
                    <a:pt x="118" y="51"/>
                  </a:lnTo>
                  <a:lnTo>
                    <a:pt x="119" y="49"/>
                  </a:lnTo>
                  <a:lnTo>
                    <a:pt x="119" y="48"/>
                  </a:lnTo>
                  <a:lnTo>
                    <a:pt x="117" y="48"/>
                  </a:lnTo>
                  <a:lnTo>
                    <a:pt x="114" y="48"/>
                  </a:lnTo>
                  <a:lnTo>
                    <a:pt x="111" y="47"/>
                  </a:lnTo>
                  <a:lnTo>
                    <a:pt x="108" y="46"/>
                  </a:lnTo>
                  <a:lnTo>
                    <a:pt x="108" y="44"/>
                  </a:lnTo>
                  <a:lnTo>
                    <a:pt x="108" y="43"/>
                  </a:lnTo>
                  <a:lnTo>
                    <a:pt x="109" y="41"/>
                  </a:lnTo>
                  <a:lnTo>
                    <a:pt x="109" y="39"/>
                  </a:lnTo>
                  <a:lnTo>
                    <a:pt x="105" y="37"/>
                  </a:lnTo>
                  <a:lnTo>
                    <a:pt x="103" y="35"/>
                  </a:lnTo>
                  <a:lnTo>
                    <a:pt x="105" y="31"/>
                  </a:lnTo>
                  <a:lnTo>
                    <a:pt x="107" y="27"/>
                  </a:lnTo>
                  <a:lnTo>
                    <a:pt x="109" y="25"/>
                  </a:lnTo>
                  <a:lnTo>
                    <a:pt x="113" y="24"/>
                  </a:lnTo>
                  <a:lnTo>
                    <a:pt x="118" y="24"/>
                  </a:lnTo>
                  <a:lnTo>
                    <a:pt x="128" y="26"/>
                  </a:lnTo>
                  <a:lnTo>
                    <a:pt x="150" y="31"/>
                  </a:lnTo>
                  <a:lnTo>
                    <a:pt x="154" y="31"/>
                  </a:lnTo>
                  <a:lnTo>
                    <a:pt x="157" y="30"/>
                  </a:lnTo>
                  <a:lnTo>
                    <a:pt x="165" y="27"/>
                  </a:lnTo>
                  <a:lnTo>
                    <a:pt x="172" y="25"/>
                  </a:lnTo>
                  <a:lnTo>
                    <a:pt x="180" y="24"/>
                  </a:lnTo>
                  <a:lnTo>
                    <a:pt x="181" y="22"/>
                  </a:lnTo>
                  <a:lnTo>
                    <a:pt x="184" y="19"/>
                  </a:lnTo>
                  <a:lnTo>
                    <a:pt x="187" y="16"/>
                  </a:lnTo>
                  <a:lnTo>
                    <a:pt x="188" y="14"/>
                  </a:lnTo>
                  <a:lnTo>
                    <a:pt x="188" y="11"/>
                  </a:lnTo>
                  <a:lnTo>
                    <a:pt x="192" y="9"/>
                  </a:lnTo>
                  <a:lnTo>
                    <a:pt x="196" y="6"/>
                  </a:lnTo>
                  <a:lnTo>
                    <a:pt x="198" y="4"/>
                  </a:lnTo>
                  <a:lnTo>
                    <a:pt x="200" y="1"/>
                  </a:lnTo>
                  <a:lnTo>
                    <a:pt x="204" y="0"/>
                  </a:lnTo>
                  <a:lnTo>
                    <a:pt x="207" y="0"/>
                  </a:lnTo>
                  <a:lnTo>
                    <a:pt x="208" y="1"/>
                  </a:lnTo>
                  <a:lnTo>
                    <a:pt x="210" y="4"/>
                  </a:lnTo>
                  <a:lnTo>
                    <a:pt x="213" y="6"/>
                  </a:lnTo>
                  <a:lnTo>
                    <a:pt x="215" y="9"/>
                  </a:lnTo>
                  <a:lnTo>
                    <a:pt x="216" y="12"/>
                  </a:lnTo>
                  <a:lnTo>
                    <a:pt x="219" y="17"/>
                  </a:lnTo>
                  <a:lnTo>
                    <a:pt x="220" y="22"/>
                  </a:lnTo>
                  <a:lnTo>
                    <a:pt x="224" y="26"/>
                  </a:lnTo>
                  <a:lnTo>
                    <a:pt x="230" y="30"/>
                  </a:lnTo>
                  <a:lnTo>
                    <a:pt x="236" y="33"/>
                  </a:lnTo>
                  <a:lnTo>
                    <a:pt x="242" y="37"/>
                  </a:lnTo>
                  <a:lnTo>
                    <a:pt x="248" y="39"/>
                  </a:lnTo>
                  <a:lnTo>
                    <a:pt x="248" y="41"/>
                  </a:lnTo>
                  <a:lnTo>
                    <a:pt x="247" y="42"/>
                  </a:lnTo>
                  <a:lnTo>
                    <a:pt x="246" y="43"/>
                  </a:lnTo>
                  <a:lnTo>
                    <a:pt x="244" y="44"/>
                  </a:lnTo>
                  <a:lnTo>
                    <a:pt x="244" y="48"/>
                  </a:lnTo>
                  <a:lnTo>
                    <a:pt x="244" y="49"/>
                  </a:lnTo>
                  <a:lnTo>
                    <a:pt x="245" y="54"/>
                  </a:lnTo>
                  <a:lnTo>
                    <a:pt x="248" y="62"/>
                  </a:lnTo>
                  <a:lnTo>
                    <a:pt x="253" y="69"/>
                  </a:lnTo>
                  <a:lnTo>
                    <a:pt x="257" y="71"/>
                  </a:lnTo>
                  <a:lnTo>
                    <a:pt x="261" y="73"/>
                  </a:lnTo>
                  <a:lnTo>
                    <a:pt x="264" y="74"/>
                  </a:lnTo>
                  <a:lnTo>
                    <a:pt x="267" y="76"/>
                  </a:lnTo>
                  <a:lnTo>
                    <a:pt x="268" y="79"/>
                  </a:lnTo>
                  <a:lnTo>
                    <a:pt x="268" y="81"/>
                  </a:lnTo>
                  <a:lnTo>
                    <a:pt x="272" y="87"/>
                  </a:lnTo>
                  <a:lnTo>
                    <a:pt x="273" y="91"/>
                  </a:lnTo>
                  <a:lnTo>
                    <a:pt x="272" y="94"/>
                  </a:lnTo>
                  <a:lnTo>
                    <a:pt x="269" y="96"/>
                  </a:lnTo>
                  <a:lnTo>
                    <a:pt x="267" y="98"/>
                  </a:lnTo>
                  <a:lnTo>
                    <a:pt x="264" y="101"/>
                  </a:lnTo>
                  <a:lnTo>
                    <a:pt x="261" y="102"/>
                  </a:lnTo>
                  <a:lnTo>
                    <a:pt x="258" y="102"/>
                  </a:lnTo>
                  <a:lnTo>
                    <a:pt x="256" y="98"/>
                  </a:lnTo>
                  <a:lnTo>
                    <a:pt x="253" y="96"/>
                  </a:lnTo>
                  <a:lnTo>
                    <a:pt x="250" y="94"/>
                  </a:lnTo>
                  <a:lnTo>
                    <a:pt x="247" y="95"/>
                  </a:lnTo>
                  <a:lnTo>
                    <a:pt x="244" y="96"/>
                  </a:lnTo>
                  <a:lnTo>
                    <a:pt x="246" y="100"/>
                  </a:lnTo>
                  <a:lnTo>
                    <a:pt x="247" y="105"/>
                  </a:lnTo>
                  <a:lnTo>
                    <a:pt x="250" y="108"/>
                  </a:lnTo>
                  <a:lnTo>
                    <a:pt x="253" y="111"/>
                  </a:lnTo>
                  <a:lnTo>
                    <a:pt x="256" y="116"/>
                  </a:lnTo>
                  <a:lnTo>
                    <a:pt x="257" y="119"/>
                  </a:lnTo>
                  <a:lnTo>
                    <a:pt x="258" y="123"/>
                  </a:lnTo>
                  <a:lnTo>
                    <a:pt x="260" y="126"/>
                  </a:lnTo>
                  <a:lnTo>
                    <a:pt x="261" y="129"/>
                  </a:lnTo>
                  <a:lnTo>
                    <a:pt x="261" y="133"/>
                  </a:lnTo>
                  <a:lnTo>
                    <a:pt x="262" y="137"/>
                  </a:lnTo>
                  <a:lnTo>
                    <a:pt x="264" y="137"/>
                  </a:lnTo>
                  <a:lnTo>
                    <a:pt x="267" y="135"/>
                  </a:lnTo>
                  <a:lnTo>
                    <a:pt x="271" y="134"/>
                  </a:lnTo>
                  <a:lnTo>
                    <a:pt x="272" y="134"/>
                  </a:lnTo>
                  <a:lnTo>
                    <a:pt x="274" y="135"/>
                  </a:lnTo>
                  <a:lnTo>
                    <a:pt x="275" y="139"/>
                  </a:lnTo>
                  <a:lnTo>
                    <a:pt x="278" y="142"/>
                  </a:lnTo>
                  <a:lnTo>
                    <a:pt x="280" y="144"/>
                  </a:lnTo>
                  <a:lnTo>
                    <a:pt x="284" y="148"/>
                  </a:lnTo>
                  <a:lnTo>
                    <a:pt x="287" y="149"/>
                  </a:lnTo>
                  <a:lnTo>
                    <a:pt x="290" y="149"/>
                  </a:lnTo>
                  <a:lnTo>
                    <a:pt x="293" y="149"/>
                  </a:lnTo>
                  <a:lnTo>
                    <a:pt x="295" y="149"/>
                  </a:lnTo>
                  <a:lnTo>
                    <a:pt x="298" y="150"/>
                  </a:lnTo>
                  <a:lnTo>
                    <a:pt x="301" y="153"/>
                  </a:lnTo>
                  <a:lnTo>
                    <a:pt x="305" y="154"/>
                  </a:lnTo>
                  <a:lnTo>
                    <a:pt x="306" y="156"/>
                  </a:lnTo>
                  <a:lnTo>
                    <a:pt x="306" y="159"/>
                  </a:lnTo>
                  <a:lnTo>
                    <a:pt x="307" y="161"/>
                  </a:lnTo>
                  <a:lnTo>
                    <a:pt x="309" y="162"/>
                  </a:lnTo>
                  <a:lnTo>
                    <a:pt x="314" y="164"/>
                  </a:lnTo>
                  <a:lnTo>
                    <a:pt x="323" y="167"/>
                  </a:lnTo>
                  <a:lnTo>
                    <a:pt x="328" y="170"/>
                  </a:lnTo>
                  <a:lnTo>
                    <a:pt x="332" y="173"/>
                  </a:lnTo>
                  <a:lnTo>
                    <a:pt x="330" y="175"/>
                  </a:lnTo>
                  <a:lnTo>
                    <a:pt x="327" y="176"/>
                  </a:lnTo>
                  <a:lnTo>
                    <a:pt x="325" y="182"/>
                  </a:lnTo>
                  <a:lnTo>
                    <a:pt x="322" y="188"/>
                  </a:lnTo>
                  <a:lnTo>
                    <a:pt x="319" y="192"/>
                  </a:lnTo>
                  <a:lnTo>
                    <a:pt x="317" y="193"/>
                  </a:lnTo>
                  <a:lnTo>
                    <a:pt x="317" y="194"/>
                  </a:lnTo>
                  <a:lnTo>
                    <a:pt x="316" y="198"/>
                  </a:lnTo>
                  <a:lnTo>
                    <a:pt x="316" y="201"/>
                  </a:lnTo>
                  <a:lnTo>
                    <a:pt x="316" y="202"/>
                  </a:lnTo>
                  <a:lnTo>
                    <a:pt x="317" y="203"/>
                  </a:lnTo>
                  <a:lnTo>
                    <a:pt x="317" y="205"/>
                  </a:lnTo>
                  <a:lnTo>
                    <a:pt x="316" y="209"/>
                  </a:lnTo>
                  <a:lnTo>
                    <a:pt x="315" y="213"/>
                  </a:lnTo>
                  <a:lnTo>
                    <a:pt x="314" y="215"/>
                  </a:lnTo>
                  <a:lnTo>
                    <a:pt x="315" y="219"/>
                  </a:lnTo>
                  <a:lnTo>
                    <a:pt x="317" y="221"/>
                  </a:lnTo>
                  <a:lnTo>
                    <a:pt x="322" y="224"/>
                  </a:lnTo>
                  <a:lnTo>
                    <a:pt x="326" y="225"/>
                  </a:lnTo>
                  <a:lnTo>
                    <a:pt x="327" y="225"/>
                  </a:lnTo>
                  <a:lnTo>
                    <a:pt x="327" y="224"/>
                  </a:lnTo>
                  <a:lnTo>
                    <a:pt x="336" y="228"/>
                  </a:lnTo>
                  <a:lnTo>
                    <a:pt x="343" y="231"/>
                  </a:lnTo>
                  <a:lnTo>
                    <a:pt x="347" y="235"/>
                  </a:lnTo>
                  <a:lnTo>
                    <a:pt x="351" y="237"/>
                  </a:lnTo>
                  <a:lnTo>
                    <a:pt x="353" y="240"/>
                  </a:lnTo>
                  <a:lnTo>
                    <a:pt x="357" y="242"/>
                  </a:lnTo>
                  <a:lnTo>
                    <a:pt x="359" y="244"/>
                  </a:lnTo>
                  <a:lnTo>
                    <a:pt x="364" y="246"/>
                  </a:lnTo>
                  <a:lnTo>
                    <a:pt x="368" y="248"/>
                  </a:lnTo>
                  <a:lnTo>
                    <a:pt x="370" y="250"/>
                  </a:lnTo>
                  <a:lnTo>
                    <a:pt x="374" y="248"/>
                  </a:lnTo>
                  <a:lnTo>
                    <a:pt x="378" y="251"/>
                  </a:lnTo>
                  <a:lnTo>
                    <a:pt x="385" y="255"/>
                  </a:lnTo>
                  <a:lnTo>
                    <a:pt x="387" y="256"/>
                  </a:lnTo>
                  <a:lnTo>
                    <a:pt x="390" y="256"/>
                  </a:lnTo>
                  <a:lnTo>
                    <a:pt x="392" y="257"/>
                  </a:lnTo>
                  <a:lnTo>
                    <a:pt x="395" y="257"/>
                  </a:lnTo>
                  <a:lnTo>
                    <a:pt x="397" y="260"/>
                  </a:lnTo>
                  <a:lnTo>
                    <a:pt x="398" y="262"/>
                  </a:lnTo>
                  <a:lnTo>
                    <a:pt x="401" y="263"/>
                  </a:lnTo>
                  <a:lnTo>
                    <a:pt x="405" y="264"/>
                  </a:lnTo>
                  <a:lnTo>
                    <a:pt x="411" y="266"/>
                  </a:lnTo>
                  <a:lnTo>
                    <a:pt x="412" y="266"/>
                  </a:lnTo>
                  <a:lnTo>
                    <a:pt x="414" y="264"/>
                  </a:lnTo>
                  <a:lnTo>
                    <a:pt x="418" y="263"/>
                  </a:lnTo>
                  <a:lnTo>
                    <a:pt x="422" y="264"/>
                  </a:lnTo>
                  <a:lnTo>
                    <a:pt x="428" y="267"/>
                  </a:lnTo>
                  <a:lnTo>
                    <a:pt x="428" y="264"/>
                  </a:lnTo>
                  <a:lnTo>
                    <a:pt x="430" y="263"/>
                  </a:lnTo>
                  <a:lnTo>
                    <a:pt x="433" y="263"/>
                  </a:lnTo>
                  <a:lnTo>
                    <a:pt x="437" y="264"/>
                  </a:lnTo>
                  <a:lnTo>
                    <a:pt x="444" y="267"/>
                  </a:lnTo>
                  <a:lnTo>
                    <a:pt x="446" y="268"/>
                  </a:lnTo>
                  <a:lnTo>
                    <a:pt x="448" y="268"/>
                  </a:lnTo>
                  <a:lnTo>
                    <a:pt x="451" y="271"/>
                  </a:lnTo>
                  <a:lnTo>
                    <a:pt x="453" y="274"/>
                  </a:lnTo>
                  <a:lnTo>
                    <a:pt x="455" y="277"/>
                  </a:lnTo>
                  <a:lnTo>
                    <a:pt x="457" y="279"/>
                  </a:lnTo>
                  <a:lnTo>
                    <a:pt x="465" y="282"/>
                  </a:lnTo>
                  <a:lnTo>
                    <a:pt x="470" y="287"/>
                  </a:lnTo>
                  <a:lnTo>
                    <a:pt x="472" y="288"/>
                  </a:lnTo>
                  <a:lnTo>
                    <a:pt x="475" y="287"/>
                  </a:lnTo>
                  <a:lnTo>
                    <a:pt x="477" y="285"/>
                  </a:lnTo>
                  <a:lnTo>
                    <a:pt x="480" y="285"/>
                  </a:lnTo>
                  <a:lnTo>
                    <a:pt x="483" y="287"/>
                  </a:lnTo>
                  <a:lnTo>
                    <a:pt x="486" y="289"/>
                  </a:lnTo>
                  <a:lnTo>
                    <a:pt x="488" y="292"/>
                  </a:lnTo>
                  <a:lnTo>
                    <a:pt x="489" y="292"/>
                  </a:lnTo>
                  <a:lnTo>
                    <a:pt x="493" y="290"/>
                  </a:lnTo>
                  <a:lnTo>
                    <a:pt x="496" y="292"/>
                  </a:lnTo>
                  <a:lnTo>
                    <a:pt x="501" y="293"/>
                  </a:lnTo>
                  <a:lnTo>
                    <a:pt x="505" y="294"/>
                  </a:lnTo>
                  <a:lnTo>
                    <a:pt x="509" y="295"/>
                  </a:lnTo>
                  <a:lnTo>
                    <a:pt x="513" y="296"/>
                  </a:lnTo>
                  <a:lnTo>
                    <a:pt x="517" y="296"/>
                  </a:lnTo>
                  <a:lnTo>
                    <a:pt x="519" y="295"/>
                  </a:lnTo>
                  <a:lnTo>
                    <a:pt x="523" y="293"/>
                  </a:lnTo>
                  <a:lnTo>
                    <a:pt x="524" y="296"/>
                  </a:lnTo>
                  <a:lnTo>
                    <a:pt x="528" y="299"/>
                  </a:lnTo>
                  <a:lnTo>
                    <a:pt x="530" y="299"/>
                  </a:lnTo>
                  <a:lnTo>
                    <a:pt x="534" y="299"/>
                  </a:lnTo>
                  <a:lnTo>
                    <a:pt x="536" y="299"/>
                  </a:lnTo>
                  <a:lnTo>
                    <a:pt x="540" y="299"/>
                  </a:lnTo>
                  <a:lnTo>
                    <a:pt x="544" y="299"/>
                  </a:lnTo>
                  <a:lnTo>
                    <a:pt x="546" y="299"/>
                  </a:lnTo>
                  <a:lnTo>
                    <a:pt x="550" y="299"/>
                  </a:lnTo>
                  <a:lnTo>
                    <a:pt x="551" y="298"/>
                  </a:lnTo>
                  <a:lnTo>
                    <a:pt x="552" y="295"/>
                  </a:lnTo>
                  <a:lnTo>
                    <a:pt x="553" y="293"/>
                  </a:lnTo>
                  <a:lnTo>
                    <a:pt x="553" y="288"/>
                  </a:lnTo>
                  <a:lnTo>
                    <a:pt x="551" y="284"/>
                  </a:lnTo>
                  <a:lnTo>
                    <a:pt x="548" y="280"/>
                  </a:lnTo>
                  <a:lnTo>
                    <a:pt x="546" y="276"/>
                  </a:lnTo>
                  <a:lnTo>
                    <a:pt x="546" y="272"/>
                  </a:lnTo>
                  <a:lnTo>
                    <a:pt x="546" y="268"/>
                  </a:lnTo>
                  <a:lnTo>
                    <a:pt x="546" y="262"/>
                  </a:lnTo>
                  <a:lnTo>
                    <a:pt x="546" y="255"/>
                  </a:lnTo>
                  <a:lnTo>
                    <a:pt x="546" y="247"/>
                  </a:lnTo>
                  <a:lnTo>
                    <a:pt x="550" y="247"/>
                  </a:lnTo>
                  <a:lnTo>
                    <a:pt x="553" y="246"/>
                  </a:lnTo>
                  <a:lnTo>
                    <a:pt x="557" y="245"/>
                  </a:lnTo>
                  <a:lnTo>
                    <a:pt x="562" y="245"/>
                  </a:lnTo>
                  <a:lnTo>
                    <a:pt x="564" y="246"/>
                  </a:lnTo>
                  <a:lnTo>
                    <a:pt x="566" y="248"/>
                  </a:lnTo>
                  <a:lnTo>
                    <a:pt x="567" y="253"/>
                  </a:lnTo>
                  <a:lnTo>
                    <a:pt x="566" y="260"/>
                  </a:lnTo>
                  <a:lnTo>
                    <a:pt x="567" y="264"/>
                  </a:lnTo>
                  <a:lnTo>
                    <a:pt x="569" y="267"/>
                  </a:lnTo>
                  <a:lnTo>
                    <a:pt x="571" y="268"/>
                  </a:lnTo>
                  <a:lnTo>
                    <a:pt x="571" y="269"/>
                  </a:lnTo>
                  <a:lnTo>
                    <a:pt x="568" y="272"/>
                  </a:lnTo>
                  <a:lnTo>
                    <a:pt x="568" y="273"/>
                  </a:lnTo>
                  <a:lnTo>
                    <a:pt x="569" y="276"/>
                  </a:lnTo>
                  <a:lnTo>
                    <a:pt x="573" y="280"/>
                  </a:lnTo>
                  <a:lnTo>
                    <a:pt x="577" y="283"/>
                  </a:lnTo>
                  <a:lnTo>
                    <a:pt x="587" y="284"/>
                  </a:lnTo>
                  <a:lnTo>
                    <a:pt x="590" y="285"/>
                  </a:lnTo>
                  <a:lnTo>
                    <a:pt x="594" y="287"/>
                  </a:lnTo>
                  <a:lnTo>
                    <a:pt x="596" y="289"/>
                  </a:lnTo>
                  <a:lnTo>
                    <a:pt x="600" y="289"/>
                  </a:lnTo>
                  <a:lnTo>
                    <a:pt x="604" y="288"/>
                  </a:lnTo>
                  <a:lnTo>
                    <a:pt x="608" y="287"/>
                  </a:lnTo>
                  <a:lnTo>
                    <a:pt x="609" y="285"/>
                  </a:lnTo>
                  <a:lnTo>
                    <a:pt x="611" y="284"/>
                  </a:lnTo>
                  <a:lnTo>
                    <a:pt x="614" y="283"/>
                  </a:lnTo>
                  <a:lnTo>
                    <a:pt x="616" y="283"/>
                  </a:lnTo>
                  <a:lnTo>
                    <a:pt x="622" y="285"/>
                  </a:lnTo>
                  <a:lnTo>
                    <a:pt x="627" y="287"/>
                  </a:lnTo>
                  <a:lnTo>
                    <a:pt x="639" y="287"/>
                  </a:lnTo>
                  <a:lnTo>
                    <a:pt x="644" y="284"/>
                  </a:lnTo>
                  <a:lnTo>
                    <a:pt x="646" y="284"/>
                  </a:lnTo>
                  <a:lnTo>
                    <a:pt x="647" y="284"/>
                  </a:lnTo>
                  <a:lnTo>
                    <a:pt x="649" y="285"/>
                  </a:lnTo>
                  <a:lnTo>
                    <a:pt x="653" y="285"/>
                  </a:lnTo>
                  <a:lnTo>
                    <a:pt x="657" y="284"/>
                  </a:lnTo>
                  <a:lnTo>
                    <a:pt x="660" y="284"/>
                  </a:lnTo>
                  <a:lnTo>
                    <a:pt x="662" y="284"/>
                  </a:lnTo>
                  <a:lnTo>
                    <a:pt x="663" y="283"/>
                  </a:lnTo>
                  <a:lnTo>
                    <a:pt x="663" y="280"/>
                  </a:lnTo>
                  <a:lnTo>
                    <a:pt x="660" y="277"/>
                  </a:lnTo>
                  <a:lnTo>
                    <a:pt x="659" y="273"/>
                  </a:lnTo>
                  <a:lnTo>
                    <a:pt x="660" y="269"/>
                  </a:lnTo>
                  <a:lnTo>
                    <a:pt x="659" y="267"/>
                  </a:lnTo>
                  <a:lnTo>
                    <a:pt x="654" y="264"/>
                  </a:lnTo>
                  <a:lnTo>
                    <a:pt x="649" y="264"/>
                  </a:lnTo>
                  <a:lnTo>
                    <a:pt x="648" y="263"/>
                  </a:lnTo>
                  <a:lnTo>
                    <a:pt x="647" y="262"/>
                  </a:lnTo>
                  <a:lnTo>
                    <a:pt x="646" y="256"/>
                  </a:lnTo>
                  <a:lnTo>
                    <a:pt x="646" y="255"/>
                  </a:lnTo>
                  <a:lnTo>
                    <a:pt x="648" y="255"/>
                  </a:lnTo>
                  <a:lnTo>
                    <a:pt x="655" y="255"/>
                  </a:lnTo>
                  <a:lnTo>
                    <a:pt x="662" y="253"/>
                  </a:lnTo>
                  <a:lnTo>
                    <a:pt x="665" y="252"/>
                  </a:lnTo>
                  <a:lnTo>
                    <a:pt x="669" y="251"/>
                  </a:lnTo>
                  <a:lnTo>
                    <a:pt x="671" y="248"/>
                  </a:lnTo>
                  <a:lnTo>
                    <a:pt x="673" y="244"/>
                  </a:lnTo>
                  <a:lnTo>
                    <a:pt x="675" y="240"/>
                  </a:lnTo>
                  <a:lnTo>
                    <a:pt x="679" y="237"/>
                  </a:lnTo>
                  <a:lnTo>
                    <a:pt x="683" y="234"/>
                  </a:lnTo>
                  <a:lnTo>
                    <a:pt x="684" y="229"/>
                  </a:lnTo>
                  <a:lnTo>
                    <a:pt x="685" y="226"/>
                  </a:lnTo>
                  <a:lnTo>
                    <a:pt x="686" y="225"/>
                  </a:lnTo>
                  <a:lnTo>
                    <a:pt x="691" y="223"/>
                  </a:lnTo>
                  <a:lnTo>
                    <a:pt x="696" y="223"/>
                  </a:lnTo>
                  <a:lnTo>
                    <a:pt x="701" y="220"/>
                  </a:lnTo>
                  <a:lnTo>
                    <a:pt x="707" y="213"/>
                  </a:lnTo>
                  <a:lnTo>
                    <a:pt x="713" y="207"/>
                  </a:lnTo>
                  <a:lnTo>
                    <a:pt x="719" y="203"/>
                  </a:lnTo>
                  <a:lnTo>
                    <a:pt x="721" y="203"/>
                  </a:lnTo>
                  <a:lnTo>
                    <a:pt x="724" y="205"/>
                  </a:lnTo>
                  <a:lnTo>
                    <a:pt x="728" y="208"/>
                  </a:lnTo>
                  <a:lnTo>
                    <a:pt x="731" y="209"/>
                  </a:lnTo>
                  <a:lnTo>
                    <a:pt x="729" y="208"/>
                  </a:lnTo>
                  <a:lnTo>
                    <a:pt x="733" y="209"/>
                  </a:lnTo>
                  <a:lnTo>
                    <a:pt x="738" y="210"/>
                  </a:lnTo>
                  <a:lnTo>
                    <a:pt x="742" y="212"/>
                  </a:lnTo>
                  <a:lnTo>
                    <a:pt x="744" y="212"/>
                  </a:lnTo>
                  <a:lnTo>
                    <a:pt x="744" y="209"/>
                  </a:lnTo>
                  <a:lnTo>
                    <a:pt x="745" y="205"/>
                  </a:lnTo>
                  <a:lnTo>
                    <a:pt x="748" y="203"/>
                  </a:lnTo>
                  <a:lnTo>
                    <a:pt x="751" y="202"/>
                  </a:lnTo>
                  <a:lnTo>
                    <a:pt x="758" y="198"/>
                  </a:lnTo>
                  <a:lnTo>
                    <a:pt x="760" y="199"/>
                  </a:lnTo>
                  <a:lnTo>
                    <a:pt x="764" y="202"/>
                  </a:lnTo>
                  <a:lnTo>
                    <a:pt x="766" y="204"/>
                  </a:lnTo>
                  <a:lnTo>
                    <a:pt x="769" y="207"/>
                  </a:lnTo>
                  <a:lnTo>
                    <a:pt x="765" y="209"/>
                  </a:lnTo>
                  <a:lnTo>
                    <a:pt x="764" y="212"/>
                  </a:lnTo>
                  <a:lnTo>
                    <a:pt x="764" y="213"/>
                  </a:lnTo>
                  <a:lnTo>
                    <a:pt x="765" y="214"/>
                  </a:lnTo>
                  <a:lnTo>
                    <a:pt x="766" y="214"/>
                  </a:lnTo>
                  <a:lnTo>
                    <a:pt x="769" y="213"/>
                  </a:lnTo>
                  <a:lnTo>
                    <a:pt x="771" y="212"/>
                  </a:lnTo>
                  <a:lnTo>
                    <a:pt x="774" y="210"/>
                  </a:lnTo>
                  <a:lnTo>
                    <a:pt x="774" y="214"/>
                  </a:lnTo>
                  <a:lnTo>
                    <a:pt x="776" y="217"/>
                  </a:lnTo>
                  <a:lnTo>
                    <a:pt x="777" y="219"/>
                  </a:lnTo>
                  <a:lnTo>
                    <a:pt x="778" y="221"/>
                  </a:lnTo>
                  <a:lnTo>
                    <a:pt x="776" y="224"/>
                  </a:lnTo>
                  <a:lnTo>
                    <a:pt x="775" y="226"/>
                  </a:lnTo>
                  <a:lnTo>
                    <a:pt x="774" y="229"/>
                  </a:lnTo>
                  <a:lnTo>
                    <a:pt x="772" y="232"/>
                  </a:lnTo>
                  <a:lnTo>
                    <a:pt x="774" y="234"/>
                  </a:lnTo>
                  <a:lnTo>
                    <a:pt x="776" y="232"/>
                  </a:lnTo>
                  <a:lnTo>
                    <a:pt x="778" y="232"/>
                  </a:lnTo>
                  <a:lnTo>
                    <a:pt x="780" y="231"/>
                  </a:lnTo>
                  <a:lnTo>
                    <a:pt x="783" y="231"/>
                  </a:lnTo>
                  <a:lnTo>
                    <a:pt x="787" y="232"/>
                  </a:lnTo>
                  <a:lnTo>
                    <a:pt x="791" y="235"/>
                  </a:lnTo>
                  <a:lnTo>
                    <a:pt x="796" y="235"/>
                  </a:lnTo>
                  <a:lnTo>
                    <a:pt x="798" y="235"/>
                  </a:lnTo>
                  <a:lnTo>
                    <a:pt x="801" y="237"/>
                  </a:lnTo>
                  <a:lnTo>
                    <a:pt x="802" y="240"/>
                  </a:lnTo>
                  <a:lnTo>
                    <a:pt x="803" y="242"/>
                  </a:lnTo>
                  <a:lnTo>
                    <a:pt x="804" y="245"/>
                  </a:lnTo>
                  <a:lnTo>
                    <a:pt x="804" y="246"/>
                  </a:lnTo>
                  <a:lnTo>
                    <a:pt x="804" y="248"/>
                  </a:lnTo>
                  <a:lnTo>
                    <a:pt x="802" y="251"/>
                  </a:lnTo>
                  <a:lnTo>
                    <a:pt x="798" y="253"/>
                  </a:lnTo>
                  <a:lnTo>
                    <a:pt x="796" y="257"/>
                  </a:lnTo>
                  <a:lnTo>
                    <a:pt x="796" y="261"/>
                  </a:lnTo>
                  <a:lnTo>
                    <a:pt x="796" y="263"/>
                  </a:lnTo>
                  <a:lnTo>
                    <a:pt x="797" y="266"/>
                  </a:lnTo>
                  <a:lnTo>
                    <a:pt x="802" y="271"/>
                  </a:lnTo>
                  <a:lnTo>
                    <a:pt x="804" y="276"/>
                  </a:lnTo>
                  <a:lnTo>
                    <a:pt x="802" y="277"/>
                  </a:lnTo>
                  <a:lnTo>
                    <a:pt x="801" y="276"/>
                  </a:lnTo>
                  <a:lnTo>
                    <a:pt x="797" y="273"/>
                  </a:lnTo>
                  <a:lnTo>
                    <a:pt x="794" y="269"/>
                  </a:lnTo>
                  <a:lnTo>
                    <a:pt x="791" y="268"/>
                  </a:lnTo>
                  <a:lnTo>
                    <a:pt x="783" y="271"/>
                  </a:lnTo>
                  <a:lnTo>
                    <a:pt x="777" y="272"/>
                  </a:lnTo>
                  <a:lnTo>
                    <a:pt x="775" y="273"/>
                  </a:lnTo>
                  <a:lnTo>
                    <a:pt x="772" y="276"/>
                  </a:lnTo>
                  <a:lnTo>
                    <a:pt x="769" y="280"/>
                  </a:lnTo>
                  <a:lnTo>
                    <a:pt x="765" y="283"/>
                  </a:lnTo>
                  <a:lnTo>
                    <a:pt x="764" y="284"/>
                  </a:lnTo>
                  <a:lnTo>
                    <a:pt x="762" y="284"/>
                  </a:lnTo>
                  <a:lnTo>
                    <a:pt x="761" y="285"/>
                  </a:lnTo>
                  <a:lnTo>
                    <a:pt x="761" y="287"/>
                  </a:lnTo>
                  <a:lnTo>
                    <a:pt x="761" y="288"/>
                  </a:lnTo>
                  <a:lnTo>
                    <a:pt x="760" y="288"/>
                  </a:lnTo>
                  <a:lnTo>
                    <a:pt x="759" y="289"/>
                  </a:lnTo>
                  <a:lnTo>
                    <a:pt x="755" y="290"/>
                  </a:lnTo>
                  <a:lnTo>
                    <a:pt x="753" y="292"/>
                  </a:lnTo>
                  <a:lnTo>
                    <a:pt x="750" y="294"/>
                  </a:lnTo>
                  <a:lnTo>
                    <a:pt x="750" y="299"/>
                  </a:lnTo>
                  <a:lnTo>
                    <a:pt x="751" y="304"/>
                  </a:lnTo>
                  <a:lnTo>
                    <a:pt x="753" y="306"/>
                  </a:lnTo>
                  <a:lnTo>
                    <a:pt x="754" y="310"/>
                  </a:lnTo>
                  <a:lnTo>
                    <a:pt x="754" y="314"/>
                  </a:lnTo>
                  <a:lnTo>
                    <a:pt x="753" y="319"/>
                  </a:lnTo>
                  <a:lnTo>
                    <a:pt x="751" y="323"/>
                  </a:lnTo>
                  <a:lnTo>
                    <a:pt x="748" y="328"/>
                  </a:lnTo>
                  <a:lnTo>
                    <a:pt x="744" y="332"/>
                  </a:lnTo>
                  <a:lnTo>
                    <a:pt x="744" y="335"/>
                  </a:lnTo>
                  <a:lnTo>
                    <a:pt x="744" y="337"/>
                  </a:lnTo>
                  <a:lnTo>
                    <a:pt x="746" y="341"/>
                  </a:lnTo>
                  <a:lnTo>
                    <a:pt x="749" y="346"/>
                  </a:lnTo>
                  <a:lnTo>
                    <a:pt x="746" y="355"/>
                  </a:lnTo>
                  <a:lnTo>
                    <a:pt x="744" y="364"/>
                  </a:lnTo>
                  <a:lnTo>
                    <a:pt x="740" y="374"/>
                  </a:lnTo>
                  <a:lnTo>
                    <a:pt x="738" y="384"/>
                  </a:lnTo>
                  <a:lnTo>
                    <a:pt x="734" y="381"/>
                  </a:lnTo>
                  <a:lnTo>
                    <a:pt x="731" y="380"/>
                  </a:lnTo>
                  <a:lnTo>
                    <a:pt x="727" y="379"/>
                  </a:lnTo>
                  <a:lnTo>
                    <a:pt x="724" y="378"/>
                  </a:lnTo>
                  <a:lnTo>
                    <a:pt x="719" y="379"/>
                  </a:lnTo>
                  <a:lnTo>
                    <a:pt x="717" y="378"/>
                  </a:lnTo>
                  <a:lnTo>
                    <a:pt x="713" y="378"/>
                  </a:lnTo>
                  <a:lnTo>
                    <a:pt x="717" y="389"/>
                  </a:lnTo>
                  <a:lnTo>
                    <a:pt x="718" y="400"/>
                  </a:lnTo>
                  <a:lnTo>
                    <a:pt x="718" y="403"/>
                  </a:lnTo>
                  <a:lnTo>
                    <a:pt x="718" y="408"/>
                  </a:lnTo>
                  <a:lnTo>
                    <a:pt x="717" y="411"/>
                  </a:lnTo>
                  <a:lnTo>
                    <a:pt x="715" y="411"/>
                  </a:lnTo>
                  <a:lnTo>
                    <a:pt x="713" y="410"/>
                  </a:lnTo>
                  <a:lnTo>
                    <a:pt x="713" y="419"/>
                  </a:lnTo>
                  <a:lnTo>
                    <a:pt x="715" y="424"/>
                  </a:lnTo>
                  <a:lnTo>
                    <a:pt x="716" y="429"/>
                  </a:lnTo>
                  <a:lnTo>
                    <a:pt x="717" y="433"/>
                  </a:lnTo>
                  <a:lnTo>
                    <a:pt x="717" y="435"/>
                  </a:lnTo>
                  <a:lnTo>
                    <a:pt x="717" y="438"/>
                  </a:lnTo>
                  <a:lnTo>
                    <a:pt x="713" y="438"/>
                  </a:lnTo>
                  <a:lnTo>
                    <a:pt x="713" y="441"/>
                  </a:lnTo>
                  <a:lnTo>
                    <a:pt x="713" y="444"/>
                  </a:lnTo>
                  <a:lnTo>
                    <a:pt x="712" y="445"/>
                  </a:lnTo>
                  <a:lnTo>
                    <a:pt x="711" y="445"/>
                  </a:lnTo>
                  <a:lnTo>
                    <a:pt x="708" y="443"/>
                  </a:lnTo>
                  <a:lnTo>
                    <a:pt x="705" y="439"/>
                  </a:lnTo>
                  <a:lnTo>
                    <a:pt x="703" y="443"/>
                  </a:lnTo>
                  <a:lnTo>
                    <a:pt x="702" y="445"/>
                  </a:lnTo>
                  <a:lnTo>
                    <a:pt x="694" y="418"/>
                  </a:lnTo>
                  <a:lnTo>
                    <a:pt x="690" y="403"/>
                  </a:lnTo>
                  <a:lnTo>
                    <a:pt x="685" y="389"/>
                  </a:lnTo>
                  <a:lnTo>
                    <a:pt x="684" y="387"/>
                  </a:lnTo>
                  <a:lnTo>
                    <a:pt x="681" y="389"/>
                  </a:lnTo>
                  <a:lnTo>
                    <a:pt x="679" y="390"/>
                  </a:lnTo>
                  <a:lnTo>
                    <a:pt x="675" y="389"/>
                  </a:lnTo>
                  <a:lnTo>
                    <a:pt x="676" y="392"/>
                  </a:lnTo>
                  <a:lnTo>
                    <a:pt x="675" y="397"/>
                  </a:lnTo>
                  <a:lnTo>
                    <a:pt x="674" y="400"/>
                  </a:lnTo>
                  <a:lnTo>
                    <a:pt x="674" y="402"/>
                  </a:lnTo>
                  <a:lnTo>
                    <a:pt x="675" y="407"/>
                  </a:lnTo>
                  <a:lnTo>
                    <a:pt x="674" y="412"/>
                  </a:lnTo>
                  <a:lnTo>
                    <a:pt x="671" y="413"/>
                  </a:lnTo>
                  <a:lnTo>
                    <a:pt x="669" y="412"/>
                  </a:lnTo>
                  <a:lnTo>
                    <a:pt x="665" y="407"/>
                  </a:lnTo>
                  <a:lnTo>
                    <a:pt x="662" y="403"/>
                  </a:lnTo>
                  <a:lnTo>
                    <a:pt x="662" y="406"/>
                  </a:lnTo>
                  <a:lnTo>
                    <a:pt x="662" y="408"/>
                  </a:lnTo>
                  <a:lnTo>
                    <a:pt x="658" y="400"/>
                  </a:lnTo>
                  <a:lnTo>
                    <a:pt x="654" y="391"/>
                  </a:lnTo>
                  <a:lnTo>
                    <a:pt x="654" y="387"/>
                  </a:lnTo>
                  <a:lnTo>
                    <a:pt x="657" y="382"/>
                  </a:lnTo>
                  <a:lnTo>
                    <a:pt x="658" y="379"/>
                  </a:lnTo>
                  <a:lnTo>
                    <a:pt x="658" y="375"/>
                  </a:lnTo>
                  <a:lnTo>
                    <a:pt x="663" y="375"/>
                  </a:lnTo>
                  <a:lnTo>
                    <a:pt x="664" y="374"/>
                  </a:lnTo>
                  <a:lnTo>
                    <a:pt x="665" y="371"/>
                  </a:lnTo>
                  <a:lnTo>
                    <a:pt x="667" y="373"/>
                  </a:lnTo>
                  <a:lnTo>
                    <a:pt x="669" y="373"/>
                  </a:lnTo>
                  <a:lnTo>
                    <a:pt x="670" y="371"/>
                  </a:lnTo>
                  <a:lnTo>
                    <a:pt x="673" y="373"/>
                  </a:lnTo>
                  <a:lnTo>
                    <a:pt x="674" y="366"/>
                  </a:lnTo>
                  <a:lnTo>
                    <a:pt x="678" y="362"/>
                  </a:lnTo>
                  <a:lnTo>
                    <a:pt x="680" y="355"/>
                  </a:lnTo>
                  <a:lnTo>
                    <a:pt x="680" y="352"/>
                  </a:lnTo>
                  <a:lnTo>
                    <a:pt x="679" y="349"/>
                  </a:lnTo>
                  <a:lnTo>
                    <a:pt x="681" y="349"/>
                  </a:lnTo>
                  <a:lnTo>
                    <a:pt x="683" y="349"/>
                  </a:lnTo>
                  <a:lnTo>
                    <a:pt x="684" y="348"/>
                  </a:lnTo>
                  <a:lnTo>
                    <a:pt x="684" y="347"/>
                  </a:lnTo>
                  <a:lnTo>
                    <a:pt x="676" y="342"/>
                  </a:lnTo>
                  <a:lnTo>
                    <a:pt x="668" y="339"/>
                  </a:lnTo>
                  <a:lnTo>
                    <a:pt x="662" y="339"/>
                  </a:lnTo>
                  <a:lnTo>
                    <a:pt x="653" y="339"/>
                  </a:lnTo>
                  <a:lnTo>
                    <a:pt x="644" y="339"/>
                  </a:lnTo>
                  <a:lnTo>
                    <a:pt x="635" y="339"/>
                  </a:lnTo>
                  <a:lnTo>
                    <a:pt x="626" y="339"/>
                  </a:lnTo>
                  <a:lnTo>
                    <a:pt x="617" y="338"/>
                  </a:lnTo>
                  <a:lnTo>
                    <a:pt x="610" y="336"/>
                  </a:lnTo>
                  <a:lnTo>
                    <a:pt x="608" y="332"/>
                  </a:lnTo>
                  <a:lnTo>
                    <a:pt x="608" y="328"/>
                  </a:lnTo>
                  <a:lnTo>
                    <a:pt x="608" y="323"/>
                  </a:lnTo>
                  <a:lnTo>
                    <a:pt x="605" y="316"/>
                  </a:lnTo>
                  <a:lnTo>
                    <a:pt x="603" y="309"/>
                  </a:lnTo>
                  <a:lnTo>
                    <a:pt x="600" y="307"/>
                  </a:lnTo>
                  <a:lnTo>
                    <a:pt x="598" y="306"/>
                  </a:lnTo>
                  <a:lnTo>
                    <a:pt x="598" y="310"/>
                  </a:lnTo>
                  <a:lnTo>
                    <a:pt x="596" y="314"/>
                  </a:lnTo>
                  <a:lnTo>
                    <a:pt x="590" y="311"/>
                  </a:lnTo>
                  <a:lnTo>
                    <a:pt x="584" y="306"/>
                  </a:lnTo>
                  <a:lnTo>
                    <a:pt x="582" y="301"/>
                  </a:lnTo>
                  <a:lnTo>
                    <a:pt x="579" y="299"/>
                  </a:lnTo>
                  <a:lnTo>
                    <a:pt x="577" y="299"/>
                  </a:lnTo>
                  <a:lnTo>
                    <a:pt x="579" y="301"/>
                  </a:lnTo>
                  <a:lnTo>
                    <a:pt x="580" y="305"/>
                  </a:lnTo>
                  <a:lnTo>
                    <a:pt x="577" y="304"/>
                  </a:lnTo>
                  <a:lnTo>
                    <a:pt x="572" y="303"/>
                  </a:lnTo>
                  <a:lnTo>
                    <a:pt x="569" y="300"/>
                  </a:lnTo>
                  <a:lnTo>
                    <a:pt x="568" y="298"/>
                  </a:lnTo>
                  <a:lnTo>
                    <a:pt x="564" y="295"/>
                  </a:lnTo>
                  <a:lnTo>
                    <a:pt x="561" y="293"/>
                  </a:lnTo>
                  <a:lnTo>
                    <a:pt x="560" y="296"/>
                  </a:lnTo>
                  <a:lnTo>
                    <a:pt x="563" y="296"/>
                  </a:lnTo>
                  <a:lnTo>
                    <a:pt x="566" y="300"/>
                  </a:lnTo>
                  <a:lnTo>
                    <a:pt x="560" y="304"/>
                  </a:lnTo>
                  <a:lnTo>
                    <a:pt x="557" y="310"/>
                  </a:lnTo>
                  <a:lnTo>
                    <a:pt x="557" y="315"/>
                  </a:lnTo>
                  <a:lnTo>
                    <a:pt x="558" y="317"/>
                  </a:lnTo>
                  <a:lnTo>
                    <a:pt x="562" y="320"/>
                  </a:lnTo>
                  <a:lnTo>
                    <a:pt x="567" y="323"/>
                  </a:lnTo>
                  <a:lnTo>
                    <a:pt x="571" y="328"/>
                  </a:lnTo>
                  <a:lnTo>
                    <a:pt x="573" y="328"/>
                  </a:lnTo>
                  <a:lnTo>
                    <a:pt x="576" y="328"/>
                  </a:lnTo>
                  <a:lnTo>
                    <a:pt x="578" y="330"/>
                  </a:lnTo>
                  <a:lnTo>
                    <a:pt x="579" y="331"/>
                  </a:lnTo>
                  <a:lnTo>
                    <a:pt x="580" y="333"/>
                  </a:lnTo>
                  <a:lnTo>
                    <a:pt x="583" y="335"/>
                  </a:lnTo>
                  <a:lnTo>
                    <a:pt x="584" y="337"/>
                  </a:lnTo>
                  <a:lnTo>
                    <a:pt x="584" y="339"/>
                  </a:lnTo>
                  <a:lnTo>
                    <a:pt x="579" y="338"/>
                  </a:lnTo>
                  <a:lnTo>
                    <a:pt x="574" y="339"/>
                  </a:lnTo>
                  <a:lnTo>
                    <a:pt x="572" y="339"/>
                  </a:lnTo>
                  <a:lnTo>
                    <a:pt x="571" y="343"/>
                  </a:lnTo>
                  <a:lnTo>
                    <a:pt x="569" y="346"/>
                  </a:lnTo>
                  <a:lnTo>
                    <a:pt x="568" y="348"/>
                  </a:lnTo>
                  <a:lnTo>
                    <a:pt x="566" y="349"/>
                  </a:lnTo>
                  <a:lnTo>
                    <a:pt x="564" y="348"/>
                  </a:lnTo>
                  <a:lnTo>
                    <a:pt x="563" y="347"/>
                  </a:lnTo>
                  <a:lnTo>
                    <a:pt x="562" y="351"/>
                  </a:lnTo>
                  <a:lnTo>
                    <a:pt x="561" y="354"/>
                  </a:lnTo>
                  <a:lnTo>
                    <a:pt x="561" y="358"/>
                  </a:lnTo>
                  <a:lnTo>
                    <a:pt x="562" y="359"/>
                  </a:lnTo>
                  <a:lnTo>
                    <a:pt x="564" y="362"/>
                  </a:lnTo>
                  <a:lnTo>
                    <a:pt x="568" y="363"/>
                  </a:lnTo>
                  <a:lnTo>
                    <a:pt x="572" y="365"/>
                  </a:lnTo>
                  <a:lnTo>
                    <a:pt x="576" y="365"/>
                  </a:lnTo>
                  <a:lnTo>
                    <a:pt x="579" y="368"/>
                  </a:lnTo>
                  <a:lnTo>
                    <a:pt x="583" y="371"/>
                  </a:lnTo>
                  <a:lnTo>
                    <a:pt x="584" y="374"/>
                  </a:lnTo>
                  <a:lnTo>
                    <a:pt x="584" y="376"/>
                  </a:lnTo>
                  <a:lnTo>
                    <a:pt x="584" y="379"/>
                  </a:lnTo>
                  <a:lnTo>
                    <a:pt x="583" y="381"/>
                  </a:lnTo>
                  <a:lnTo>
                    <a:pt x="580" y="384"/>
                  </a:lnTo>
                  <a:lnTo>
                    <a:pt x="579" y="386"/>
                  </a:lnTo>
                  <a:lnTo>
                    <a:pt x="580" y="387"/>
                  </a:lnTo>
                  <a:lnTo>
                    <a:pt x="582" y="390"/>
                  </a:lnTo>
                  <a:lnTo>
                    <a:pt x="584" y="392"/>
                  </a:lnTo>
                  <a:lnTo>
                    <a:pt x="585" y="394"/>
                  </a:lnTo>
                  <a:lnTo>
                    <a:pt x="587" y="395"/>
                  </a:lnTo>
                  <a:lnTo>
                    <a:pt x="587" y="397"/>
                  </a:lnTo>
                  <a:lnTo>
                    <a:pt x="587" y="402"/>
                  </a:lnTo>
                  <a:lnTo>
                    <a:pt x="589" y="403"/>
                  </a:lnTo>
                  <a:lnTo>
                    <a:pt x="592" y="403"/>
                  </a:lnTo>
                  <a:lnTo>
                    <a:pt x="593" y="405"/>
                  </a:lnTo>
                  <a:lnTo>
                    <a:pt x="593" y="407"/>
                  </a:lnTo>
                  <a:lnTo>
                    <a:pt x="593" y="411"/>
                  </a:lnTo>
                  <a:lnTo>
                    <a:pt x="594" y="416"/>
                  </a:lnTo>
                  <a:lnTo>
                    <a:pt x="595" y="419"/>
                  </a:lnTo>
                  <a:lnTo>
                    <a:pt x="596" y="426"/>
                  </a:lnTo>
                  <a:lnTo>
                    <a:pt x="599" y="432"/>
                  </a:lnTo>
                  <a:lnTo>
                    <a:pt x="601" y="439"/>
                  </a:lnTo>
                  <a:lnTo>
                    <a:pt x="601" y="443"/>
                  </a:lnTo>
                  <a:lnTo>
                    <a:pt x="600" y="446"/>
                  </a:lnTo>
                  <a:lnTo>
                    <a:pt x="596" y="445"/>
                  </a:lnTo>
                  <a:lnTo>
                    <a:pt x="599" y="446"/>
                  </a:lnTo>
                  <a:lnTo>
                    <a:pt x="600" y="450"/>
                  </a:lnTo>
                  <a:lnTo>
                    <a:pt x="603" y="454"/>
                  </a:lnTo>
                  <a:lnTo>
                    <a:pt x="601" y="456"/>
                  </a:lnTo>
                  <a:lnTo>
                    <a:pt x="600" y="456"/>
                  </a:lnTo>
                  <a:lnTo>
                    <a:pt x="599" y="455"/>
                  </a:lnTo>
                  <a:lnTo>
                    <a:pt x="596" y="454"/>
                  </a:lnTo>
                  <a:lnTo>
                    <a:pt x="596" y="451"/>
                  </a:lnTo>
                  <a:lnTo>
                    <a:pt x="595" y="454"/>
                  </a:lnTo>
                  <a:lnTo>
                    <a:pt x="594" y="455"/>
                  </a:lnTo>
                  <a:lnTo>
                    <a:pt x="593" y="455"/>
                  </a:lnTo>
                  <a:lnTo>
                    <a:pt x="592" y="454"/>
                  </a:lnTo>
                  <a:lnTo>
                    <a:pt x="590" y="450"/>
                  </a:lnTo>
                  <a:lnTo>
                    <a:pt x="592" y="446"/>
                  </a:lnTo>
                  <a:lnTo>
                    <a:pt x="592" y="440"/>
                  </a:lnTo>
                  <a:lnTo>
                    <a:pt x="590" y="441"/>
                  </a:lnTo>
                  <a:lnTo>
                    <a:pt x="590" y="443"/>
                  </a:lnTo>
                  <a:lnTo>
                    <a:pt x="590" y="444"/>
                  </a:lnTo>
                  <a:lnTo>
                    <a:pt x="589" y="446"/>
                  </a:lnTo>
                  <a:lnTo>
                    <a:pt x="589" y="441"/>
                  </a:lnTo>
                  <a:lnTo>
                    <a:pt x="589" y="440"/>
                  </a:lnTo>
                  <a:lnTo>
                    <a:pt x="589" y="438"/>
                  </a:lnTo>
                  <a:lnTo>
                    <a:pt x="588" y="441"/>
                  </a:lnTo>
                  <a:lnTo>
                    <a:pt x="587" y="448"/>
                  </a:lnTo>
                  <a:lnTo>
                    <a:pt x="588" y="455"/>
                  </a:lnTo>
                  <a:lnTo>
                    <a:pt x="588" y="460"/>
                  </a:lnTo>
                  <a:lnTo>
                    <a:pt x="588" y="454"/>
                  </a:lnTo>
                  <a:lnTo>
                    <a:pt x="587" y="450"/>
                  </a:lnTo>
                  <a:lnTo>
                    <a:pt x="584" y="448"/>
                  </a:lnTo>
                  <a:lnTo>
                    <a:pt x="585" y="450"/>
                  </a:lnTo>
                  <a:lnTo>
                    <a:pt x="585" y="453"/>
                  </a:lnTo>
                  <a:lnTo>
                    <a:pt x="585" y="456"/>
                  </a:lnTo>
                  <a:lnTo>
                    <a:pt x="584" y="457"/>
                  </a:lnTo>
                  <a:lnTo>
                    <a:pt x="583" y="455"/>
                  </a:lnTo>
                  <a:lnTo>
                    <a:pt x="582" y="454"/>
                  </a:lnTo>
                  <a:lnTo>
                    <a:pt x="582" y="454"/>
                  </a:lnTo>
                  <a:lnTo>
                    <a:pt x="580" y="455"/>
                  </a:lnTo>
                  <a:lnTo>
                    <a:pt x="580" y="456"/>
                  </a:lnTo>
                  <a:lnTo>
                    <a:pt x="580" y="455"/>
                  </a:lnTo>
                  <a:lnTo>
                    <a:pt x="579" y="453"/>
                  </a:lnTo>
                  <a:lnTo>
                    <a:pt x="580" y="456"/>
                  </a:lnTo>
                  <a:lnTo>
                    <a:pt x="579" y="459"/>
                  </a:lnTo>
                  <a:lnTo>
                    <a:pt x="578" y="456"/>
                  </a:lnTo>
                  <a:lnTo>
                    <a:pt x="577" y="453"/>
                  </a:lnTo>
                  <a:lnTo>
                    <a:pt x="576" y="444"/>
                  </a:lnTo>
                  <a:lnTo>
                    <a:pt x="574" y="440"/>
                  </a:lnTo>
                  <a:lnTo>
                    <a:pt x="572" y="438"/>
                  </a:lnTo>
                  <a:lnTo>
                    <a:pt x="569" y="435"/>
                  </a:lnTo>
                  <a:lnTo>
                    <a:pt x="567" y="432"/>
                  </a:lnTo>
                  <a:lnTo>
                    <a:pt x="569" y="435"/>
                  </a:lnTo>
                  <a:lnTo>
                    <a:pt x="572" y="438"/>
                  </a:lnTo>
                  <a:lnTo>
                    <a:pt x="574" y="440"/>
                  </a:lnTo>
                  <a:lnTo>
                    <a:pt x="574" y="441"/>
                  </a:lnTo>
                  <a:lnTo>
                    <a:pt x="573" y="444"/>
                  </a:lnTo>
                  <a:lnTo>
                    <a:pt x="569" y="450"/>
                  </a:lnTo>
                  <a:lnTo>
                    <a:pt x="566" y="454"/>
                  </a:lnTo>
                  <a:lnTo>
                    <a:pt x="561" y="456"/>
                  </a:lnTo>
                  <a:lnTo>
                    <a:pt x="553" y="459"/>
                  </a:lnTo>
                  <a:lnTo>
                    <a:pt x="546" y="462"/>
                  </a:lnTo>
                  <a:lnTo>
                    <a:pt x="542" y="465"/>
                  </a:lnTo>
                  <a:lnTo>
                    <a:pt x="541" y="469"/>
                  </a:lnTo>
                  <a:lnTo>
                    <a:pt x="541" y="473"/>
                  </a:lnTo>
                  <a:lnTo>
                    <a:pt x="542" y="480"/>
                  </a:lnTo>
                  <a:lnTo>
                    <a:pt x="545" y="485"/>
                  </a:lnTo>
                  <a:lnTo>
                    <a:pt x="547" y="488"/>
                  </a:lnTo>
                  <a:lnTo>
                    <a:pt x="544" y="491"/>
                  </a:lnTo>
                  <a:lnTo>
                    <a:pt x="541" y="494"/>
                  </a:lnTo>
                  <a:lnTo>
                    <a:pt x="541" y="497"/>
                  </a:lnTo>
                  <a:lnTo>
                    <a:pt x="541" y="498"/>
                  </a:lnTo>
                  <a:lnTo>
                    <a:pt x="541" y="499"/>
                  </a:lnTo>
                  <a:lnTo>
                    <a:pt x="539" y="502"/>
                  </a:lnTo>
                  <a:lnTo>
                    <a:pt x="536" y="505"/>
                  </a:lnTo>
                  <a:lnTo>
                    <a:pt x="533" y="508"/>
                  </a:lnTo>
                  <a:lnTo>
                    <a:pt x="530" y="509"/>
                  </a:lnTo>
                  <a:lnTo>
                    <a:pt x="528" y="508"/>
                  </a:lnTo>
                  <a:lnTo>
                    <a:pt x="525" y="505"/>
                  </a:lnTo>
                  <a:lnTo>
                    <a:pt x="529" y="509"/>
                  </a:lnTo>
                  <a:lnTo>
                    <a:pt x="533" y="512"/>
                  </a:lnTo>
                  <a:lnTo>
                    <a:pt x="520" y="518"/>
                  </a:lnTo>
                  <a:lnTo>
                    <a:pt x="507" y="520"/>
                  </a:lnTo>
                  <a:lnTo>
                    <a:pt x="509" y="519"/>
                  </a:lnTo>
                  <a:lnTo>
                    <a:pt x="509" y="516"/>
                  </a:lnTo>
                  <a:lnTo>
                    <a:pt x="509" y="514"/>
                  </a:lnTo>
                  <a:lnTo>
                    <a:pt x="507" y="514"/>
                  </a:lnTo>
                  <a:lnTo>
                    <a:pt x="503" y="516"/>
                  </a:lnTo>
                  <a:lnTo>
                    <a:pt x="501" y="519"/>
                  </a:lnTo>
                  <a:lnTo>
                    <a:pt x="499" y="523"/>
                  </a:lnTo>
                  <a:lnTo>
                    <a:pt x="499" y="526"/>
                  </a:lnTo>
                  <a:lnTo>
                    <a:pt x="501" y="525"/>
                  </a:lnTo>
                  <a:lnTo>
                    <a:pt x="502" y="523"/>
                  </a:lnTo>
                  <a:lnTo>
                    <a:pt x="504" y="521"/>
                  </a:lnTo>
                  <a:lnTo>
                    <a:pt x="505" y="523"/>
                  </a:lnTo>
                  <a:lnTo>
                    <a:pt x="503" y="524"/>
                  </a:lnTo>
                  <a:lnTo>
                    <a:pt x="501" y="526"/>
                  </a:lnTo>
                  <a:lnTo>
                    <a:pt x="498" y="530"/>
                  </a:lnTo>
                  <a:lnTo>
                    <a:pt x="496" y="532"/>
                  </a:lnTo>
                  <a:lnTo>
                    <a:pt x="488" y="542"/>
                  </a:lnTo>
                  <a:lnTo>
                    <a:pt x="482" y="553"/>
                  </a:lnTo>
                  <a:lnTo>
                    <a:pt x="476" y="563"/>
                  </a:lnTo>
                  <a:lnTo>
                    <a:pt x="471" y="568"/>
                  </a:lnTo>
                  <a:lnTo>
                    <a:pt x="465" y="572"/>
                  </a:lnTo>
                  <a:lnTo>
                    <a:pt x="461" y="574"/>
                  </a:lnTo>
                  <a:lnTo>
                    <a:pt x="459" y="579"/>
                  </a:lnTo>
                  <a:lnTo>
                    <a:pt x="455" y="583"/>
                  </a:lnTo>
                  <a:lnTo>
                    <a:pt x="451" y="587"/>
                  </a:lnTo>
                  <a:lnTo>
                    <a:pt x="451" y="588"/>
                  </a:lnTo>
                  <a:lnTo>
                    <a:pt x="450" y="589"/>
                  </a:lnTo>
                  <a:lnTo>
                    <a:pt x="448" y="591"/>
                  </a:lnTo>
                  <a:lnTo>
                    <a:pt x="444" y="594"/>
                  </a:lnTo>
                  <a:lnTo>
                    <a:pt x="437" y="599"/>
                  </a:lnTo>
                  <a:lnTo>
                    <a:pt x="433" y="600"/>
                  </a:lnTo>
                  <a:lnTo>
                    <a:pt x="432" y="601"/>
                  </a:lnTo>
                  <a:lnTo>
                    <a:pt x="428" y="605"/>
                  </a:lnTo>
                  <a:lnTo>
                    <a:pt x="426" y="609"/>
                  </a:lnTo>
                  <a:lnTo>
                    <a:pt x="426" y="612"/>
                  </a:lnTo>
                  <a:lnTo>
                    <a:pt x="427" y="615"/>
                  </a:lnTo>
                  <a:lnTo>
                    <a:pt x="428" y="617"/>
                  </a:lnTo>
                  <a:lnTo>
                    <a:pt x="428" y="621"/>
                  </a:lnTo>
                  <a:lnTo>
                    <a:pt x="423" y="626"/>
                  </a:lnTo>
                  <a:lnTo>
                    <a:pt x="417" y="630"/>
                  </a:lnTo>
                  <a:lnTo>
                    <a:pt x="410" y="631"/>
                  </a:lnTo>
                  <a:lnTo>
                    <a:pt x="402" y="631"/>
                  </a:lnTo>
                  <a:lnTo>
                    <a:pt x="398" y="632"/>
                  </a:lnTo>
                  <a:lnTo>
                    <a:pt x="397" y="637"/>
                  </a:lnTo>
                  <a:lnTo>
                    <a:pt x="395" y="643"/>
                  </a:lnTo>
                  <a:lnTo>
                    <a:pt x="394" y="647"/>
                  </a:lnTo>
                  <a:lnTo>
                    <a:pt x="392" y="649"/>
                  </a:lnTo>
                  <a:lnTo>
                    <a:pt x="390" y="647"/>
                  </a:lnTo>
                  <a:lnTo>
                    <a:pt x="389" y="642"/>
                  </a:lnTo>
                  <a:lnTo>
                    <a:pt x="389" y="647"/>
                  </a:lnTo>
                  <a:lnTo>
                    <a:pt x="387" y="652"/>
                  </a:lnTo>
                  <a:lnTo>
                    <a:pt x="387" y="648"/>
                  </a:lnTo>
                  <a:lnTo>
                    <a:pt x="386" y="647"/>
                  </a:lnTo>
                  <a:lnTo>
                    <a:pt x="381" y="647"/>
                  </a:lnTo>
                  <a:lnTo>
                    <a:pt x="376" y="648"/>
                  </a:lnTo>
                  <a:lnTo>
                    <a:pt x="373" y="652"/>
                  </a:lnTo>
                  <a:lnTo>
                    <a:pt x="370" y="657"/>
                  </a:lnTo>
                  <a:lnTo>
                    <a:pt x="368" y="664"/>
                  </a:lnTo>
                  <a:lnTo>
                    <a:pt x="366" y="670"/>
                  </a:lnTo>
                  <a:lnTo>
                    <a:pt x="368" y="675"/>
                  </a:lnTo>
                  <a:lnTo>
                    <a:pt x="370" y="685"/>
                  </a:lnTo>
                  <a:lnTo>
                    <a:pt x="373" y="695"/>
                  </a:lnTo>
                  <a:lnTo>
                    <a:pt x="374" y="709"/>
                  </a:lnTo>
                  <a:lnTo>
                    <a:pt x="378" y="724"/>
                  </a:lnTo>
                  <a:lnTo>
                    <a:pt x="376" y="722"/>
                  </a:lnTo>
                  <a:lnTo>
                    <a:pt x="375" y="719"/>
                  </a:lnTo>
                  <a:lnTo>
                    <a:pt x="374" y="718"/>
                  </a:lnTo>
                  <a:lnTo>
                    <a:pt x="373" y="719"/>
                  </a:lnTo>
                  <a:lnTo>
                    <a:pt x="373" y="721"/>
                  </a:lnTo>
                  <a:lnTo>
                    <a:pt x="371" y="719"/>
                  </a:lnTo>
                  <a:lnTo>
                    <a:pt x="371" y="719"/>
                  </a:lnTo>
                  <a:lnTo>
                    <a:pt x="371" y="722"/>
                  </a:lnTo>
                  <a:lnTo>
                    <a:pt x="373" y="723"/>
                  </a:lnTo>
                  <a:lnTo>
                    <a:pt x="376" y="725"/>
                  </a:lnTo>
                  <a:lnTo>
                    <a:pt x="379" y="728"/>
                  </a:lnTo>
                  <a:lnTo>
                    <a:pt x="380" y="733"/>
                  </a:lnTo>
                  <a:lnTo>
                    <a:pt x="380" y="739"/>
                  </a:lnTo>
                  <a:lnTo>
                    <a:pt x="379" y="745"/>
                  </a:lnTo>
                  <a:lnTo>
                    <a:pt x="379" y="750"/>
                  </a:lnTo>
                  <a:lnTo>
                    <a:pt x="376" y="756"/>
                  </a:lnTo>
                  <a:lnTo>
                    <a:pt x="374" y="762"/>
                  </a:lnTo>
                  <a:lnTo>
                    <a:pt x="369" y="775"/>
                  </a:lnTo>
                  <a:lnTo>
                    <a:pt x="368" y="781"/>
                  </a:lnTo>
                  <a:lnTo>
                    <a:pt x="368" y="787"/>
                  </a:lnTo>
                  <a:lnTo>
                    <a:pt x="368" y="792"/>
                  </a:lnTo>
                  <a:lnTo>
                    <a:pt x="365" y="797"/>
                  </a:lnTo>
                  <a:lnTo>
                    <a:pt x="368" y="796"/>
                  </a:lnTo>
                  <a:lnTo>
                    <a:pt x="370" y="802"/>
                  </a:lnTo>
                  <a:lnTo>
                    <a:pt x="370" y="808"/>
                  </a:lnTo>
                  <a:lnTo>
                    <a:pt x="371" y="819"/>
                  </a:lnTo>
                  <a:lnTo>
                    <a:pt x="371" y="830"/>
                  </a:lnTo>
                  <a:lnTo>
                    <a:pt x="366" y="829"/>
                  </a:lnTo>
                  <a:lnTo>
                    <a:pt x="369" y="830"/>
                  </a:lnTo>
                  <a:lnTo>
                    <a:pt x="369" y="830"/>
                  </a:lnTo>
                  <a:lnTo>
                    <a:pt x="369" y="831"/>
                  </a:lnTo>
                  <a:lnTo>
                    <a:pt x="366" y="830"/>
                  </a:lnTo>
                  <a:lnTo>
                    <a:pt x="365" y="830"/>
                  </a:lnTo>
                  <a:lnTo>
                    <a:pt x="360" y="829"/>
                  </a:lnTo>
                  <a:lnTo>
                    <a:pt x="358" y="830"/>
                  </a:lnTo>
                  <a:lnTo>
                    <a:pt x="357" y="831"/>
                  </a:lnTo>
                  <a:lnTo>
                    <a:pt x="355" y="835"/>
                  </a:lnTo>
                  <a:lnTo>
                    <a:pt x="355" y="837"/>
                  </a:lnTo>
                  <a:lnTo>
                    <a:pt x="355" y="840"/>
                  </a:lnTo>
                  <a:lnTo>
                    <a:pt x="354" y="841"/>
                  </a:lnTo>
                  <a:lnTo>
                    <a:pt x="351" y="846"/>
                  </a:lnTo>
                  <a:lnTo>
                    <a:pt x="349" y="850"/>
                  </a:lnTo>
                  <a:lnTo>
                    <a:pt x="347" y="855"/>
                  </a:lnTo>
                  <a:lnTo>
                    <a:pt x="347" y="859"/>
                  </a:lnTo>
                  <a:lnTo>
                    <a:pt x="351" y="863"/>
                  </a:lnTo>
                  <a:lnTo>
                    <a:pt x="354" y="863"/>
                  </a:lnTo>
                  <a:lnTo>
                    <a:pt x="357" y="863"/>
                  </a:lnTo>
                  <a:lnTo>
                    <a:pt x="358" y="863"/>
                  </a:lnTo>
                  <a:lnTo>
                    <a:pt x="360" y="864"/>
                  </a:lnTo>
                  <a:lnTo>
                    <a:pt x="362" y="867"/>
                  </a:lnTo>
                  <a:lnTo>
                    <a:pt x="362" y="868"/>
                  </a:lnTo>
                  <a:lnTo>
                    <a:pt x="355" y="864"/>
                  </a:lnTo>
                  <a:lnTo>
                    <a:pt x="348" y="864"/>
                  </a:lnTo>
                  <a:lnTo>
                    <a:pt x="341" y="867"/>
                  </a:lnTo>
                  <a:lnTo>
                    <a:pt x="333" y="869"/>
                  </a:lnTo>
                  <a:lnTo>
                    <a:pt x="331" y="872"/>
                  </a:lnTo>
                  <a:lnTo>
                    <a:pt x="328" y="874"/>
                  </a:lnTo>
                  <a:lnTo>
                    <a:pt x="326" y="879"/>
                  </a:lnTo>
                  <a:lnTo>
                    <a:pt x="326" y="887"/>
                  </a:lnTo>
                  <a:lnTo>
                    <a:pt x="323" y="893"/>
                  </a:lnTo>
                  <a:lnTo>
                    <a:pt x="317" y="898"/>
                  </a:lnTo>
                  <a:lnTo>
                    <a:pt x="311" y="901"/>
                  </a:lnTo>
                  <a:lnTo>
                    <a:pt x="306" y="902"/>
                  </a:lnTo>
                  <a:lnTo>
                    <a:pt x="303" y="901"/>
                  </a:lnTo>
                  <a:lnTo>
                    <a:pt x="299" y="900"/>
                  </a:lnTo>
                  <a:lnTo>
                    <a:pt x="295" y="896"/>
                  </a:lnTo>
                  <a:lnTo>
                    <a:pt x="294" y="895"/>
                  </a:lnTo>
                  <a:lnTo>
                    <a:pt x="291" y="893"/>
                  </a:lnTo>
                  <a:lnTo>
                    <a:pt x="285" y="885"/>
                  </a:lnTo>
                  <a:lnTo>
                    <a:pt x="283" y="882"/>
                  </a:lnTo>
                  <a:lnTo>
                    <a:pt x="280" y="878"/>
                  </a:lnTo>
                  <a:lnTo>
                    <a:pt x="279" y="875"/>
                  </a:lnTo>
                  <a:lnTo>
                    <a:pt x="280" y="874"/>
                  </a:lnTo>
                  <a:lnTo>
                    <a:pt x="278" y="873"/>
                  </a:lnTo>
                  <a:lnTo>
                    <a:pt x="275" y="871"/>
                  </a:lnTo>
                  <a:lnTo>
                    <a:pt x="273" y="866"/>
                  </a:lnTo>
                  <a:lnTo>
                    <a:pt x="272" y="862"/>
                  </a:lnTo>
                  <a:lnTo>
                    <a:pt x="268" y="852"/>
                  </a:lnTo>
                  <a:lnTo>
                    <a:pt x="268" y="847"/>
                  </a:lnTo>
                  <a:lnTo>
                    <a:pt x="268" y="841"/>
                  </a:lnTo>
                  <a:lnTo>
                    <a:pt x="271" y="846"/>
                  </a:lnTo>
                  <a:lnTo>
                    <a:pt x="271" y="850"/>
                  </a:lnTo>
                  <a:lnTo>
                    <a:pt x="271" y="848"/>
                  </a:lnTo>
                  <a:lnTo>
                    <a:pt x="271" y="848"/>
                  </a:lnTo>
                  <a:lnTo>
                    <a:pt x="272" y="851"/>
                  </a:lnTo>
                  <a:lnTo>
                    <a:pt x="272" y="855"/>
                  </a:lnTo>
                  <a:lnTo>
                    <a:pt x="274" y="857"/>
                  </a:lnTo>
                  <a:lnTo>
                    <a:pt x="273" y="851"/>
                  </a:lnTo>
                  <a:lnTo>
                    <a:pt x="272" y="845"/>
                  </a:lnTo>
                  <a:lnTo>
                    <a:pt x="269" y="841"/>
                  </a:lnTo>
                  <a:lnTo>
                    <a:pt x="268" y="837"/>
                  </a:lnTo>
                  <a:lnTo>
                    <a:pt x="268" y="839"/>
                  </a:lnTo>
                  <a:lnTo>
                    <a:pt x="267" y="840"/>
                  </a:lnTo>
                  <a:lnTo>
                    <a:pt x="267" y="840"/>
                  </a:lnTo>
                  <a:lnTo>
                    <a:pt x="266" y="837"/>
                  </a:lnTo>
                  <a:lnTo>
                    <a:pt x="266" y="836"/>
                  </a:lnTo>
                  <a:lnTo>
                    <a:pt x="264" y="831"/>
                  </a:lnTo>
                  <a:lnTo>
                    <a:pt x="262" y="828"/>
                  </a:lnTo>
                  <a:lnTo>
                    <a:pt x="255" y="807"/>
                  </a:lnTo>
                  <a:lnTo>
                    <a:pt x="253" y="804"/>
                  </a:lnTo>
                  <a:lnTo>
                    <a:pt x="251" y="800"/>
                  </a:lnTo>
                  <a:lnTo>
                    <a:pt x="246" y="791"/>
                  </a:lnTo>
                  <a:lnTo>
                    <a:pt x="241" y="781"/>
                  </a:lnTo>
                  <a:lnTo>
                    <a:pt x="239" y="778"/>
                  </a:lnTo>
                  <a:lnTo>
                    <a:pt x="239" y="776"/>
                  </a:lnTo>
                  <a:lnTo>
                    <a:pt x="231" y="766"/>
                  </a:lnTo>
                  <a:lnTo>
                    <a:pt x="225" y="756"/>
                  </a:lnTo>
                  <a:lnTo>
                    <a:pt x="221" y="745"/>
                  </a:lnTo>
                  <a:lnTo>
                    <a:pt x="218" y="733"/>
                  </a:lnTo>
                  <a:lnTo>
                    <a:pt x="216" y="725"/>
                  </a:lnTo>
                  <a:lnTo>
                    <a:pt x="214" y="718"/>
                  </a:lnTo>
                  <a:lnTo>
                    <a:pt x="209" y="707"/>
                  </a:lnTo>
                  <a:lnTo>
                    <a:pt x="209" y="705"/>
                  </a:lnTo>
                  <a:lnTo>
                    <a:pt x="208" y="702"/>
                  </a:lnTo>
                  <a:lnTo>
                    <a:pt x="208" y="700"/>
                  </a:lnTo>
                  <a:lnTo>
                    <a:pt x="209" y="700"/>
                  </a:lnTo>
                  <a:lnTo>
                    <a:pt x="207" y="698"/>
                  </a:lnTo>
                  <a:lnTo>
                    <a:pt x="205" y="695"/>
                  </a:lnTo>
                  <a:lnTo>
                    <a:pt x="204" y="691"/>
                  </a:lnTo>
                  <a:lnTo>
                    <a:pt x="203" y="687"/>
                  </a:lnTo>
                  <a:lnTo>
                    <a:pt x="200" y="686"/>
                  </a:lnTo>
                  <a:lnTo>
                    <a:pt x="198" y="684"/>
                  </a:lnTo>
                  <a:lnTo>
                    <a:pt x="197" y="681"/>
                  </a:lnTo>
                  <a:lnTo>
                    <a:pt x="198" y="680"/>
                  </a:lnTo>
                  <a:lnTo>
                    <a:pt x="199" y="680"/>
                  </a:lnTo>
                  <a:lnTo>
                    <a:pt x="197" y="680"/>
                  </a:lnTo>
                  <a:lnTo>
                    <a:pt x="194" y="679"/>
                  </a:lnTo>
                  <a:lnTo>
                    <a:pt x="192" y="673"/>
                  </a:lnTo>
                  <a:lnTo>
                    <a:pt x="189" y="666"/>
                  </a:lnTo>
                  <a:lnTo>
                    <a:pt x="187" y="663"/>
                  </a:lnTo>
                  <a:lnTo>
                    <a:pt x="187" y="663"/>
                  </a:lnTo>
                  <a:lnTo>
                    <a:pt x="189" y="662"/>
                  </a:lnTo>
                  <a:lnTo>
                    <a:pt x="187" y="662"/>
                  </a:lnTo>
                  <a:lnTo>
                    <a:pt x="186" y="659"/>
                  </a:lnTo>
                  <a:lnTo>
                    <a:pt x="184" y="655"/>
                  </a:lnTo>
                  <a:lnTo>
                    <a:pt x="183" y="653"/>
                  </a:lnTo>
                  <a:lnTo>
                    <a:pt x="180" y="649"/>
                  </a:lnTo>
                  <a:lnTo>
                    <a:pt x="175" y="639"/>
                  </a:lnTo>
                  <a:lnTo>
                    <a:pt x="170" y="628"/>
                  </a:lnTo>
                  <a:lnTo>
                    <a:pt x="167" y="620"/>
                  </a:lnTo>
                  <a:lnTo>
                    <a:pt x="167" y="612"/>
                  </a:lnTo>
                  <a:lnTo>
                    <a:pt x="165" y="604"/>
                  </a:lnTo>
                  <a:lnTo>
                    <a:pt x="162" y="595"/>
                  </a:lnTo>
                  <a:lnTo>
                    <a:pt x="161" y="588"/>
                  </a:lnTo>
                  <a:lnTo>
                    <a:pt x="157" y="580"/>
                  </a:lnTo>
                  <a:lnTo>
                    <a:pt x="156" y="577"/>
                  </a:lnTo>
                  <a:lnTo>
                    <a:pt x="154" y="572"/>
                  </a:lnTo>
                  <a:lnTo>
                    <a:pt x="154" y="569"/>
                  </a:lnTo>
                  <a:lnTo>
                    <a:pt x="155" y="568"/>
                  </a:lnTo>
                  <a:lnTo>
                    <a:pt x="156" y="568"/>
                  </a:lnTo>
                  <a:lnTo>
                    <a:pt x="154" y="566"/>
                  </a:lnTo>
                  <a:lnTo>
                    <a:pt x="153" y="563"/>
                  </a:lnTo>
                  <a:lnTo>
                    <a:pt x="151" y="561"/>
                  </a:lnTo>
                  <a:lnTo>
                    <a:pt x="153" y="561"/>
                  </a:lnTo>
                  <a:lnTo>
                    <a:pt x="154" y="561"/>
                  </a:lnTo>
                  <a:lnTo>
                    <a:pt x="153" y="558"/>
                  </a:lnTo>
                  <a:lnTo>
                    <a:pt x="151" y="556"/>
                  </a:lnTo>
                  <a:lnTo>
                    <a:pt x="150" y="552"/>
                  </a:lnTo>
                  <a:lnTo>
                    <a:pt x="150" y="550"/>
                  </a:lnTo>
                  <a:lnTo>
                    <a:pt x="153" y="552"/>
                  </a:lnTo>
                  <a:lnTo>
                    <a:pt x="153" y="548"/>
                  </a:lnTo>
                  <a:lnTo>
                    <a:pt x="150" y="546"/>
                  </a:lnTo>
                  <a:lnTo>
                    <a:pt x="153" y="545"/>
                  </a:lnTo>
                  <a:lnTo>
                    <a:pt x="153" y="542"/>
                  </a:lnTo>
                  <a:lnTo>
                    <a:pt x="151" y="537"/>
                  </a:lnTo>
                  <a:lnTo>
                    <a:pt x="149" y="544"/>
                  </a:lnTo>
                  <a:lnTo>
                    <a:pt x="148" y="540"/>
                  </a:lnTo>
                  <a:lnTo>
                    <a:pt x="148" y="535"/>
                  </a:lnTo>
                  <a:lnTo>
                    <a:pt x="149" y="534"/>
                  </a:lnTo>
                  <a:lnTo>
                    <a:pt x="151" y="534"/>
                  </a:lnTo>
                  <a:lnTo>
                    <a:pt x="154" y="536"/>
                  </a:lnTo>
                  <a:lnTo>
                    <a:pt x="151" y="534"/>
                  </a:lnTo>
                  <a:lnTo>
                    <a:pt x="148" y="532"/>
                  </a:lnTo>
                  <a:lnTo>
                    <a:pt x="145" y="530"/>
                  </a:lnTo>
                  <a:lnTo>
                    <a:pt x="145" y="528"/>
                  </a:lnTo>
                  <a:lnTo>
                    <a:pt x="145" y="526"/>
                  </a:lnTo>
                  <a:lnTo>
                    <a:pt x="144" y="524"/>
                  </a:lnTo>
                  <a:lnTo>
                    <a:pt x="143" y="521"/>
                  </a:lnTo>
                  <a:lnTo>
                    <a:pt x="141" y="519"/>
                  </a:lnTo>
                  <a:lnTo>
                    <a:pt x="140" y="513"/>
                  </a:lnTo>
                  <a:lnTo>
                    <a:pt x="140" y="505"/>
                  </a:lnTo>
                  <a:lnTo>
                    <a:pt x="144" y="494"/>
                  </a:lnTo>
                  <a:lnTo>
                    <a:pt x="145" y="489"/>
                  </a:lnTo>
                  <a:lnTo>
                    <a:pt x="144" y="483"/>
                  </a:lnTo>
                  <a:lnTo>
                    <a:pt x="143" y="481"/>
                  </a:lnTo>
                  <a:lnTo>
                    <a:pt x="141" y="477"/>
                  </a:lnTo>
                  <a:lnTo>
                    <a:pt x="140" y="473"/>
                  </a:lnTo>
                  <a:lnTo>
                    <a:pt x="139" y="473"/>
                  </a:lnTo>
                  <a:lnTo>
                    <a:pt x="138" y="475"/>
                  </a:lnTo>
                  <a:lnTo>
                    <a:pt x="138" y="472"/>
                  </a:lnTo>
                  <a:lnTo>
                    <a:pt x="138" y="472"/>
                  </a:lnTo>
                  <a:lnTo>
                    <a:pt x="135" y="475"/>
                  </a:lnTo>
                  <a:lnTo>
                    <a:pt x="137" y="472"/>
                  </a:lnTo>
                  <a:lnTo>
                    <a:pt x="135" y="470"/>
                  </a:lnTo>
                  <a:lnTo>
                    <a:pt x="134" y="469"/>
                  </a:lnTo>
                  <a:lnTo>
                    <a:pt x="134" y="466"/>
                  </a:lnTo>
                  <a:lnTo>
                    <a:pt x="135" y="460"/>
                  </a:lnTo>
                  <a:lnTo>
                    <a:pt x="138" y="459"/>
                  </a:lnTo>
                  <a:lnTo>
                    <a:pt x="141" y="456"/>
                  </a:lnTo>
                  <a:lnTo>
                    <a:pt x="145" y="454"/>
                  </a:lnTo>
                  <a:lnTo>
                    <a:pt x="148" y="451"/>
                  </a:lnTo>
                  <a:lnTo>
                    <a:pt x="141" y="454"/>
                  </a:lnTo>
                  <a:lnTo>
                    <a:pt x="134" y="454"/>
                  </a:lnTo>
                  <a:lnTo>
                    <a:pt x="132" y="453"/>
                  </a:lnTo>
                  <a:lnTo>
                    <a:pt x="132" y="450"/>
                  </a:lnTo>
                  <a:lnTo>
                    <a:pt x="132" y="448"/>
                  </a:lnTo>
                  <a:lnTo>
                    <a:pt x="135" y="445"/>
                  </a:lnTo>
                  <a:lnTo>
                    <a:pt x="132" y="445"/>
                  </a:lnTo>
                  <a:lnTo>
                    <a:pt x="129" y="445"/>
                  </a:lnTo>
                  <a:lnTo>
                    <a:pt x="128" y="443"/>
                  </a:lnTo>
                  <a:lnTo>
                    <a:pt x="129" y="440"/>
                  </a:lnTo>
                  <a:lnTo>
                    <a:pt x="132" y="438"/>
                  </a:lnTo>
                  <a:lnTo>
                    <a:pt x="134" y="438"/>
                  </a:lnTo>
                  <a:lnTo>
                    <a:pt x="137" y="438"/>
                  </a:lnTo>
                  <a:lnTo>
                    <a:pt x="138" y="437"/>
                  </a:lnTo>
                  <a:lnTo>
                    <a:pt x="134" y="437"/>
                  </a:lnTo>
                  <a:lnTo>
                    <a:pt x="130" y="437"/>
                  </a:lnTo>
                  <a:lnTo>
                    <a:pt x="127" y="434"/>
                  </a:lnTo>
                  <a:lnTo>
                    <a:pt x="124" y="432"/>
                  </a:lnTo>
                  <a:lnTo>
                    <a:pt x="123" y="433"/>
                  </a:lnTo>
                  <a:lnTo>
                    <a:pt x="122" y="434"/>
                  </a:lnTo>
                  <a:lnTo>
                    <a:pt x="121" y="434"/>
                  </a:lnTo>
                  <a:lnTo>
                    <a:pt x="121" y="434"/>
                  </a:lnTo>
                  <a:lnTo>
                    <a:pt x="122" y="437"/>
                  </a:lnTo>
                  <a:lnTo>
                    <a:pt x="123" y="439"/>
                  </a:lnTo>
                  <a:lnTo>
                    <a:pt x="121" y="443"/>
                  </a:lnTo>
                  <a:lnTo>
                    <a:pt x="117" y="445"/>
                  </a:lnTo>
                  <a:lnTo>
                    <a:pt x="119" y="448"/>
                  </a:lnTo>
                  <a:lnTo>
                    <a:pt x="117" y="448"/>
                  </a:lnTo>
                  <a:lnTo>
                    <a:pt x="114" y="450"/>
                  </a:lnTo>
                  <a:lnTo>
                    <a:pt x="119" y="453"/>
                  </a:lnTo>
                  <a:lnTo>
                    <a:pt x="123" y="456"/>
                  </a:lnTo>
                  <a:lnTo>
                    <a:pt x="123" y="460"/>
                  </a:lnTo>
                  <a:lnTo>
                    <a:pt x="121" y="465"/>
                  </a:lnTo>
                  <a:lnTo>
                    <a:pt x="119" y="470"/>
                  </a:lnTo>
                  <a:lnTo>
                    <a:pt x="118" y="471"/>
                  </a:lnTo>
                  <a:lnTo>
                    <a:pt x="117" y="472"/>
                  </a:lnTo>
                  <a:lnTo>
                    <a:pt x="111" y="476"/>
                  </a:lnTo>
                  <a:lnTo>
                    <a:pt x="105" y="480"/>
                  </a:lnTo>
                  <a:lnTo>
                    <a:pt x="100" y="482"/>
                  </a:lnTo>
                  <a:lnTo>
                    <a:pt x="93" y="486"/>
                  </a:lnTo>
                  <a:lnTo>
                    <a:pt x="87" y="487"/>
                  </a:lnTo>
                  <a:lnTo>
                    <a:pt x="81" y="486"/>
                  </a:lnTo>
                  <a:lnTo>
                    <a:pt x="75" y="483"/>
                  </a:lnTo>
                  <a:lnTo>
                    <a:pt x="69" y="478"/>
                  </a:lnTo>
                  <a:lnTo>
                    <a:pt x="63" y="473"/>
                  </a:lnTo>
                  <a:lnTo>
                    <a:pt x="58" y="469"/>
                  </a:lnTo>
                  <a:lnTo>
                    <a:pt x="52" y="461"/>
                  </a:lnTo>
                  <a:lnTo>
                    <a:pt x="46" y="454"/>
                  </a:lnTo>
                  <a:lnTo>
                    <a:pt x="31" y="441"/>
                  </a:lnTo>
                  <a:lnTo>
                    <a:pt x="30" y="439"/>
                  </a:lnTo>
                  <a:lnTo>
                    <a:pt x="27" y="434"/>
                  </a:lnTo>
                  <a:lnTo>
                    <a:pt x="27" y="432"/>
                  </a:lnTo>
                  <a:lnTo>
                    <a:pt x="27" y="430"/>
                  </a:lnTo>
                  <a:lnTo>
                    <a:pt x="30" y="429"/>
                  </a:lnTo>
                  <a:lnTo>
                    <a:pt x="31" y="429"/>
                  </a:lnTo>
                  <a:lnTo>
                    <a:pt x="32" y="432"/>
                  </a:lnTo>
                  <a:lnTo>
                    <a:pt x="33" y="434"/>
                  </a:lnTo>
                  <a:lnTo>
                    <a:pt x="39" y="434"/>
                  </a:lnTo>
                  <a:lnTo>
                    <a:pt x="41" y="433"/>
                  </a:lnTo>
                  <a:lnTo>
                    <a:pt x="42" y="430"/>
                  </a:lnTo>
                  <a:lnTo>
                    <a:pt x="46" y="432"/>
                  </a:lnTo>
                  <a:lnTo>
                    <a:pt x="52" y="429"/>
                  </a:lnTo>
                  <a:lnTo>
                    <a:pt x="58" y="427"/>
                  </a:lnTo>
                  <a:lnTo>
                    <a:pt x="62" y="424"/>
                  </a:lnTo>
                  <a:lnTo>
                    <a:pt x="63" y="419"/>
                  </a:lnTo>
                  <a:lnTo>
                    <a:pt x="65" y="416"/>
                  </a:lnTo>
                  <a:lnTo>
                    <a:pt x="68" y="411"/>
                  </a:lnTo>
                  <a:lnTo>
                    <a:pt x="69" y="410"/>
                  </a:lnTo>
                  <a:lnTo>
                    <a:pt x="68" y="407"/>
                  </a:lnTo>
                  <a:lnTo>
                    <a:pt x="66" y="408"/>
                  </a:lnTo>
                  <a:lnTo>
                    <a:pt x="66" y="411"/>
                  </a:lnTo>
                  <a:lnTo>
                    <a:pt x="65" y="412"/>
                  </a:lnTo>
                  <a:lnTo>
                    <a:pt x="64" y="413"/>
                  </a:lnTo>
                  <a:lnTo>
                    <a:pt x="58" y="413"/>
                  </a:lnTo>
                  <a:lnTo>
                    <a:pt x="52" y="416"/>
                  </a:lnTo>
                  <a:lnTo>
                    <a:pt x="48" y="418"/>
                  </a:lnTo>
                  <a:lnTo>
                    <a:pt x="47" y="419"/>
                  </a:lnTo>
                  <a:lnTo>
                    <a:pt x="44" y="419"/>
                  </a:lnTo>
                  <a:lnTo>
                    <a:pt x="37" y="418"/>
                  </a:lnTo>
                  <a:lnTo>
                    <a:pt x="31" y="414"/>
                  </a:lnTo>
                  <a:lnTo>
                    <a:pt x="25" y="412"/>
                  </a:lnTo>
                  <a:lnTo>
                    <a:pt x="18" y="408"/>
                  </a:lnTo>
                  <a:lnTo>
                    <a:pt x="15" y="403"/>
                  </a:lnTo>
                  <a:lnTo>
                    <a:pt x="14" y="401"/>
                  </a:lnTo>
                  <a:lnTo>
                    <a:pt x="11" y="400"/>
                  </a:lnTo>
                  <a:lnTo>
                    <a:pt x="7" y="397"/>
                  </a:lnTo>
                  <a:lnTo>
                    <a:pt x="6" y="395"/>
                  </a:lnTo>
                  <a:lnTo>
                    <a:pt x="7" y="394"/>
                  </a:lnTo>
                  <a:lnTo>
                    <a:pt x="9" y="391"/>
                  </a:lnTo>
                  <a:lnTo>
                    <a:pt x="12" y="386"/>
                  </a:lnTo>
                  <a:lnTo>
                    <a:pt x="17" y="382"/>
                  </a:lnTo>
                  <a:lnTo>
                    <a:pt x="12" y="385"/>
                  </a:lnTo>
                  <a:lnTo>
                    <a:pt x="9" y="389"/>
                  </a:lnTo>
                  <a:lnTo>
                    <a:pt x="5" y="391"/>
                  </a:lnTo>
                  <a:lnTo>
                    <a:pt x="2" y="392"/>
                  </a:lnTo>
                  <a:lnTo>
                    <a:pt x="0" y="391"/>
                  </a:lnTo>
                  <a:lnTo>
                    <a:pt x="1" y="389"/>
                  </a:lnTo>
                  <a:lnTo>
                    <a:pt x="0" y="386"/>
                  </a:lnTo>
                  <a:lnTo>
                    <a:pt x="0" y="38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7" name="Freeform 1008">
              <a:extLst>
                <a:ext uri="{FF2B5EF4-FFF2-40B4-BE49-F238E27FC236}">
                  <a16:creationId xmlns:a16="http://schemas.microsoft.com/office/drawing/2014/main" id="{048E637E-3BCD-4F69-8A32-FAB0A6C1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8510" y="3238142"/>
              <a:ext cx="2109" cy="4216"/>
            </a:xfrm>
            <a:custGeom>
              <a:avLst/>
              <a:gdLst>
                <a:gd name="T0" fmla="*/ 3 w 3"/>
                <a:gd name="T1" fmla="*/ 2 h 2"/>
                <a:gd name="T2" fmla="*/ 3 w 3"/>
                <a:gd name="T3" fmla="*/ 0 h 2"/>
                <a:gd name="T4" fmla="*/ 0 w 3"/>
                <a:gd name="T5" fmla="*/ 0 h 2"/>
                <a:gd name="T6" fmla="*/ 3 w 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8" name="Freeform 1010">
              <a:extLst>
                <a:ext uri="{FF2B5EF4-FFF2-40B4-BE49-F238E27FC236}">
                  <a16:creationId xmlns:a16="http://schemas.microsoft.com/office/drawing/2014/main" id="{D820BD63-A0A1-4ECC-A658-978297A80A5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62236" y="3244465"/>
              <a:ext cx="4216" cy="0"/>
            </a:xfrm>
            <a:custGeom>
              <a:avLst/>
              <a:gdLst>
                <a:gd name="T0" fmla="*/ 2 w 2"/>
                <a:gd name="T1" fmla="*/ 1 h 1"/>
                <a:gd name="T2" fmla="*/ 0 w 2"/>
                <a:gd name="T3" fmla="*/ 0 h 1"/>
                <a:gd name="T4" fmla="*/ 2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lnTo>
                    <a:pt x="0" y="0"/>
                  </a:lnTo>
                  <a:lnTo>
                    <a:pt x="2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9" name="Freeform 1011">
              <a:extLst>
                <a:ext uri="{FF2B5EF4-FFF2-40B4-BE49-F238E27FC236}">
                  <a16:creationId xmlns:a16="http://schemas.microsoft.com/office/drawing/2014/main" id="{BB978B9E-0D30-4BDE-A2F0-1579565E9FB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5473" y="3503737"/>
              <a:ext cx="23188" cy="10540"/>
            </a:xfrm>
            <a:custGeom>
              <a:avLst/>
              <a:gdLst>
                <a:gd name="T0" fmla="*/ 0 w 23"/>
                <a:gd name="T1" fmla="*/ 0 h 11"/>
                <a:gd name="T2" fmla="*/ 5 w 23"/>
                <a:gd name="T3" fmla="*/ 3 h 11"/>
                <a:gd name="T4" fmla="*/ 11 w 23"/>
                <a:gd name="T5" fmla="*/ 8 h 11"/>
                <a:gd name="T6" fmla="*/ 17 w 23"/>
                <a:gd name="T7" fmla="*/ 11 h 11"/>
                <a:gd name="T8" fmla="*/ 21 w 23"/>
                <a:gd name="T9" fmla="*/ 11 h 11"/>
                <a:gd name="T10" fmla="*/ 23 w 23"/>
                <a:gd name="T11" fmla="*/ 9 h 11"/>
                <a:gd name="T12" fmla="*/ 18 w 23"/>
                <a:gd name="T13" fmla="*/ 6 h 11"/>
                <a:gd name="T14" fmla="*/ 12 w 23"/>
                <a:gd name="T15" fmla="*/ 2 h 11"/>
                <a:gd name="T16" fmla="*/ 5 w 23"/>
                <a:gd name="T17" fmla="*/ 0 h 11"/>
                <a:gd name="T18" fmla="*/ 2 w 23"/>
                <a:gd name="T19" fmla="*/ 0 h 11"/>
                <a:gd name="T20" fmla="*/ 0 w 23"/>
                <a:gd name="T2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" h="11">
                  <a:moveTo>
                    <a:pt x="0" y="0"/>
                  </a:moveTo>
                  <a:lnTo>
                    <a:pt x="5" y="3"/>
                  </a:lnTo>
                  <a:lnTo>
                    <a:pt x="11" y="8"/>
                  </a:lnTo>
                  <a:lnTo>
                    <a:pt x="17" y="11"/>
                  </a:lnTo>
                  <a:lnTo>
                    <a:pt x="21" y="11"/>
                  </a:lnTo>
                  <a:lnTo>
                    <a:pt x="23" y="9"/>
                  </a:lnTo>
                  <a:lnTo>
                    <a:pt x="18" y="6"/>
                  </a:lnTo>
                  <a:lnTo>
                    <a:pt x="12" y="2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0" name="Freeform 1012">
              <a:extLst>
                <a:ext uri="{FF2B5EF4-FFF2-40B4-BE49-F238E27FC236}">
                  <a16:creationId xmlns:a16="http://schemas.microsoft.com/office/drawing/2014/main" id="{28BF5907-5CEB-4FAD-9206-0EF79730C88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1308" y="3630211"/>
              <a:ext cx="4216" cy="4216"/>
            </a:xfrm>
            <a:custGeom>
              <a:avLst/>
              <a:gdLst>
                <a:gd name="T0" fmla="*/ 0 w 4"/>
                <a:gd name="T1" fmla="*/ 3 h 4"/>
                <a:gd name="T2" fmla="*/ 1 w 4"/>
                <a:gd name="T3" fmla="*/ 4 h 4"/>
                <a:gd name="T4" fmla="*/ 4 w 4"/>
                <a:gd name="T5" fmla="*/ 1 h 4"/>
                <a:gd name="T6" fmla="*/ 2 w 4"/>
                <a:gd name="T7" fmla="*/ 0 h 4"/>
                <a:gd name="T8" fmla="*/ 1 w 4"/>
                <a:gd name="T9" fmla="*/ 0 h 4"/>
                <a:gd name="T10" fmla="*/ 0 w 4"/>
                <a:gd name="T1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lnTo>
                    <a:pt x="1" y="4"/>
                  </a:lnTo>
                  <a:lnTo>
                    <a:pt x="4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1" name="Freeform 1013">
              <a:extLst>
                <a:ext uri="{FF2B5EF4-FFF2-40B4-BE49-F238E27FC236}">
                  <a16:creationId xmlns:a16="http://schemas.microsoft.com/office/drawing/2014/main" id="{978D8E66-8948-4E38-843E-D06AF0C40B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7631" y="3560650"/>
              <a:ext cx="10540" cy="6324"/>
            </a:xfrm>
            <a:custGeom>
              <a:avLst/>
              <a:gdLst>
                <a:gd name="T0" fmla="*/ 1 w 10"/>
                <a:gd name="T1" fmla="*/ 4 h 5"/>
                <a:gd name="T2" fmla="*/ 6 w 10"/>
                <a:gd name="T3" fmla="*/ 5 h 5"/>
                <a:gd name="T4" fmla="*/ 9 w 10"/>
                <a:gd name="T5" fmla="*/ 5 h 5"/>
                <a:gd name="T6" fmla="*/ 10 w 10"/>
                <a:gd name="T7" fmla="*/ 4 h 5"/>
                <a:gd name="T8" fmla="*/ 9 w 10"/>
                <a:gd name="T9" fmla="*/ 2 h 5"/>
                <a:gd name="T10" fmla="*/ 6 w 10"/>
                <a:gd name="T11" fmla="*/ 1 h 5"/>
                <a:gd name="T12" fmla="*/ 3 w 10"/>
                <a:gd name="T13" fmla="*/ 0 h 5"/>
                <a:gd name="T14" fmla="*/ 0 w 10"/>
                <a:gd name="T15" fmla="*/ 1 h 5"/>
                <a:gd name="T16" fmla="*/ 1 w 10"/>
                <a:gd name="T17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5">
                  <a:moveTo>
                    <a:pt x="1" y="4"/>
                  </a:moveTo>
                  <a:lnTo>
                    <a:pt x="6" y="5"/>
                  </a:lnTo>
                  <a:lnTo>
                    <a:pt x="9" y="5"/>
                  </a:lnTo>
                  <a:lnTo>
                    <a:pt x="10" y="4"/>
                  </a:lnTo>
                  <a:lnTo>
                    <a:pt x="9" y="2"/>
                  </a:lnTo>
                  <a:lnTo>
                    <a:pt x="6" y="1"/>
                  </a:lnTo>
                  <a:lnTo>
                    <a:pt x="3" y="0"/>
                  </a:lnTo>
                  <a:lnTo>
                    <a:pt x="0" y="1"/>
                  </a:lnTo>
                  <a:lnTo>
                    <a:pt x="1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2" name="Freeform 1014">
              <a:extLst>
                <a:ext uri="{FF2B5EF4-FFF2-40B4-BE49-F238E27FC236}">
                  <a16:creationId xmlns:a16="http://schemas.microsoft.com/office/drawing/2014/main" id="{CB38646E-3B8D-4881-8721-E80B8ECD84DA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9740" y="3554327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2 w 4"/>
                <a:gd name="T3" fmla="*/ 2 h 2"/>
                <a:gd name="T4" fmla="*/ 4 w 4"/>
                <a:gd name="T5" fmla="*/ 2 h 2"/>
                <a:gd name="T6" fmla="*/ 3 w 4"/>
                <a:gd name="T7" fmla="*/ 0 h 2"/>
                <a:gd name="T8" fmla="*/ 0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2" y="2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3" name="Freeform 1015">
              <a:extLst>
                <a:ext uri="{FF2B5EF4-FFF2-40B4-BE49-F238E27FC236}">
                  <a16:creationId xmlns:a16="http://schemas.microsoft.com/office/drawing/2014/main" id="{7B523545-8797-4BDC-87C2-4B63F23B8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3955" y="3575406"/>
              <a:ext cx="2109" cy="2109"/>
            </a:xfrm>
            <a:custGeom>
              <a:avLst/>
              <a:gdLst>
                <a:gd name="T0" fmla="*/ 3 w 3"/>
                <a:gd name="T1" fmla="*/ 3 h 3"/>
                <a:gd name="T2" fmla="*/ 3 w 3"/>
                <a:gd name="T3" fmla="*/ 0 h 3"/>
                <a:gd name="T4" fmla="*/ 0 w 3"/>
                <a:gd name="T5" fmla="*/ 1 h 3"/>
                <a:gd name="T6" fmla="*/ 3 w 3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3" y="3"/>
                  </a:moveTo>
                  <a:lnTo>
                    <a:pt x="3" y="0"/>
                  </a:lnTo>
                  <a:lnTo>
                    <a:pt x="0" y="1"/>
                  </a:lnTo>
                  <a:lnTo>
                    <a:pt x="3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4" name="Freeform 1016">
              <a:extLst>
                <a:ext uri="{FF2B5EF4-FFF2-40B4-BE49-F238E27FC236}">
                  <a16:creationId xmlns:a16="http://schemas.microsoft.com/office/drawing/2014/main" id="{412F6B0B-38BA-47B6-8663-7E263BD243A3}"/>
                </a:ext>
              </a:extLst>
            </p:cNvPr>
            <p:cNvSpPr>
              <a:spLocks/>
            </p:cNvSpPr>
            <p:nvPr/>
          </p:nvSpPr>
          <p:spPr bwMode="auto">
            <a:xfrm>
              <a:off x="9283315" y="3784087"/>
              <a:ext cx="2109" cy="2109"/>
            </a:xfrm>
            <a:custGeom>
              <a:avLst/>
              <a:gdLst>
                <a:gd name="T0" fmla="*/ 0 w 4"/>
                <a:gd name="T1" fmla="*/ 3 h 4"/>
                <a:gd name="T2" fmla="*/ 2 w 4"/>
                <a:gd name="T3" fmla="*/ 4 h 4"/>
                <a:gd name="T4" fmla="*/ 4 w 4"/>
                <a:gd name="T5" fmla="*/ 1 h 4"/>
                <a:gd name="T6" fmla="*/ 4 w 4"/>
                <a:gd name="T7" fmla="*/ 0 h 4"/>
                <a:gd name="T8" fmla="*/ 1 w 4"/>
                <a:gd name="T9" fmla="*/ 0 h 4"/>
                <a:gd name="T10" fmla="*/ 0 w 4"/>
                <a:gd name="T1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lnTo>
                    <a:pt x="2" y="4"/>
                  </a:lnTo>
                  <a:lnTo>
                    <a:pt x="4" y="1"/>
                  </a:lnTo>
                  <a:lnTo>
                    <a:pt x="4" y="0"/>
                  </a:lnTo>
                  <a:lnTo>
                    <a:pt x="1" y="0"/>
                  </a:lnTo>
                  <a:lnTo>
                    <a:pt x="0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5" name="Freeform 1017">
              <a:extLst>
                <a:ext uri="{FF2B5EF4-FFF2-40B4-BE49-F238E27FC236}">
                  <a16:creationId xmlns:a16="http://schemas.microsoft.com/office/drawing/2014/main" id="{FEB2555D-C31E-40E5-8E58-CDE58FB2EE2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0229" y="3718743"/>
              <a:ext cx="4216" cy="6324"/>
            </a:xfrm>
            <a:custGeom>
              <a:avLst/>
              <a:gdLst>
                <a:gd name="T0" fmla="*/ 0 w 4"/>
                <a:gd name="T1" fmla="*/ 5 h 6"/>
                <a:gd name="T2" fmla="*/ 2 w 4"/>
                <a:gd name="T3" fmla="*/ 6 h 6"/>
                <a:gd name="T4" fmla="*/ 3 w 4"/>
                <a:gd name="T5" fmla="*/ 5 h 6"/>
                <a:gd name="T6" fmla="*/ 4 w 4"/>
                <a:gd name="T7" fmla="*/ 2 h 6"/>
                <a:gd name="T8" fmla="*/ 3 w 4"/>
                <a:gd name="T9" fmla="*/ 0 h 6"/>
                <a:gd name="T10" fmla="*/ 0 w 4"/>
                <a:gd name="T11" fmla="*/ 1 h 6"/>
                <a:gd name="T12" fmla="*/ 3 w 4"/>
                <a:gd name="T13" fmla="*/ 3 h 6"/>
                <a:gd name="T14" fmla="*/ 0 w 4"/>
                <a:gd name="T1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6">
                  <a:moveTo>
                    <a:pt x="0" y="5"/>
                  </a:moveTo>
                  <a:lnTo>
                    <a:pt x="2" y="6"/>
                  </a:lnTo>
                  <a:lnTo>
                    <a:pt x="3" y="5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1"/>
                  </a:lnTo>
                  <a:lnTo>
                    <a:pt x="3" y="3"/>
                  </a:lnTo>
                  <a:lnTo>
                    <a:pt x="0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6" name="Freeform 1018">
              <a:extLst>
                <a:ext uri="{FF2B5EF4-FFF2-40B4-BE49-F238E27FC236}">
                  <a16:creationId xmlns:a16="http://schemas.microsoft.com/office/drawing/2014/main" id="{864F3B8E-4ADF-418E-8A30-ED01998B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3366" y="3701879"/>
              <a:ext cx="6324" cy="4216"/>
            </a:xfrm>
            <a:custGeom>
              <a:avLst/>
              <a:gdLst>
                <a:gd name="T0" fmla="*/ 0 w 6"/>
                <a:gd name="T1" fmla="*/ 0 h 2"/>
                <a:gd name="T2" fmla="*/ 6 w 6"/>
                <a:gd name="T3" fmla="*/ 2 h 2"/>
                <a:gd name="T4" fmla="*/ 3 w 6"/>
                <a:gd name="T5" fmla="*/ 2 h 2"/>
                <a:gd name="T6" fmla="*/ 0 w 6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0" y="0"/>
                  </a:moveTo>
                  <a:lnTo>
                    <a:pt x="6" y="2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7" name="Freeform 1019">
              <a:extLst>
                <a:ext uri="{FF2B5EF4-FFF2-40B4-BE49-F238E27FC236}">
                  <a16:creationId xmlns:a16="http://schemas.microsoft.com/office/drawing/2014/main" id="{73659E69-88C1-4DB4-AA32-2D0B846A7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0178" y="3756685"/>
              <a:ext cx="2109" cy="4216"/>
            </a:xfrm>
            <a:custGeom>
              <a:avLst/>
              <a:gdLst>
                <a:gd name="T0" fmla="*/ 0 w 3"/>
                <a:gd name="T1" fmla="*/ 0 h 4"/>
                <a:gd name="T2" fmla="*/ 0 w 3"/>
                <a:gd name="T3" fmla="*/ 3 h 4"/>
                <a:gd name="T4" fmla="*/ 3 w 3"/>
                <a:gd name="T5" fmla="*/ 4 h 4"/>
                <a:gd name="T6" fmla="*/ 3 w 3"/>
                <a:gd name="T7" fmla="*/ 2 h 4"/>
                <a:gd name="T8" fmla="*/ 0 w 3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0"/>
                  </a:moveTo>
                  <a:lnTo>
                    <a:pt x="0" y="3"/>
                  </a:lnTo>
                  <a:lnTo>
                    <a:pt x="3" y="4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8" name="Freeform 1020">
              <a:extLst>
                <a:ext uri="{FF2B5EF4-FFF2-40B4-BE49-F238E27FC236}">
                  <a16:creationId xmlns:a16="http://schemas.microsoft.com/office/drawing/2014/main" id="{9E4DD3CB-5534-405A-98E3-D368D604A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47231" y="3910561"/>
              <a:ext cx="67453" cy="65346"/>
            </a:xfrm>
            <a:custGeom>
              <a:avLst/>
              <a:gdLst>
                <a:gd name="T0" fmla="*/ 0 w 65"/>
                <a:gd name="T1" fmla="*/ 25 h 61"/>
                <a:gd name="T2" fmla="*/ 0 w 65"/>
                <a:gd name="T3" fmla="*/ 28 h 61"/>
                <a:gd name="T4" fmla="*/ 1 w 65"/>
                <a:gd name="T5" fmla="*/ 33 h 61"/>
                <a:gd name="T6" fmla="*/ 1 w 65"/>
                <a:gd name="T7" fmla="*/ 37 h 61"/>
                <a:gd name="T8" fmla="*/ 3 w 65"/>
                <a:gd name="T9" fmla="*/ 39 h 61"/>
                <a:gd name="T10" fmla="*/ 4 w 65"/>
                <a:gd name="T11" fmla="*/ 46 h 61"/>
                <a:gd name="T12" fmla="*/ 6 w 65"/>
                <a:gd name="T13" fmla="*/ 53 h 61"/>
                <a:gd name="T14" fmla="*/ 10 w 65"/>
                <a:gd name="T15" fmla="*/ 55 h 61"/>
                <a:gd name="T16" fmla="*/ 14 w 65"/>
                <a:gd name="T17" fmla="*/ 56 h 61"/>
                <a:gd name="T18" fmla="*/ 21 w 65"/>
                <a:gd name="T19" fmla="*/ 59 h 61"/>
                <a:gd name="T20" fmla="*/ 28 w 65"/>
                <a:gd name="T21" fmla="*/ 61 h 61"/>
                <a:gd name="T22" fmla="*/ 37 w 65"/>
                <a:gd name="T23" fmla="*/ 61 h 61"/>
                <a:gd name="T24" fmla="*/ 37 w 65"/>
                <a:gd name="T25" fmla="*/ 57 h 61"/>
                <a:gd name="T26" fmla="*/ 38 w 65"/>
                <a:gd name="T27" fmla="*/ 56 h 61"/>
                <a:gd name="T28" fmla="*/ 42 w 65"/>
                <a:gd name="T29" fmla="*/ 55 h 61"/>
                <a:gd name="T30" fmla="*/ 44 w 65"/>
                <a:gd name="T31" fmla="*/ 56 h 61"/>
                <a:gd name="T32" fmla="*/ 44 w 65"/>
                <a:gd name="T33" fmla="*/ 54 h 61"/>
                <a:gd name="T34" fmla="*/ 47 w 65"/>
                <a:gd name="T35" fmla="*/ 50 h 61"/>
                <a:gd name="T36" fmla="*/ 51 w 65"/>
                <a:gd name="T37" fmla="*/ 48 h 61"/>
                <a:gd name="T38" fmla="*/ 53 w 65"/>
                <a:gd name="T39" fmla="*/ 45 h 61"/>
                <a:gd name="T40" fmla="*/ 54 w 65"/>
                <a:gd name="T41" fmla="*/ 43 h 61"/>
                <a:gd name="T42" fmla="*/ 56 w 65"/>
                <a:gd name="T43" fmla="*/ 38 h 61"/>
                <a:gd name="T44" fmla="*/ 57 w 65"/>
                <a:gd name="T45" fmla="*/ 33 h 61"/>
                <a:gd name="T46" fmla="*/ 54 w 65"/>
                <a:gd name="T47" fmla="*/ 30 h 61"/>
                <a:gd name="T48" fmla="*/ 57 w 65"/>
                <a:gd name="T49" fmla="*/ 28 h 61"/>
                <a:gd name="T50" fmla="*/ 59 w 65"/>
                <a:gd name="T51" fmla="*/ 24 h 61"/>
                <a:gd name="T52" fmla="*/ 60 w 65"/>
                <a:gd name="T53" fmla="*/ 19 h 61"/>
                <a:gd name="T54" fmla="*/ 60 w 65"/>
                <a:gd name="T55" fmla="*/ 16 h 61"/>
                <a:gd name="T56" fmla="*/ 63 w 65"/>
                <a:gd name="T57" fmla="*/ 17 h 61"/>
                <a:gd name="T58" fmla="*/ 64 w 65"/>
                <a:gd name="T59" fmla="*/ 17 h 61"/>
                <a:gd name="T60" fmla="*/ 65 w 65"/>
                <a:gd name="T61" fmla="*/ 13 h 61"/>
                <a:gd name="T62" fmla="*/ 64 w 65"/>
                <a:gd name="T63" fmla="*/ 8 h 61"/>
                <a:gd name="T64" fmla="*/ 63 w 65"/>
                <a:gd name="T65" fmla="*/ 5 h 61"/>
                <a:gd name="T66" fmla="*/ 60 w 65"/>
                <a:gd name="T67" fmla="*/ 2 h 61"/>
                <a:gd name="T68" fmla="*/ 56 w 65"/>
                <a:gd name="T69" fmla="*/ 0 h 61"/>
                <a:gd name="T70" fmla="*/ 53 w 65"/>
                <a:gd name="T71" fmla="*/ 1 h 61"/>
                <a:gd name="T72" fmla="*/ 52 w 65"/>
                <a:gd name="T73" fmla="*/ 2 h 61"/>
                <a:gd name="T74" fmla="*/ 53 w 65"/>
                <a:gd name="T75" fmla="*/ 6 h 61"/>
                <a:gd name="T76" fmla="*/ 52 w 65"/>
                <a:gd name="T77" fmla="*/ 5 h 61"/>
                <a:gd name="T78" fmla="*/ 48 w 65"/>
                <a:gd name="T79" fmla="*/ 3 h 61"/>
                <a:gd name="T80" fmla="*/ 47 w 65"/>
                <a:gd name="T81" fmla="*/ 3 h 61"/>
                <a:gd name="T82" fmla="*/ 48 w 65"/>
                <a:gd name="T83" fmla="*/ 6 h 61"/>
                <a:gd name="T84" fmla="*/ 46 w 65"/>
                <a:gd name="T85" fmla="*/ 2 h 61"/>
                <a:gd name="T86" fmla="*/ 42 w 65"/>
                <a:gd name="T87" fmla="*/ 2 h 61"/>
                <a:gd name="T88" fmla="*/ 38 w 65"/>
                <a:gd name="T89" fmla="*/ 3 h 61"/>
                <a:gd name="T90" fmla="*/ 36 w 65"/>
                <a:gd name="T91" fmla="*/ 6 h 61"/>
                <a:gd name="T92" fmla="*/ 33 w 65"/>
                <a:gd name="T93" fmla="*/ 3 h 61"/>
                <a:gd name="T94" fmla="*/ 30 w 65"/>
                <a:gd name="T95" fmla="*/ 3 h 61"/>
                <a:gd name="T96" fmla="*/ 25 w 65"/>
                <a:gd name="T97" fmla="*/ 3 h 61"/>
                <a:gd name="T98" fmla="*/ 22 w 65"/>
                <a:gd name="T99" fmla="*/ 5 h 61"/>
                <a:gd name="T100" fmla="*/ 24 w 65"/>
                <a:gd name="T101" fmla="*/ 8 h 61"/>
                <a:gd name="T102" fmla="*/ 22 w 65"/>
                <a:gd name="T103" fmla="*/ 8 h 61"/>
                <a:gd name="T104" fmla="*/ 20 w 65"/>
                <a:gd name="T105" fmla="*/ 7 h 61"/>
                <a:gd name="T106" fmla="*/ 17 w 65"/>
                <a:gd name="T107" fmla="*/ 6 h 61"/>
                <a:gd name="T108" fmla="*/ 16 w 65"/>
                <a:gd name="T109" fmla="*/ 6 h 61"/>
                <a:gd name="T110" fmla="*/ 14 w 65"/>
                <a:gd name="T111" fmla="*/ 7 h 61"/>
                <a:gd name="T112" fmla="*/ 14 w 65"/>
                <a:gd name="T113" fmla="*/ 9 h 61"/>
                <a:gd name="T114" fmla="*/ 15 w 65"/>
                <a:gd name="T115" fmla="*/ 12 h 61"/>
                <a:gd name="T116" fmla="*/ 17 w 65"/>
                <a:gd name="T117" fmla="*/ 13 h 61"/>
                <a:gd name="T118" fmla="*/ 13 w 65"/>
                <a:gd name="T119" fmla="*/ 14 h 61"/>
                <a:gd name="T120" fmla="*/ 8 w 65"/>
                <a:gd name="T121" fmla="*/ 18 h 61"/>
                <a:gd name="T122" fmla="*/ 0 w 65"/>
                <a:gd name="T123" fmla="*/ 25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5" h="61">
                  <a:moveTo>
                    <a:pt x="0" y="25"/>
                  </a:moveTo>
                  <a:lnTo>
                    <a:pt x="0" y="28"/>
                  </a:lnTo>
                  <a:lnTo>
                    <a:pt x="1" y="33"/>
                  </a:lnTo>
                  <a:lnTo>
                    <a:pt x="1" y="37"/>
                  </a:lnTo>
                  <a:lnTo>
                    <a:pt x="3" y="39"/>
                  </a:lnTo>
                  <a:lnTo>
                    <a:pt x="4" y="46"/>
                  </a:lnTo>
                  <a:lnTo>
                    <a:pt x="6" y="53"/>
                  </a:lnTo>
                  <a:lnTo>
                    <a:pt x="10" y="55"/>
                  </a:lnTo>
                  <a:lnTo>
                    <a:pt x="14" y="56"/>
                  </a:lnTo>
                  <a:lnTo>
                    <a:pt x="21" y="59"/>
                  </a:lnTo>
                  <a:lnTo>
                    <a:pt x="28" y="61"/>
                  </a:lnTo>
                  <a:lnTo>
                    <a:pt x="37" y="61"/>
                  </a:lnTo>
                  <a:lnTo>
                    <a:pt x="37" y="57"/>
                  </a:lnTo>
                  <a:lnTo>
                    <a:pt x="38" y="56"/>
                  </a:lnTo>
                  <a:lnTo>
                    <a:pt x="42" y="55"/>
                  </a:lnTo>
                  <a:lnTo>
                    <a:pt x="44" y="56"/>
                  </a:lnTo>
                  <a:lnTo>
                    <a:pt x="44" y="54"/>
                  </a:lnTo>
                  <a:lnTo>
                    <a:pt x="47" y="50"/>
                  </a:lnTo>
                  <a:lnTo>
                    <a:pt x="51" y="48"/>
                  </a:lnTo>
                  <a:lnTo>
                    <a:pt x="53" y="45"/>
                  </a:lnTo>
                  <a:lnTo>
                    <a:pt x="54" y="43"/>
                  </a:lnTo>
                  <a:lnTo>
                    <a:pt x="56" y="38"/>
                  </a:lnTo>
                  <a:lnTo>
                    <a:pt x="57" y="33"/>
                  </a:lnTo>
                  <a:lnTo>
                    <a:pt x="54" y="30"/>
                  </a:lnTo>
                  <a:lnTo>
                    <a:pt x="57" y="28"/>
                  </a:lnTo>
                  <a:lnTo>
                    <a:pt x="59" y="24"/>
                  </a:lnTo>
                  <a:lnTo>
                    <a:pt x="60" y="19"/>
                  </a:lnTo>
                  <a:lnTo>
                    <a:pt x="60" y="16"/>
                  </a:lnTo>
                  <a:lnTo>
                    <a:pt x="63" y="17"/>
                  </a:lnTo>
                  <a:lnTo>
                    <a:pt x="64" y="17"/>
                  </a:lnTo>
                  <a:lnTo>
                    <a:pt x="65" y="13"/>
                  </a:lnTo>
                  <a:lnTo>
                    <a:pt x="64" y="8"/>
                  </a:lnTo>
                  <a:lnTo>
                    <a:pt x="63" y="5"/>
                  </a:lnTo>
                  <a:lnTo>
                    <a:pt x="60" y="2"/>
                  </a:lnTo>
                  <a:lnTo>
                    <a:pt x="56" y="0"/>
                  </a:lnTo>
                  <a:lnTo>
                    <a:pt x="53" y="1"/>
                  </a:lnTo>
                  <a:lnTo>
                    <a:pt x="52" y="2"/>
                  </a:lnTo>
                  <a:lnTo>
                    <a:pt x="53" y="6"/>
                  </a:lnTo>
                  <a:lnTo>
                    <a:pt x="52" y="5"/>
                  </a:lnTo>
                  <a:lnTo>
                    <a:pt x="48" y="3"/>
                  </a:lnTo>
                  <a:lnTo>
                    <a:pt x="47" y="3"/>
                  </a:lnTo>
                  <a:lnTo>
                    <a:pt x="48" y="6"/>
                  </a:lnTo>
                  <a:lnTo>
                    <a:pt x="46" y="2"/>
                  </a:lnTo>
                  <a:lnTo>
                    <a:pt x="42" y="2"/>
                  </a:lnTo>
                  <a:lnTo>
                    <a:pt x="38" y="3"/>
                  </a:lnTo>
                  <a:lnTo>
                    <a:pt x="36" y="6"/>
                  </a:lnTo>
                  <a:lnTo>
                    <a:pt x="33" y="3"/>
                  </a:lnTo>
                  <a:lnTo>
                    <a:pt x="30" y="3"/>
                  </a:lnTo>
                  <a:lnTo>
                    <a:pt x="25" y="3"/>
                  </a:lnTo>
                  <a:lnTo>
                    <a:pt x="22" y="5"/>
                  </a:lnTo>
                  <a:lnTo>
                    <a:pt x="24" y="8"/>
                  </a:lnTo>
                  <a:lnTo>
                    <a:pt x="22" y="8"/>
                  </a:lnTo>
                  <a:lnTo>
                    <a:pt x="20" y="7"/>
                  </a:lnTo>
                  <a:lnTo>
                    <a:pt x="17" y="6"/>
                  </a:lnTo>
                  <a:lnTo>
                    <a:pt x="16" y="6"/>
                  </a:lnTo>
                  <a:lnTo>
                    <a:pt x="14" y="7"/>
                  </a:lnTo>
                  <a:lnTo>
                    <a:pt x="14" y="9"/>
                  </a:lnTo>
                  <a:lnTo>
                    <a:pt x="15" y="12"/>
                  </a:lnTo>
                  <a:lnTo>
                    <a:pt x="17" y="13"/>
                  </a:lnTo>
                  <a:lnTo>
                    <a:pt x="13" y="14"/>
                  </a:lnTo>
                  <a:lnTo>
                    <a:pt x="8" y="18"/>
                  </a:lnTo>
                  <a:lnTo>
                    <a:pt x="0" y="2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9" name="Freeform 1021">
              <a:extLst>
                <a:ext uri="{FF2B5EF4-FFF2-40B4-BE49-F238E27FC236}">
                  <a16:creationId xmlns:a16="http://schemas.microsoft.com/office/drawing/2014/main" id="{C06BD2CB-7D26-4A5B-817E-3A4CE8357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85173" y="3876834"/>
              <a:ext cx="8432" cy="4216"/>
            </a:xfrm>
            <a:custGeom>
              <a:avLst/>
              <a:gdLst>
                <a:gd name="T0" fmla="*/ 0 w 9"/>
                <a:gd name="T1" fmla="*/ 3 h 5"/>
                <a:gd name="T2" fmla="*/ 5 w 9"/>
                <a:gd name="T3" fmla="*/ 2 h 5"/>
                <a:gd name="T4" fmla="*/ 6 w 9"/>
                <a:gd name="T5" fmla="*/ 3 h 5"/>
                <a:gd name="T6" fmla="*/ 9 w 9"/>
                <a:gd name="T7" fmla="*/ 5 h 5"/>
                <a:gd name="T8" fmla="*/ 9 w 9"/>
                <a:gd name="T9" fmla="*/ 1 h 5"/>
                <a:gd name="T10" fmla="*/ 6 w 9"/>
                <a:gd name="T11" fmla="*/ 0 h 5"/>
                <a:gd name="T12" fmla="*/ 3 w 9"/>
                <a:gd name="T13" fmla="*/ 1 h 5"/>
                <a:gd name="T14" fmla="*/ 0 w 9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5">
                  <a:moveTo>
                    <a:pt x="0" y="3"/>
                  </a:moveTo>
                  <a:lnTo>
                    <a:pt x="5" y="2"/>
                  </a:lnTo>
                  <a:lnTo>
                    <a:pt x="6" y="3"/>
                  </a:lnTo>
                  <a:lnTo>
                    <a:pt x="9" y="5"/>
                  </a:lnTo>
                  <a:lnTo>
                    <a:pt x="9" y="1"/>
                  </a:lnTo>
                  <a:lnTo>
                    <a:pt x="6" y="0"/>
                  </a:lnTo>
                  <a:lnTo>
                    <a:pt x="3" y="1"/>
                  </a:lnTo>
                  <a:lnTo>
                    <a:pt x="0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0" name="Freeform 1022">
              <a:extLst>
                <a:ext uri="{FF2B5EF4-FFF2-40B4-BE49-F238E27FC236}">
                  <a16:creationId xmlns:a16="http://schemas.microsoft.com/office/drawing/2014/main" id="{BF4D6257-61EF-4BCA-B3AF-C08638EF4F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1497" y="3872619"/>
              <a:ext cx="2109" cy="2109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1 h 2"/>
                <a:gd name="T4" fmla="*/ 3 w 3"/>
                <a:gd name="T5" fmla="*/ 2 h 2"/>
                <a:gd name="T6" fmla="*/ 1 w 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lnTo>
                    <a:pt x="0" y="1"/>
                  </a:lnTo>
                  <a:lnTo>
                    <a:pt x="3" y="2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1" name="Freeform 1023">
              <a:extLst>
                <a:ext uri="{FF2B5EF4-FFF2-40B4-BE49-F238E27FC236}">
                  <a16:creationId xmlns:a16="http://schemas.microsoft.com/office/drawing/2014/main" id="{244F5FD5-6CF6-4C1E-A322-9A04EFEACE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9439" y="3855755"/>
              <a:ext cx="2109" cy="4216"/>
            </a:xfrm>
            <a:custGeom>
              <a:avLst/>
              <a:gdLst>
                <a:gd name="T0" fmla="*/ 0 w 2"/>
                <a:gd name="T1" fmla="*/ 4 h 4"/>
                <a:gd name="T2" fmla="*/ 2 w 2"/>
                <a:gd name="T3" fmla="*/ 2 h 4"/>
                <a:gd name="T4" fmla="*/ 2 w 2"/>
                <a:gd name="T5" fmla="*/ 0 h 4"/>
                <a:gd name="T6" fmla="*/ 1 w 2"/>
                <a:gd name="T7" fmla="*/ 1 h 4"/>
                <a:gd name="T8" fmla="*/ 0 w 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1" y="1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2" name="Freeform 1024">
              <a:extLst>
                <a:ext uri="{FF2B5EF4-FFF2-40B4-BE49-F238E27FC236}">
                  <a16:creationId xmlns:a16="http://schemas.microsoft.com/office/drawing/2014/main" id="{862F2096-F7F9-44FD-A1E6-B9A64805B88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0518" y="3853648"/>
              <a:ext cx="4216" cy="4216"/>
            </a:xfrm>
            <a:custGeom>
              <a:avLst/>
              <a:gdLst>
                <a:gd name="T0" fmla="*/ 3 w 3"/>
                <a:gd name="T1" fmla="*/ 0 h 3"/>
                <a:gd name="T2" fmla="*/ 1 w 3"/>
                <a:gd name="T3" fmla="*/ 1 h 3"/>
                <a:gd name="T4" fmla="*/ 0 w 3"/>
                <a:gd name="T5" fmla="*/ 3 h 3"/>
                <a:gd name="T6" fmla="*/ 3 w 3"/>
                <a:gd name="T7" fmla="*/ 2 h 3"/>
                <a:gd name="T8" fmla="*/ 3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0"/>
                  </a:moveTo>
                  <a:lnTo>
                    <a:pt x="1" y="1"/>
                  </a:lnTo>
                  <a:lnTo>
                    <a:pt x="0" y="3"/>
                  </a:lnTo>
                  <a:lnTo>
                    <a:pt x="3" y="2"/>
                  </a:lnTo>
                  <a:lnTo>
                    <a:pt x="3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3" name="Freeform 1025">
              <a:extLst>
                <a:ext uri="{FF2B5EF4-FFF2-40B4-BE49-F238E27FC236}">
                  <a16:creationId xmlns:a16="http://schemas.microsoft.com/office/drawing/2014/main" id="{2245E405-F08F-416D-9D94-EAE1C4B1F60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6841" y="3853648"/>
              <a:ext cx="2109" cy="6324"/>
            </a:xfrm>
            <a:custGeom>
              <a:avLst/>
              <a:gdLst>
                <a:gd name="T0" fmla="*/ 1 w 1"/>
                <a:gd name="T1" fmla="*/ 6 h 6"/>
                <a:gd name="T2" fmla="*/ 1 w 1"/>
                <a:gd name="T3" fmla="*/ 2 h 6"/>
                <a:gd name="T4" fmla="*/ 0 w 1"/>
                <a:gd name="T5" fmla="*/ 0 h 6"/>
                <a:gd name="T6" fmla="*/ 1 w 1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6">
                  <a:moveTo>
                    <a:pt x="1" y="6"/>
                  </a:moveTo>
                  <a:lnTo>
                    <a:pt x="1" y="2"/>
                  </a:lnTo>
                  <a:lnTo>
                    <a:pt x="0" y="0"/>
                  </a:lnTo>
                  <a:lnTo>
                    <a:pt x="1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4" name="Freeform 1026">
              <a:extLst>
                <a:ext uri="{FF2B5EF4-FFF2-40B4-BE49-F238E27FC236}">
                  <a16:creationId xmlns:a16="http://schemas.microsoft.com/office/drawing/2014/main" id="{1C12D1DC-150F-47CE-AC26-D30DD3DF1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1597" y="3813597"/>
              <a:ext cx="6324" cy="4216"/>
            </a:xfrm>
            <a:custGeom>
              <a:avLst/>
              <a:gdLst>
                <a:gd name="T0" fmla="*/ 0 w 6"/>
                <a:gd name="T1" fmla="*/ 0 h 5"/>
                <a:gd name="T2" fmla="*/ 0 w 6"/>
                <a:gd name="T3" fmla="*/ 2 h 5"/>
                <a:gd name="T4" fmla="*/ 3 w 6"/>
                <a:gd name="T5" fmla="*/ 4 h 5"/>
                <a:gd name="T6" fmla="*/ 4 w 6"/>
                <a:gd name="T7" fmla="*/ 5 h 5"/>
                <a:gd name="T8" fmla="*/ 6 w 6"/>
                <a:gd name="T9" fmla="*/ 5 h 5"/>
                <a:gd name="T10" fmla="*/ 4 w 6"/>
                <a:gd name="T11" fmla="*/ 2 h 5"/>
                <a:gd name="T12" fmla="*/ 0 w 6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5">
                  <a:moveTo>
                    <a:pt x="0" y="0"/>
                  </a:moveTo>
                  <a:lnTo>
                    <a:pt x="0" y="2"/>
                  </a:lnTo>
                  <a:lnTo>
                    <a:pt x="3" y="4"/>
                  </a:lnTo>
                  <a:lnTo>
                    <a:pt x="4" y="5"/>
                  </a:lnTo>
                  <a:lnTo>
                    <a:pt x="6" y="5"/>
                  </a:lnTo>
                  <a:lnTo>
                    <a:pt x="4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5" name="Freeform 1027">
              <a:extLst>
                <a:ext uri="{FF2B5EF4-FFF2-40B4-BE49-F238E27FC236}">
                  <a16:creationId xmlns:a16="http://schemas.microsoft.com/office/drawing/2014/main" id="{FA980267-536F-4A8A-9E1E-797D530084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3705" y="3817813"/>
              <a:ext cx="4216" cy="4216"/>
            </a:xfrm>
            <a:custGeom>
              <a:avLst/>
              <a:gdLst>
                <a:gd name="T0" fmla="*/ 0 w 2"/>
                <a:gd name="T1" fmla="*/ 0 h 4"/>
                <a:gd name="T2" fmla="*/ 0 w 2"/>
                <a:gd name="T3" fmla="*/ 3 h 4"/>
                <a:gd name="T4" fmla="*/ 2 w 2"/>
                <a:gd name="T5" fmla="*/ 4 h 4"/>
                <a:gd name="T6" fmla="*/ 0 w 2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lnTo>
                    <a:pt x="0" y="3"/>
                  </a:lnTo>
                  <a:lnTo>
                    <a:pt x="2" y="4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6" name="Freeform 1028">
              <a:extLst>
                <a:ext uri="{FF2B5EF4-FFF2-40B4-BE49-F238E27FC236}">
                  <a16:creationId xmlns:a16="http://schemas.microsoft.com/office/drawing/2014/main" id="{114F689D-28A1-4C69-A651-5CE0F5A787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3133" y="2759648"/>
              <a:ext cx="1578816" cy="1144589"/>
            </a:xfrm>
            <a:custGeom>
              <a:avLst/>
              <a:gdLst>
                <a:gd name="T0" fmla="*/ 62 w 1498"/>
                <a:gd name="T1" fmla="*/ 424 h 1087"/>
                <a:gd name="T2" fmla="*/ 150 w 1498"/>
                <a:gd name="T3" fmla="*/ 334 h 1087"/>
                <a:gd name="T4" fmla="*/ 166 w 1498"/>
                <a:gd name="T5" fmla="*/ 268 h 1087"/>
                <a:gd name="T6" fmla="*/ 222 w 1498"/>
                <a:gd name="T7" fmla="*/ 211 h 1087"/>
                <a:gd name="T8" fmla="*/ 268 w 1498"/>
                <a:gd name="T9" fmla="*/ 147 h 1087"/>
                <a:gd name="T10" fmla="*/ 383 w 1498"/>
                <a:gd name="T11" fmla="*/ 221 h 1087"/>
                <a:gd name="T12" fmla="*/ 535 w 1498"/>
                <a:gd name="T13" fmla="*/ 309 h 1087"/>
                <a:gd name="T14" fmla="*/ 742 w 1498"/>
                <a:gd name="T15" fmla="*/ 368 h 1087"/>
                <a:gd name="T16" fmla="*/ 942 w 1498"/>
                <a:gd name="T17" fmla="*/ 344 h 1087"/>
                <a:gd name="T18" fmla="*/ 993 w 1498"/>
                <a:gd name="T19" fmla="*/ 281 h 1087"/>
                <a:gd name="T20" fmla="*/ 1073 w 1498"/>
                <a:gd name="T21" fmla="*/ 222 h 1087"/>
                <a:gd name="T22" fmla="*/ 1037 w 1498"/>
                <a:gd name="T23" fmla="*/ 184 h 1087"/>
                <a:gd name="T24" fmla="*/ 1037 w 1498"/>
                <a:gd name="T25" fmla="*/ 113 h 1087"/>
                <a:gd name="T26" fmla="*/ 1020 w 1498"/>
                <a:gd name="T27" fmla="*/ 31 h 1087"/>
                <a:gd name="T28" fmla="*/ 1157 w 1498"/>
                <a:gd name="T29" fmla="*/ 23 h 1087"/>
                <a:gd name="T30" fmla="*/ 1285 w 1498"/>
                <a:gd name="T31" fmla="*/ 125 h 1087"/>
                <a:gd name="T32" fmla="*/ 1399 w 1498"/>
                <a:gd name="T33" fmla="*/ 187 h 1087"/>
                <a:gd name="T34" fmla="*/ 1485 w 1498"/>
                <a:gd name="T35" fmla="*/ 181 h 1087"/>
                <a:gd name="T36" fmla="*/ 1497 w 1498"/>
                <a:gd name="T37" fmla="*/ 267 h 1087"/>
                <a:gd name="T38" fmla="*/ 1476 w 1498"/>
                <a:gd name="T39" fmla="*/ 345 h 1087"/>
                <a:gd name="T40" fmla="*/ 1423 w 1498"/>
                <a:gd name="T41" fmla="*/ 371 h 1087"/>
                <a:gd name="T42" fmla="*/ 1367 w 1498"/>
                <a:gd name="T43" fmla="*/ 422 h 1087"/>
                <a:gd name="T44" fmla="*/ 1288 w 1498"/>
                <a:gd name="T45" fmla="*/ 473 h 1087"/>
                <a:gd name="T46" fmla="*/ 1274 w 1498"/>
                <a:gd name="T47" fmla="*/ 407 h 1087"/>
                <a:gd name="T48" fmla="*/ 1193 w 1498"/>
                <a:gd name="T49" fmla="*/ 466 h 1087"/>
                <a:gd name="T50" fmla="*/ 1282 w 1498"/>
                <a:gd name="T51" fmla="*/ 514 h 1087"/>
                <a:gd name="T52" fmla="*/ 1352 w 1498"/>
                <a:gd name="T53" fmla="*/ 537 h 1087"/>
                <a:gd name="T54" fmla="*/ 1311 w 1498"/>
                <a:gd name="T55" fmla="*/ 563 h 1087"/>
                <a:gd name="T56" fmla="*/ 1303 w 1498"/>
                <a:gd name="T57" fmla="*/ 615 h 1087"/>
                <a:gd name="T58" fmla="*/ 1369 w 1498"/>
                <a:gd name="T59" fmla="*/ 703 h 1087"/>
                <a:gd name="T60" fmla="*/ 1365 w 1498"/>
                <a:gd name="T61" fmla="*/ 704 h 1087"/>
                <a:gd name="T62" fmla="*/ 1378 w 1498"/>
                <a:gd name="T63" fmla="*/ 756 h 1087"/>
                <a:gd name="T64" fmla="*/ 1424 w 1498"/>
                <a:gd name="T65" fmla="*/ 789 h 1087"/>
                <a:gd name="T66" fmla="*/ 1417 w 1498"/>
                <a:gd name="T67" fmla="*/ 810 h 1087"/>
                <a:gd name="T68" fmla="*/ 1403 w 1498"/>
                <a:gd name="T69" fmla="*/ 856 h 1087"/>
                <a:gd name="T70" fmla="*/ 1385 w 1498"/>
                <a:gd name="T71" fmla="*/ 885 h 1087"/>
                <a:gd name="T72" fmla="*/ 1381 w 1498"/>
                <a:gd name="T73" fmla="*/ 912 h 1087"/>
                <a:gd name="T74" fmla="*/ 1360 w 1498"/>
                <a:gd name="T75" fmla="*/ 945 h 1087"/>
                <a:gd name="T76" fmla="*/ 1327 w 1498"/>
                <a:gd name="T77" fmla="*/ 975 h 1087"/>
                <a:gd name="T78" fmla="*/ 1294 w 1498"/>
                <a:gd name="T79" fmla="*/ 1007 h 1087"/>
                <a:gd name="T80" fmla="*/ 1237 w 1498"/>
                <a:gd name="T81" fmla="*/ 1001 h 1087"/>
                <a:gd name="T82" fmla="*/ 1226 w 1498"/>
                <a:gd name="T83" fmla="*/ 1014 h 1087"/>
                <a:gd name="T84" fmla="*/ 1191 w 1498"/>
                <a:gd name="T85" fmla="*/ 1038 h 1087"/>
                <a:gd name="T86" fmla="*/ 1154 w 1498"/>
                <a:gd name="T87" fmla="*/ 1068 h 1087"/>
                <a:gd name="T88" fmla="*/ 1137 w 1498"/>
                <a:gd name="T89" fmla="*/ 1052 h 1087"/>
                <a:gd name="T90" fmla="*/ 1103 w 1498"/>
                <a:gd name="T91" fmla="*/ 1038 h 1087"/>
                <a:gd name="T92" fmla="*/ 1054 w 1498"/>
                <a:gd name="T93" fmla="*/ 1033 h 1087"/>
                <a:gd name="T94" fmla="*/ 983 w 1498"/>
                <a:gd name="T95" fmla="*/ 1003 h 1087"/>
                <a:gd name="T96" fmla="*/ 910 w 1498"/>
                <a:gd name="T97" fmla="*/ 1015 h 1087"/>
                <a:gd name="T98" fmla="*/ 877 w 1498"/>
                <a:gd name="T99" fmla="*/ 1044 h 1087"/>
                <a:gd name="T100" fmla="*/ 821 w 1498"/>
                <a:gd name="T101" fmla="*/ 992 h 1087"/>
                <a:gd name="T102" fmla="*/ 771 w 1498"/>
                <a:gd name="T103" fmla="*/ 938 h 1087"/>
                <a:gd name="T104" fmla="*/ 782 w 1498"/>
                <a:gd name="T105" fmla="*/ 846 h 1087"/>
                <a:gd name="T106" fmla="*/ 716 w 1498"/>
                <a:gd name="T107" fmla="*/ 810 h 1087"/>
                <a:gd name="T108" fmla="*/ 653 w 1498"/>
                <a:gd name="T109" fmla="*/ 793 h 1087"/>
                <a:gd name="T110" fmla="*/ 564 w 1498"/>
                <a:gd name="T111" fmla="*/ 831 h 1087"/>
                <a:gd name="T112" fmla="*/ 449 w 1498"/>
                <a:gd name="T113" fmla="*/ 831 h 1087"/>
                <a:gd name="T114" fmla="*/ 390 w 1498"/>
                <a:gd name="T115" fmla="*/ 813 h 1087"/>
                <a:gd name="T116" fmla="*/ 263 w 1498"/>
                <a:gd name="T117" fmla="*/ 752 h 1087"/>
                <a:gd name="T118" fmla="*/ 185 w 1498"/>
                <a:gd name="T119" fmla="*/ 685 h 1087"/>
                <a:gd name="T120" fmla="*/ 187 w 1498"/>
                <a:gd name="T121" fmla="*/ 624 h 1087"/>
                <a:gd name="T122" fmla="*/ 67 w 1498"/>
                <a:gd name="T123" fmla="*/ 537 h 1087"/>
                <a:gd name="T124" fmla="*/ 19 w 1498"/>
                <a:gd name="T125" fmla="*/ 482 h 10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98" h="1087">
                  <a:moveTo>
                    <a:pt x="0" y="454"/>
                  </a:moveTo>
                  <a:lnTo>
                    <a:pt x="5" y="452"/>
                  </a:lnTo>
                  <a:lnTo>
                    <a:pt x="6" y="451"/>
                  </a:lnTo>
                  <a:lnTo>
                    <a:pt x="6" y="447"/>
                  </a:lnTo>
                  <a:lnTo>
                    <a:pt x="5" y="445"/>
                  </a:lnTo>
                  <a:lnTo>
                    <a:pt x="4" y="443"/>
                  </a:lnTo>
                  <a:lnTo>
                    <a:pt x="4" y="441"/>
                  </a:lnTo>
                  <a:lnTo>
                    <a:pt x="4" y="438"/>
                  </a:lnTo>
                  <a:lnTo>
                    <a:pt x="5" y="435"/>
                  </a:lnTo>
                  <a:lnTo>
                    <a:pt x="8" y="434"/>
                  </a:lnTo>
                  <a:lnTo>
                    <a:pt x="10" y="434"/>
                  </a:lnTo>
                  <a:lnTo>
                    <a:pt x="13" y="433"/>
                  </a:lnTo>
                  <a:lnTo>
                    <a:pt x="16" y="431"/>
                  </a:lnTo>
                  <a:lnTo>
                    <a:pt x="19" y="429"/>
                  </a:lnTo>
                  <a:lnTo>
                    <a:pt x="21" y="427"/>
                  </a:lnTo>
                  <a:lnTo>
                    <a:pt x="24" y="425"/>
                  </a:lnTo>
                  <a:lnTo>
                    <a:pt x="24" y="423"/>
                  </a:lnTo>
                  <a:lnTo>
                    <a:pt x="24" y="419"/>
                  </a:lnTo>
                  <a:lnTo>
                    <a:pt x="29" y="422"/>
                  </a:lnTo>
                  <a:lnTo>
                    <a:pt x="32" y="422"/>
                  </a:lnTo>
                  <a:lnTo>
                    <a:pt x="35" y="420"/>
                  </a:lnTo>
                  <a:lnTo>
                    <a:pt x="37" y="418"/>
                  </a:lnTo>
                  <a:lnTo>
                    <a:pt x="41" y="415"/>
                  </a:lnTo>
                  <a:lnTo>
                    <a:pt x="43" y="417"/>
                  </a:lnTo>
                  <a:lnTo>
                    <a:pt x="45" y="419"/>
                  </a:lnTo>
                  <a:lnTo>
                    <a:pt x="46" y="423"/>
                  </a:lnTo>
                  <a:lnTo>
                    <a:pt x="47" y="424"/>
                  </a:lnTo>
                  <a:lnTo>
                    <a:pt x="51" y="425"/>
                  </a:lnTo>
                  <a:lnTo>
                    <a:pt x="54" y="425"/>
                  </a:lnTo>
                  <a:lnTo>
                    <a:pt x="58" y="424"/>
                  </a:lnTo>
                  <a:lnTo>
                    <a:pt x="62" y="424"/>
                  </a:lnTo>
                  <a:lnTo>
                    <a:pt x="67" y="423"/>
                  </a:lnTo>
                  <a:lnTo>
                    <a:pt x="69" y="418"/>
                  </a:lnTo>
                  <a:lnTo>
                    <a:pt x="70" y="413"/>
                  </a:lnTo>
                  <a:lnTo>
                    <a:pt x="72" y="408"/>
                  </a:lnTo>
                  <a:lnTo>
                    <a:pt x="73" y="403"/>
                  </a:lnTo>
                  <a:lnTo>
                    <a:pt x="79" y="402"/>
                  </a:lnTo>
                  <a:lnTo>
                    <a:pt x="88" y="403"/>
                  </a:lnTo>
                  <a:lnTo>
                    <a:pt x="96" y="402"/>
                  </a:lnTo>
                  <a:lnTo>
                    <a:pt x="102" y="402"/>
                  </a:lnTo>
                  <a:lnTo>
                    <a:pt x="105" y="402"/>
                  </a:lnTo>
                  <a:lnTo>
                    <a:pt x="107" y="401"/>
                  </a:lnTo>
                  <a:lnTo>
                    <a:pt x="110" y="395"/>
                  </a:lnTo>
                  <a:lnTo>
                    <a:pt x="112" y="388"/>
                  </a:lnTo>
                  <a:lnTo>
                    <a:pt x="118" y="384"/>
                  </a:lnTo>
                  <a:lnTo>
                    <a:pt x="126" y="381"/>
                  </a:lnTo>
                  <a:lnTo>
                    <a:pt x="133" y="377"/>
                  </a:lnTo>
                  <a:lnTo>
                    <a:pt x="139" y="374"/>
                  </a:lnTo>
                  <a:lnTo>
                    <a:pt x="144" y="371"/>
                  </a:lnTo>
                  <a:lnTo>
                    <a:pt x="149" y="370"/>
                  </a:lnTo>
                  <a:lnTo>
                    <a:pt x="152" y="369"/>
                  </a:lnTo>
                  <a:lnTo>
                    <a:pt x="153" y="369"/>
                  </a:lnTo>
                  <a:lnTo>
                    <a:pt x="152" y="366"/>
                  </a:lnTo>
                  <a:lnTo>
                    <a:pt x="150" y="364"/>
                  </a:lnTo>
                  <a:lnTo>
                    <a:pt x="148" y="358"/>
                  </a:lnTo>
                  <a:lnTo>
                    <a:pt x="144" y="350"/>
                  </a:lnTo>
                  <a:lnTo>
                    <a:pt x="144" y="347"/>
                  </a:lnTo>
                  <a:lnTo>
                    <a:pt x="145" y="344"/>
                  </a:lnTo>
                  <a:lnTo>
                    <a:pt x="149" y="343"/>
                  </a:lnTo>
                  <a:lnTo>
                    <a:pt x="153" y="342"/>
                  </a:lnTo>
                  <a:lnTo>
                    <a:pt x="147" y="338"/>
                  </a:lnTo>
                  <a:lnTo>
                    <a:pt x="150" y="334"/>
                  </a:lnTo>
                  <a:lnTo>
                    <a:pt x="153" y="334"/>
                  </a:lnTo>
                  <a:lnTo>
                    <a:pt x="155" y="334"/>
                  </a:lnTo>
                  <a:lnTo>
                    <a:pt x="155" y="332"/>
                  </a:lnTo>
                  <a:lnTo>
                    <a:pt x="154" y="329"/>
                  </a:lnTo>
                  <a:lnTo>
                    <a:pt x="152" y="327"/>
                  </a:lnTo>
                  <a:lnTo>
                    <a:pt x="150" y="325"/>
                  </a:lnTo>
                  <a:lnTo>
                    <a:pt x="149" y="321"/>
                  </a:lnTo>
                  <a:lnTo>
                    <a:pt x="148" y="318"/>
                  </a:lnTo>
                  <a:lnTo>
                    <a:pt x="142" y="311"/>
                  </a:lnTo>
                  <a:lnTo>
                    <a:pt x="136" y="304"/>
                  </a:lnTo>
                  <a:lnTo>
                    <a:pt x="131" y="294"/>
                  </a:lnTo>
                  <a:lnTo>
                    <a:pt x="131" y="290"/>
                  </a:lnTo>
                  <a:lnTo>
                    <a:pt x="131" y="286"/>
                  </a:lnTo>
                  <a:lnTo>
                    <a:pt x="129" y="283"/>
                  </a:lnTo>
                  <a:lnTo>
                    <a:pt x="128" y="280"/>
                  </a:lnTo>
                  <a:lnTo>
                    <a:pt x="123" y="280"/>
                  </a:lnTo>
                  <a:lnTo>
                    <a:pt x="118" y="279"/>
                  </a:lnTo>
                  <a:lnTo>
                    <a:pt x="115" y="278"/>
                  </a:lnTo>
                  <a:lnTo>
                    <a:pt x="113" y="277"/>
                  </a:lnTo>
                  <a:lnTo>
                    <a:pt x="115" y="274"/>
                  </a:lnTo>
                  <a:lnTo>
                    <a:pt x="117" y="273"/>
                  </a:lnTo>
                  <a:lnTo>
                    <a:pt x="121" y="272"/>
                  </a:lnTo>
                  <a:lnTo>
                    <a:pt x="126" y="270"/>
                  </a:lnTo>
                  <a:lnTo>
                    <a:pt x="128" y="269"/>
                  </a:lnTo>
                  <a:lnTo>
                    <a:pt x="139" y="267"/>
                  </a:lnTo>
                  <a:lnTo>
                    <a:pt x="149" y="264"/>
                  </a:lnTo>
                  <a:lnTo>
                    <a:pt x="153" y="263"/>
                  </a:lnTo>
                  <a:lnTo>
                    <a:pt x="156" y="264"/>
                  </a:lnTo>
                  <a:lnTo>
                    <a:pt x="159" y="266"/>
                  </a:lnTo>
                  <a:lnTo>
                    <a:pt x="163" y="267"/>
                  </a:lnTo>
                  <a:lnTo>
                    <a:pt x="166" y="268"/>
                  </a:lnTo>
                  <a:lnTo>
                    <a:pt x="169" y="267"/>
                  </a:lnTo>
                  <a:lnTo>
                    <a:pt x="172" y="267"/>
                  </a:lnTo>
                  <a:lnTo>
                    <a:pt x="175" y="268"/>
                  </a:lnTo>
                  <a:lnTo>
                    <a:pt x="179" y="269"/>
                  </a:lnTo>
                  <a:lnTo>
                    <a:pt x="180" y="267"/>
                  </a:lnTo>
                  <a:lnTo>
                    <a:pt x="180" y="264"/>
                  </a:lnTo>
                  <a:lnTo>
                    <a:pt x="180" y="262"/>
                  </a:lnTo>
                  <a:lnTo>
                    <a:pt x="177" y="259"/>
                  </a:lnTo>
                  <a:lnTo>
                    <a:pt x="175" y="258"/>
                  </a:lnTo>
                  <a:lnTo>
                    <a:pt x="171" y="257"/>
                  </a:lnTo>
                  <a:lnTo>
                    <a:pt x="169" y="256"/>
                  </a:lnTo>
                  <a:lnTo>
                    <a:pt x="168" y="252"/>
                  </a:lnTo>
                  <a:lnTo>
                    <a:pt x="168" y="248"/>
                  </a:lnTo>
                  <a:lnTo>
                    <a:pt x="169" y="242"/>
                  </a:lnTo>
                  <a:lnTo>
                    <a:pt x="169" y="234"/>
                  </a:lnTo>
                  <a:lnTo>
                    <a:pt x="169" y="225"/>
                  </a:lnTo>
                  <a:lnTo>
                    <a:pt x="169" y="216"/>
                  </a:lnTo>
                  <a:lnTo>
                    <a:pt x="170" y="208"/>
                  </a:lnTo>
                  <a:lnTo>
                    <a:pt x="170" y="204"/>
                  </a:lnTo>
                  <a:lnTo>
                    <a:pt x="171" y="203"/>
                  </a:lnTo>
                  <a:lnTo>
                    <a:pt x="174" y="202"/>
                  </a:lnTo>
                  <a:lnTo>
                    <a:pt x="177" y="203"/>
                  </a:lnTo>
                  <a:lnTo>
                    <a:pt x="184" y="206"/>
                  </a:lnTo>
                  <a:lnTo>
                    <a:pt x="191" y="209"/>
                  </a:lnTo>
                  <a:lnTo>
                    <a:pt x="196" y="209"/>
                  </a:lnTo>
                  <a:lnTo>
                    <a:pt x="201" y="209"/>
                  </a:lnTo>
                  <a:lnTo>
                    <a:pt x="211" y="208"/>
                  </a:lnTo>
                  <a:lnTo>
                    <a:pt x="214" y="210"/>
                  </a:lnTo>
                  <a:lnTo>
                    <a:pt x="217" y="211"/>
                  </a:lnTo>
                  <a:lnTo>
                    <a:pt x="219" y="213"/>
                  </a:lnTo>
                  <a:lnTo>
                    <a:pt x="222" y="211"/>
                  </a:lnTo>
                  <a:lnTo>
                    <a:pt x="228" y="209"/>
                  </a:lnTo>
                  <a:lnTo>
                    <a:pt x="234" y="205"/>
                  </a:lnTo>
                  <a:lnTo>
                    <a:pt x="236" y="203"/>
                  </a:lnTo>
                  <a:lnTo>
                    <a:pt x="235" y="199"/>
                  </a:lnTo>
                  <a:lnTo>
                    <a:pt x="231" y="192"/>
                  </a:lnTo>
                  <a:lnTo>
                    <a:pt x="227" y="184"/>
                  </a:lnTo>
                  <a:lnTo>
                    <a:pt x="224" y="181"/>
                  </a:lnTo>
                  <a:lnTo>
                    <a:pt x="223" y="178"/>
                  </a:lnTo>
                  <a:lnTo>
                    <a:pt x="223" y="175"/>
                  </a:lnTo>
                  <a:lnTo>
                    <a:pt x="223" y="171"/>
                  </a:lnTo>
                  <a:lnTo>
                    <a:pt x="223" y="166"/>
                  </a:lnTo>
                  <a:lnTo>
                    <a:pt x="224" y="163"/>
                  </a:lnTo>
                  <a:lnTo>
                    <a:pt x="228" y="162"/>
                  </a:lnTo>
                  <a:lnTo>
                    <a:pt x="230" y="162"/>
                  </a:lnTo>
                  <a:lnTo>
                    <a:pt x="233" y="162"/>
                  </a:lnTo>
                  <a:lnTo>
                    <a:pt x="236" y="162"/>
                  </a:lnTo>
                  <a:lnTo>
                    <a:pt x="241" y="159"/>
                  </a:lnTo>
                  <a:lnTo>
                    <a:pt x="243" y="155"/>
                  </a:lnTo>
                  <a:lnTo>
                    <a:pt x="243" y="151"/>
                  </a:lnTo>
                  <a:lnTo>
                    <a:pt x="241" y="145"/>
                  </a:lnTo>
                  <a:lnTo>
                    <a:pt x="241" y="143"/>
                  </a:lnTo>
                  <a:lnTo>
                    <a:pt x="244" y="141"/>
                  </a:lnTo>
                  <a:lnTo>
                    <a:pt x="249" y="140"/>
                  </a:lnTo>
                  <a:lnTo>
                    <a:pt x="256" y="141"/>
                  </a:lnTo>
                  <a:lnTo>
                    <a:pt x="261" y="141"/>
                  </a:lnTo>
                  <a:lnTo>
                    <a:pt x="266" y="139"/>
                  </a:lnTo>
                  <a:lnTo>
                    <a:pt x="270" y="143"/>
                  </a:lnTo>
                  <a:lnTo>
                    <a:pt x="270" y="145"/>
                  </a:lnTo>
                  <a:lnTo>
                    <a:pt x="270" y="145"/>
                  </a:lnTo>
                  <a:lnTo>
                    <a:pt x="268" y="146"/>
                  </a:lnTo>
                  <a:lnTo>
                    <a:pt x="268" y="147"/>
                  </a:lnTo>
                  <a:lnTo>
                    <a:pt x="270" y="149"/>
                  </a:lnTo>
                  <a:lnTo>
                    <a:pt x="273" y="150"/>
                  </a:lnTo>
                  <a:lnTo>
                    <a:pt x="275" y="151"/>
                  </a:lnTo>
                  <a:lnTo>
                    <a:pt x="277" y="154"/>
                  </a:lnTo>
                  <a:lnTo>
                    <a:pt x="278" y="155"/>
                  </a:lnTo>
                  <a:lnTo>
                    <a:pt x="278" y="156"/>
                  </a:lnTo>
                  <a:lnTo>
                    <a:pt x="279" y="159"/>
                  </a:lnTo>
                  <a:lnTo>
                    <a:pt x="288" y="161"/>
                  </a:lnTo>
                  <a:lnTo>
                    <a:pt x="292" y="162"/>
                  </a:lnTo>
                  <a:lnTo>
                    <a:pt x="295" y="166"/>
                  </a:lnTo>
                  <a:lnTo>
                    <a:pt x="300" y="170"/>
                  </a:lnTo>
                  <a:lnTo>
                    <a:pt x="306" y="173"/>
                  </a:lnTo>
                  <a:lnTo>
                    <a:pt x="314" y="176"/>
                  </a:lnTo>
                  <a:lnTo>
                    <a:pt x="320" y="176"/>
                  </a:lnTo>
                  <a:lnTo>
                    <a:pt x="322" y="176"/>
                  </a:lnTo>
                  <a:lnTo>
                    <a:pt x="325" y="176"/>
                  </a:lnTo>
                  <a:lnTo>
                    <a:pt x="330" y="179"/>
                  </a:lnTo>
                  <a:lnTo>
                    <a:pt x="335" y="181"/>
                  </a:lnTo>
                  <a:lnTo>
                    <a:pt x="336" y="181"/>
                  </a:lnTo>
                  <a:lnTo>
                    <a:pt x="337" y="179"/>
                  </a:lnTo>
                  <a:lnTo>
                    <a:pt x="341" y="181"/>
                  </a:lnTo>
                  <a:lnTo>
                    <a:pt x="345" y="183"/>
                  </a:lnTo>
                  <a:lnTo>
                    <a:pt x="348" y="186"/>
                  </a:lnTo>
                  <a:lnTo>
                    <a:pt x="352" y="188"/>
                  </a:lnTo>
                  <a:lnTo>
                    <a:pt x="357" y="195"/>
                  </a:lnTo>
                  <a:lnTo>
                    <a:pt x="363" y="203"/>
                  </a:lnTo>
                  <a:lnTo>
                    <a:pt x="370" y="208"/>
                  </a:lnTo>
                  <a:lnTo>
                    <a:pt x="377" y="215"/>
                  </a:lnTo>
                  <a:lnTo>
                    <a:pt x="380" y="219"/>
                  </a:lnTo>
                  <a:lnTo>
                    <a:pt x="383" y="220"/>
                  </a:lnTo>
                  <a:lnTo>
                    <a:pt x="383" y="221"/>
                  </a:lnTo>
                  <a:lnTo>
                    <a:pt x="383" y="224"/>
                  </a:lnTo>
                  <a:lnTo>
                    <a:pt x="385" y="231"/>
                  </a:lnTo>
                  <a:lnTo>
                    <a:pt x="388" y="236"/>
                  </a:lnTo>
                  <a:lnTo>
                    <a:pt x="388" y="240"/>
                  </a:lnTo>
                  <a:lnTo>
                    <a:pt x="388" y="242"/>
                  </a:lnTo>
                  <a:lnTo>
                    <a:pt x="385" y="247"/>
                  </a:lnTo>
                  <a:lnTo>
                    <a:pt x="385" y="251"/>
                  </a:lnTo>
                  <a:lnTo>
                    <a:pt x="385" y="254"/>
                  </a:lnTo>
                  <a:lnTo>
                    <a:pt x="389" y="258"/>
                  </a:lnTo>
                  <a:lnTo>
                    <a:pt x="394" y="263"/>
                  </a:lnTo>
                  <a:lnTo>
                    <a:pt x="401" y="267"/>
                  </a:lnTo>
                  <a:lnTo>
                    <a:pt x="420" y="270"/>
                  </a:lnTo>
                  <a:lnTo>
                    <a:pt x="439" y="273"/>
                  </a:lnTo>
                  <a:lnTo>
                    <a:pt x="448" y="273"/>
                  </a:lnTo>
                  <a:lnTo>
                    <a:pt x="457" y="272"/>
                  </a:lnTo>
                  <a:lnTo>
                    <a:pt x="465" y="274"/>
                  </a:lnTo>
                  <a:lnTo>
                    <a:pt x="473" y="277"/>
                  </a:lnTo>
                  <a:lnTo>
                    <a:pt x="486" y="283"/>
                  </a:lnTo>
                  <a:lnTo>
                    <a:pt x="491" y="285"/>
                  </a:lnTo>
                  <a:lnTo>
                    <a:pt x="493" y="286"/>
                  </a:lnTo>
                  <a:lnTo>
                    <a:pt x="498" y="289"/>
                  </a:lnTo>
                  <a:lnTo>
                    <a:pt x="502" y="291"/>
                  </a:lnTo>
                  <a:lnTo>
                    <a:pt x="511" y="295"/>
                  </a:lnTo>
                  <a:lnTo>
                    <a:pt x="517" y="296"/>
                  </a:lnTo>
                  <a:lnTo>
                    <a:pt x="522" y="296"/>
                  </a:lnTo>
                  <a:lnTo>
                    <a:pt x="525" y="297"/>
                  </a:lnTo>
                  <a:lnTo>
                    <a:pt x="527" y="299"/>
                  </a:lnTo>
                  <a:lnTo>
                    <a:pt x="527" y="301"/>
                  </a:lnTo>
                  <a:lnTo>
                    <a:pt x="529" y="304"/>
                  </a:lnTo>
                  <a:lnTo>
                    <a:pt x="532" y="306"/>
                  </a:lnTo>
                  <a:lnTo>
                    <a:pt x="535" y="309"/>
                  </a:lnTo>
                  <a:lnTo>
                    <a:pt x="538" y="311"/>
                  </a:lnTo>
                  <a:lnTo>
                    <a:pt x="541" y="315"/>
                  </a:lnTo>
                  <a:lnTo>
                    <a:pt x="546" y="321"/>
                  </a:lnTo>
                  <a:lnTo>
                    <a:pt x="552" y="327"/>
                  </a:lnTo>
                  <a:lnTo>
                    <a:pt x="560" y="333"/>
                  </a:lnTo>
                  <a:lnTo>
                    <a:pt x="567" y="339"/>
                  </a:lnTo>
                  <a:lnTo>
                    <a:pt x="570" y="341"/>
                  </a:lnTo>
                  <a:lnTo>
                    <a:pt x="571" y="343"/>
                  </a:lnTo>
                  <a:lnTo>
                    <a:pt x="572" y="345"/>
                  </a:lnTo>
                  <a:lnTo>
                    <a:pt x="575" y="347"/>
                  </a:lnTo>
                  <a:lnTo>
                    <a:pt x="584" y="345"/>
                  </a:lnTo>
                  <a:lnTo>
                    <a:pt x="593" y="344"/>
                  </a:lnTo>
                  <a:lnTo>
                    <a:pt x="602" y="345"/>
                  </a:lnTo>
                  <a:lnTo>
                    <a:pt x="611" y="347"/>
                  </a:lnTo>
                  <a:lnTo>
                    <a:pt x="624" y="349"/>
                  </a:lnTo>
                  <a:lnTo>
                    <a:pt x="634" y="350"/>
                  </a:lnTo>
                  <a:lnTo>
                    <a:pt x="645" y="352"/>
                  </a:lnTo>
                  <a:lnTo>
                    <a:pt x="655" y="352"/>
                  </a:lnTo>
                  <a:lnTo>
                    <a:pt x="659" y="352"/>
                  </a:lnTo>
                  <a:lnTo>
                    <a:pt x="664" y="349"/>
                  </a:lnTo>
                  <a:lnTo>
                    <a:pt x="668" y="348"/>
                  </a:lnTo>
                  <a:lnTo>
                    <a:pt x="673" y="348"/>
                  </a:lnTo>
                  <a:lnTo>
                    <a:pt x="684" y="349"/>
                  </a:lnTo>
                  <a:lnTo>
                    <a:pt x="695" y="352"/>
                  </a:lnTo>
                  <a:lnTo>
                    <a:pt x="700" y="352"/>
                  </a:lnTo>
                  <a:lnTo>
                    <a:pt x="705" y="352"/>
                  </a:lnTo>
                  <a:lnTo>
                    <a:pt x="710" y="352"/>
                  </a:lnTo>
                  <a:lnTo>
                    <a:pt x="715" y="354"/>
                  </a:lnTo>
                  <a:lnTo>
                    <a:pt x="722" y="359"/>
                  </a:lnTo>
                  <a:lnTo>
                    <a:pt x="730" y="364"/>
                  </a:lnTo>
                  <a:lnTo>
                    <a:pt x="742" y="368"/>
                  </a:lnTo>
                  <a:lnTo>
                    <a:pt x="754" y="370"/>
                  </a:lnTo>
                  <a:lnTo>
                    <a:pt x="773" y="375"/>
                  </a:lnTo>
                  <a:lnTo>
                    <a:pt x="781" y="376"/>
                  </a:lnTo>
                  <a:lnTo>
                    <a:pt x="792" y="376"/>
                  </a:lnTo>
                  <a:lnTo>
                    <a:pt x="796" y="376"/>
                  </a:lnTo>
                  <a:lnTo>
                    <a:pt x="798" y="377"/>
                  </a:lnTo>
                  <a:lnTo>
                    <a:pt x="800" y="379"/>
                  </a:lnTo>
                  <a:lnTo>
                    <a:pt x="802" y="380"/>
                  </a:lnTo>
                  <a:lnTo>
                    <a:pt x="807" y="382"/>
                  </a:lnTo>
                  <a:lnTo>
                    <a:pt x="812" y="382"/>
                  </a:lnTo>
                  <a:lnTo>
                    <a:pt x="816" y="382"/>
                  </a:lnTo>
                  <a:lnTo>
                    <a:pt x="817" y="382"/>
                  </a:lnTo>
                  <a:lnTo>
                    <a:pt x="816" y="382"/>
                  </a:lnTo>
                  <a:lnTo>
                    <a:pt x="816" y="382"/>
                  </a:lnTo>
                  <a:lnTo>
                    <a:pt x="818" y="381"/>
                  </a:lnTo>
                  <a:lnTo>
                    <a:pt x="822" y="377"/>
                  </a:lnTo>
                  <a:lnTo>
                    <a:pt x="828" y="375"/>
                  </a:lnTo>
                  <a:lnTo>
                    <a:pt x="840" y="368"/>
                  </a:lnTo>
                  <a:lnTo>
                    <a:pt x="845" y="365"/>
                  </a:lnTo>
                  <a:lnTo>
                    <a:pt x="848" y="364"/>
                  </a:lnTo>
                  <a:lnTo>
                    <a:pt x="853" y="363"/>
                  </a:lnTo>
                  <a:lnTo>
                    <a:pt x="857" y="361"/>
                  </a:lnTo>
                  <a:lnTo>
                    <a:pt x="867" y="359"/>
                  </a:lnTo>
                  <a:lnTo>
                    <a:pt x="878" y="358"/>
                  </a:lnTo>
                  <a:lnTo>
                    <a:pt x="892" y="356"/>
                  </a:lnTo>
                  <a:lnTo>
                    <a:pt x="910" y="356"/>
                  </a:lnTo>
                  <a:lnTo>
                    <a:pt x="919" y="356"/>
                  </a:lnTo>
                  <a:lnTo>
                    <a:pt x="926" y="353"/>
                  </a:lnTo>
                  <a:lnTo>
                    <a:pt x="935" y="349"/>
                  </a:lnTo>
                  <a:lnTo>
                    <a:pt x="939" y="347"/>
                  </a:lnTo>
                  <a:lnTo>
                    <a:pt x="942" y="344"/>
                  </a:lnTo>
                  <a:lnTo>
                    <a:pt x="946" y="337"/>
                  </a:lnTo>
                  <a:lnTo>
                    <a:pt x="948" y="329"/>
                  </a:lnTo>
                  <a:lnTo>
                    <a:pt x="951" y="328"/>
                  </a:lnTo>
                  <a:lnTo>
                    <a:pt x="953" y="326"/>
                  </a:lnTo>
                  <a:lnTo>
                    <a:pt x="956" y="325"/>
                  </a:lnTo>
                  <a:lnTo>
                    <a:pt x="958" y="322"/>
                  </a:lnTo>
                  <a:lnTo>
                    <a:pt x="962" y="320"/>
                  </a:lnTo>
                  <a:lnTo>
                    <a:pt x="964" y="317"/>
                  </a:lnTo>
                  <a:lnTo>
                    <a:pt x="967" y="316"/>
                  </a:lnTo>
                  <a:lnTo>
                    <a:pt x="968" y="315"/>
                  </a:lnTo>
                  <a:lnTo>
                    <a:pt x="967" y="312"/>
                  </a:lnTo>
                  <a:lnTo>
                    <a:pt x="966" y="310"/>
                  </a:lnTo>
                  <a:lnTo>
                    <a:pt x="958" y="304"/>
                  </a:lnTo>
                  <a:lnTo>
                    <a:pt x="951" y="299"/>
                  </a:lnTo>
                  <a:lnTo>
                    <a:pt x="947" y="296"/>
                  </a:lnTo>
                  <a:lnTo>
                    <a:pt x="945" y="294"/>
                  </a:lnTo>
                  <a:lnTo>
                    <a:pt x="944" y="291"/>
                  </a:lnTo>
                  <a:lnTo>
                    <a:pt x="944" y="289"/>
                  </a:lnTo>
                  <a:lnTo>
                    <a:pt x="945" y="286"/>
                  </a:lnTo>
                  <a:lnTo>
                    <a:pt x="944" y="284"/>
                  </a:lnTo>
                  <a:lnTo>
                    <a:pt x="942" y="279"/>
                  </a:lnTo>
                  <a:lnTo>
                    <a:pt x="944" y="275"/>
                  </a:lnTo>
                  <a:lnTo>
                    <a:pt x="946" y="272"/>
                  </a:lnTo>
                  <a:lnTo>
                    <a:pt x="950" y="269"/>
                  </a:lnTo>
                  <a:lnTo>
                    <a:pt x="956" y="269"/>
                  </a:lnTo>
                  <a:lnTo>
                    <a:pt x="962" y="272"/>
                  </a:lnTo>
                  <a:lnTo>
                    <a:pt x="972" y="277"/>
                  </a:lnTo>
                  <a:lnTo>
                    <a:pt x="978" y="278"/>
                  </a:lnTo>
                  <a:lnTo>
                    <a:pt x="987" y="280"/>
                  </a:lnTo>
                  <a:lnTo>
                    <a:pt x="989" y="280"/>
                  </a:lnTo>
                  <a:lnTo>
                    <a:pt x="993" y="281"/>
                  </a:lnTo>
                  <a:lnTo>
                    <a:pt x="996" y="281"/>
                  </a:lnTo>
                  <a:lnTo>
                    <a:pt x="998" y="280"/>
                  </a:lnTo>
                  <a:lnTo>
                    <a:pt x="999" y="277"/>
                  </a:lnTo>
                  <a:lnTo>
                    <a:pt x="1003" y="275"/>
                  </a:lnTo>
                  <a:lnTo>
                    <a:pt x="1005" y="273"/>
                  </a:lnTo>
                  <a:lnTo>
                    <a:pt x="1007" y="270"/>
                  </a:lnTo>
                  <a:lnTo>
                    <a:pt x="1010" y="266"/>
                  </a:lnTo>
                  <a:lnTo>
                    <a:pt x="1011" y="261"/>
                  </a:lnTo>
                  <a:lnTo>
                    <a:pt x="1014" y="259"/>
                  </a:lnTo>
                  <a:lnTo>
                    <a:pt x="1017" y="259"/>
                  </a:lnTo>
                  <a:lnTo>
                    <a:pt x="1021" y="259"/>
                  </a:lnTo>
                  <a:lnTo>
                    <a:pt x="1023" y="261"/>
                  </a:lnTo>
                  <a:lnTo>
                    <a:pt x="1031" y="261"/>
                  </a:lnTo>
                  <a:lnTo>
                    <a:pt x="1037" y="258"/>
                  </a:lnTo>
                  <a:lnTo>
                    <a:pt x="1043" y="253"/>
                  </a:lnTo>
                  <a:lnTo>
                    <a:pt x="1047" y="248"/>
                  </a:lnTo>
                  <a:lnTo>
                    <a:pt x="1047" y="246"/>
                  </a:lnTo>
                  <a:lnTo>
                    <a:pt x="1046" y="243"/>
                  </a:lnTo>
                  <a:lnTo>
                    <a:pt x="1044" y="240"/>
                  </a:lnTo>
                  <a:lnTo>
                    <a:pt x="1046" y="236"/>
                  </a:lnTo>
                  <a:lnTo>
                    <a:pt x="1047" y="232"/>
                  </a:lnTo>
                  <a:lnTo>
                    <a:pt x="1048" y="230"/>
                  </a:lnTo>
                  <a:lnTo>
                    <a:pt x="1052" y="229"/>
                  </a:lnTo>
                  <a:lnTo>
                    <a:pt x="1054" y="227"/>
                  </a:lnTo>
                  <a:lnTo>
                    <a:pt x="1058" y="229"/>
                  </a:lnTo>
                  <a:lnTo>
                    <a:pt x="1063" y="229"/>
                  </a:lnTo>
                  <a:lnTo>
                    <a:pt x="1064" y="227"/>
                  </a:lnTo>
                  <a:lnTo>
                    <a:pt x="1065" y="224"/>
                  </a:lnTo>
                  <a:lnTo>
                    <a:pt x="1066" y="221"/>
                  </a:lnTo>
                  <a:lnTo>
                    <a:pt x="1069" y="221"/>
                  </a:lnTo>
                  <a:lnTo>
                    <a:pt x="1073" y="222"/>
                  </a:lnTo>
                  <a:lnTo>
                    <a:pt x="1074" y="222"/>
                  </a:lnTo>
                  <a:lnTo>
                    <a:pt x="1076" y="221"/>
                  </a:lnTo>
                  <a:lnTo>
                    <a:pt x="1079" y="220"/>
                  </a:lnTo>
                  <a:lnTo>
                    <a:pt x="1082" y="219"/>
                  </a:lnTo>
                  <a:lnTo>
                    <a:pt x="1085" y="218"/>
                  </a:lnTo>
                  <a:lnTo>
                    <a:pt x="1089" y="218"/>
                  </a:lnTo>
                  <a:lnTo>
                    <a:pt x="1092" y="218"/>
                  </a:lnTo>
                  <a:lnTo>
                    <a:pt x="1095" y="218"/>
                  </a:lnTo>
                  <a:lnTo>
                    <a:pt x="1097" y="218"/>
                  </a:lnTo>
                  <a:lnTo>
                    <a:pt x="1098" y="216"/>
                  </a:lnTo>
                  <a:lnTo>
                    <a:pt x="1098" y="216"/>
                  </a:lnTo>
                  <a:lnTo>
                    <a:pt x="1103" y="218"/>
                  </a:lnTo>
                  <a:lnTo>
                    <a:pt x="1107" y="219"/>
                  </a:lnTo>
                  <a:lnTo>
                    <a:pt x="1113" y="220"/>
                  </a:lnTo>
                  <a:lnTo>
                    <a:pt x="1119" y="220"/>
                  </a:lnTo>
                  <a:lnTo>
                    <a:pt x="1123" y="220"/>
                  </a:lnTo>
                  <a:lnTo>
                    <a:pt x="1126" y="218"/>
                  </a:lnTo>
                  <a:lnTo>
                    <a:pt x="1126" y="215"/>
                  </a:lnTo>
                  <a:lnTo>
                    <a:pt x="1124" y="213"/>
                  </a:lnTo>
                  <a:lnTo>
                    <a:pt x="1119" y="208"/>
                  </a:lnTo>
                  <a:lnTo>
                    <a:pt x="1114" y="204"/>
                  </a:lnTo>
                  <a:lnTo>
                    <a:pt x="1092" y="191"/>
                  </a:lnTo>
                  <a:lnTo>
                    <a:pt x="1069" y="178"/>
                  </a:lnTo>
                  <a:lnTo>
                    <a:pt x="1064" y="176"/>
                  </a:lnTo>
                  <a:lnTo>
                    <a:pt x="1058" y="175"/>
                  </a:lnTo>
                  <a:lnTo>
                    <a:pt x="1052" y="176"/>
                  </a:lnTo>
                  <a:lnTo>
                    <a:pt x="1048" y="181"/>
                  </a:lnTo>
                  <a:lnTo>
                    <a:pt x="1046" y="184"/>
                  </a:lnTo>
                  <a:lnTo>
                    <a:pt x="1043" y="186"/>
                  </a:lnTo>
                  <a:lnTo>
                    <a:pt x="1039" y="186"/>
                  </a:lnTo>
                  <a:lnTo>
                    <a:pt x="1037" y="184"/>
                  </a:lnTo>
                  <a:lnTo>
                    <a:pt x="1031" y="182"/>
                  </a:lnTo>
                  <a:lnTo>
                    <a:pt x="1028" y="181"/>
                  </a:lnTo>
                  <a:lnTo>
                    <a:pt x="1025" y="181"/>
                  </a:lnTo>
                  <a:lnTo>
                    <a:pt x="1019" y="181"/>
                  </a:lnTo>
                  <a:lnTo>
                    <a:pt x="1012" y="181"/>
                  </a:lnTo>
                  <a:lnTo>
                    <a:pt x="1010" y="182"/>
                  </a:lnTo>
                  <a:lnTo>
                    <a:pt x="1009" y="184"/>
                  </a:lnTo>
                  <a:lnTo>
                    <a:pt x="1006" y="186"/>
                  </a:lnTo>
                  <a:lnTo>
                    <a:pt x="1003" y="184"/>
                  </a:lnTo>
                  <a:lnTo>
                    <a:pt x="999" y="182"/>
                  </a:lnTo>
                  <a:lnTo>
                    <a:pt x="994" y="179"/>
                  </a:lnTo>
                  <a:lnTo>
                    <a:pt x="991" y="175"/>
                  </a:lnTo>
                  <a:lnTo>
                    <a:pt x="990" y="173"/>
                  </a:lnTo>
                  <a:lnTo>
                    <a:pt x="990" y="171"/>
                  </a:lnTo>
                  <a:lnTo>
                    <a:pt x="993" y="168"/>
                  </a:lnTo>
                  <a:lnTo>
                    <a:pt x="993" y="167"/>
                  </a:lnTo>
                  <a:lnTo>
                    <a:pt x="993" y="165"/>
                  </a:lnTo>
                  <a:lnTo>
                    <a:pt x="990" y="160"/>
                  </a:lnTo>
                  <a:lnTo>
                    <a:pt x="990" y="154"/>
                  </a:lnTo>
                  <a:lnTo>
                    <a:pt x="990" y="136"/>
                  </a:lnTo>
                  <a:lnTo>
                    <a:pt x="988" y="118"/>
                  </a:lnTo>
                  <a:lnTo>
                    <a:pt x="995" y="120"/>
                  </a:lnTo>
                  <a:lnTo>
                    <a:pt x="1003" y="122"/>
                  </a:lnTo>
                  <a:lnTo>
                    <a:pt x="1009" y="123"/>
                  </a:lnTo>
                  <a:lnTo>
                    <a:pt x="1016" y="125"/>
                  </a:lnTo>
                  <a:lnTo>
                    <a:pt x="1020" y="127"/>
                  </a:lnTo>
                  <a:lnTo>
                    <a:pt x="1022" y="127"/>
                  </a:lnTo>
                  <a:lnTo>
                    <a:pt x="1026" y="124"/>
                  </a:lnTo>
                  <a:lnTo>
                    <a:pt x="1028" y="120"/>
                  </a:lnTo>
                  <a:lnTo>
                    <a:pt x="1032" y="116"/>
                  </a:lnTo>
                  <a:lnTo>
                    <a:pt x="1037" y="113"/>
                  </a:lnTo>
                  <a:lnTo>
                    <a:pt x="1042" y="112"/>
                  </a:lnTo>
                  <a:lnTo>
                    <a:pt x="1047" y="111"/>
                  </a:lnTo>
                  <a:lnTo>
                    <a:pt x="1048" y="108"/>
                  </a:lnTo>
                  <a:lnTo>
                    <a:pt x="1048" y="106"/>
                  </a:lnTo>
                  <a:lnTo>
                    <a:pt x="1046" y="104"/>
                  </a:lnTo>
                  <a:lnTo>
                    <a:pt x="1043" y="103"/>
                  </a:lnTo>
                  <a:lnTo>
                    <a:pt x="1041" y="101"/>
                  </a:lnTo>
                  <a:lnTo>
                    <a:pt x="1039" y="98"/>
                  </a:lnTo>
                  <a:lnTo>
                    <a:pt x="1039" y="95"/>
                  </a:lnTo>
                  <a:lnTo>
                    <a:pt x="1041" y="91"/>
                  </a:lnTo>
                  <a:lnTo>
                    <a:pt x="1041" y="88"/>
                  </a:lnTo>
                  <a:lnTo>
                    <a:pt x="1039" y="86"/>
                  </a:lnTo>
                  <a:lnTo>
                    <a:pt x="1039" y="84"/>
                  </a:lnTo>
                  <a:lnTo>
                    <a:pt x="1039" y="81"/>
                  </a:lnTo>
                  <a:lnTo>
                    <a:pt x="1039" y="79"/>
                  </a:lnTo>
                  <a:lnTo>
                    <a:pt x="1039" y="77"/>
                  </a:lnTo>
                  <a:lnTo>
                    <a:pt x="1038" y="72"/>
                  </a:lnTo>
                  <a:lnTo>
                    <a:pt x="1038" y="66"/>
                  </a:lnTo>
                  <a:lnTo>
                    <a:pt x="1038" y="61"/>
                  </a:lnTo>
                  <a:lnTo>
                    <a:pt x="1038" y="58"/>
                  </a:lnTo>
                  <a:lnTo>
                    <a:pt x="1042" y="53"/>
                  </a:lnTo>
                  <a:lnTo>
                    <a:pt x="1044" y="52"/>
                  </a:lnTo>
                  <a:lnTo>
                    <a:pt x="1046" y="49"/>
                  </a:lnTo>
                  <a:lnTo>
                    <a:pt x="1043" y="44"/>
                  </a:lnTo>
                  <a:lnTo>
                    <a:pt x="1039" y="41"/>
                  </a:lnTo>
                  <a:lnTo>
                    <a:pt x="1036" y="36"/>
                  </a:lnTo>
                  <a:lnTo>
                    <a:pt x="1033" y="33"/>
                  </a:lnTo>
                  <a:lnTo>
                    <a:pt x="1031" y="31"/>
                  </a:lnTo>
                  <a:lnTo>
                    <a:pt x="1026" y="29"/>
                  </a:lnTo>
                  <a:lnTo>
                    <a:pt x="1022" y="29"/>
                  </a:lnTo>
                  <a:lnTo>
                    <a:pt x="1020" y="31"/>
                  </a:lnTo>
                  <a:lnTo>
                    <a:pt x="1016" y="29"/>
                  </a:lnTo>
                  <a:lnTo>
                    <a:pt x="1012" y="25"/>
                  </a:lnTo>
                  <a:lnTo>
                    <a:pt x="1016" y="21"/>
                  </a:lnTo>
                  <a:lnTo>
                    <a:pt x="1020" y="16"/>
                  </a:lnTo>
                  <a:lnTo>
                    <a:pt x="1022" y="11"/>
                  </a:lnTo>
                  <a:lnTo>
                    <a:pt x="1027" y="7"/>
                  </a:lnTo>
                  <a:lnTo>
                    <a:pt x="1043" y="4"/>
                  </a:lnTo>
                  <a:lnTo>
                    <a:pt x="1052" y="2"/>
                  </a:lnTo>
                  <a:lnTo>
                    <a:pt x="1059" y="2"/>
                  </a:lnTo>
                  <a:lnTo>
                    <a:pt x="1068" y="1"/>
                  </a:lnTo>
                  <a:lnTo>
                    <a:pt x="1075" y="0"/>
                  </a:lnTo>
                  <a:lnTo>
                    <a:pt x="1084" y="0"/>
                  </a:lnTo>
                  <a:lnTo>
                    <a:pt x="1091" y="1"/>
                  </a:lnTo>
                  <a:lnTo>
                    <a:pt x="1095" y="2"/>
                  </a:lnTo>
                  <a:lnTo>
                    <a:pt x="1098" y="4"/>
                  </a:lnTo>
                  <a:lnTo>
                    <a:pt x="1103" y="5"/>
                  </a:lnTo>
                  <a:lnTo>
                    <a:pt x="1107" y="7"/>
                  </a:lnTo>
                  <a:lnTo>
                    <a:pt x="1111" y="10"/>
                  </a:lnTo>
                  <a:lnTo>
                    <a:pt x="1116" y="11"/>
                  </a:lnTo>
                  <a:lnTo>
                    <a:pt x="1126" y="13"/>
                  </a:lnTo>
                  <a:lnTo>
                    <a:pt x="1126" y="12"/>
                  </a:lnTo>
                  <a:lnTo>
                    <a:pt x="1128" y="11"/>
                  </a:lnTo>
                  <a:lnTo>
                    <a:pt x="1132" y="11"/>
                  </a:lnTo>
                  <a:lnTo>
                    <a:pt x="1137" y="12"/>
                  </a:lnTo>
                  <a:lnTo>
                    <a:pt x="1141" y="13"/>
                  </a:lnTo>
                  <a:lnTo>
                    <a:pt x="1145" y="15"/>
                  </a:lnTo>
                  <a:lnTo>
                    <a:pt x="1148" y="16"/>
                  </a:lnTo>
                  <a:lnTo>
                    <a:pt x="1148" y="17"/>
                  </a:lnTo>
                  <a:lnTo>
                    <a:pt x="1149" y="20"/>
                  </a:lnTo>
                  <a:lnTo>
                    <a:pt x="1154" y="22"/>
                  </a:lnTo>
                  <a:lnTo>
                    <a:pt x="1157" y="23"/>
                  </a:lnTo>
                  <a:lnTo>
                    <a:pt x="1161" y="25"/>
                  </a:lnTo>
                  <a:lnTo>
                    <a:pt x="1162" y="26"/>
                  </a:lnTo>
                  <a:lnTo>
                    <a:pt x="1162" y="27"/>
                  </a:lnTo>
                  <a:lnTo>
                    <a:pt x="1164" y="28"/>
                  </a:lnTo>
                  <a:lnTo>
                    <a:pt x="1164" y="28"/>
                  </a:lnTo>
                  <a:lnTo>
                    <a:pt x="1172" y="34"/>
                  </a:lnTo>
                  <a:lnTo>
                    <a:pt x="1182" y="41"/>
                  </a:lnTo>
                  <a:lnTo>
                    <a:pt x="1186" y="43"/>
                  </a:lnTo>
                  <a:lnTo>
                    <a:pt x="1189" y="47"/>
                  </a:lnTo>
                  <a:lnTo>
                    <a:pt x="1193" y="53"/>
                  </a:lnTo>
                  <a:lnTo>
                    <a:pt x="1199" y="57"/>
                  </a:lnTo>
                  <a:lnTo>
                    <a:pt x="1204" y="61"/>
                  </a:lnTo>
                  <a:lnTo>
                    <a:pt x="1207" y="64"/>
                  </a:lnTo>
                  <a:lnTo>
                    <a:pt x="1210" y="65"/>
                  </a:lnTo>
                  <a:lnTo>
                    <a:pt x="1214" y="68"/>
                  </a:lnTo>
                  <a:lnTo>
                    <a:pt x="1218" y="71"/>
                  </a:lnTo>
                  <a:lnTo>
                    <a:pt x="1220" y="75"/>
                  </a:lnTo>
                  <a:lnTo>
                    <a:pt x="1223" y="77"/>
                  </a:lnTo>
                  <a:lnTo>
                    <a:pt x="1231" y="84"/>
                  </a:lnTo>
                  <a:lnTo>
                    <a:pt x="1239" y="88"/>
                  </a:lnTo>
                  <a:lnTo>
                    <a:pt x="1241" y="91"/>
                  </a:lnTo>
                  <a:lnTo>
                    <a:pt x="1242" y="95"/>
                  </a:lnTo>
                  <a:lnTo>
                    <a:pt x="1247" y="101"/>
                  </a:lnTo>
                  <a:lnTo>
                    <a:pt x="1250" y="103"/>
                  </a:lnTo>
                  <a:lnTo>
                    <a:pt x="1253" y="104"/>
                  </a:lnTo>
                  <a:lnTo>
                    <a:pt x="1256" y="106"/>
                  </a:lnTo>
                  <a:lnTo>
                    <a:pt x="1257" y="109"/>
                  </a:lnTo>
                  <a:lnTo>
                    <a:pt x="1262" y="116"/>
                  </a:lnTo>
                  <a:lnTo>
                    <a:pt x="1269" y="122"/>
                  </a:lnTo>
                  <a:lnTo>
                    <a:pt x="1278" y="125"/>
                  </a:lnTo>
                  <a:lnTo>
                    <a:pt x="1285" y="125"/>
                  </a:lnTo>
                  <a:lnTo>
                    <a:pt x="1293" y="125"/>
                  </a:lnTo>
                  <a:lnTo>
                    <a:pt x="1300" y="127"/>
                  </a:lnTo>
                  <a:lnTo>
                    <a:pt x="1309" y="130"/>
                  </a:lnTo>
                  <a:lnTo>
                    <a:pt x="1319" y="133"/>
                  </a:lnTo>
                  <a:lnTo>
                    <a:pt x="1317" y="130"/>
                  </a:lnTo>
                  <a:lnTo>
                    <a:pt x="1317" y="130"/>
                  </a:lnTo>
                  <a:lnTo>
                    <a:pt x="1321" y="132"/>
                  </a:lnTo>
                  <a:lnTo>
                    <a:pt x="1325" y="134"/>
                  </a:lnTo>
                  <a:lnTo>
                    <a:pt x="1328" y="135"/>
                  </a:lnTo>
                  <a:lnTo>
                    <a:pt x="1332" y="136"/>
                  </a:lnTo>
                  <a:lnTo>
                    <a:pt x="1336" y="140"/>
                  </a:lnTo>
                  <a:lnTo>
                    <a:pt x="1339" y="143"/>
                  </a:lnTo>
                  <a:lnTo>
                    <a:pt x="1342" y="145"/>
                  </a:lnTo>
                  <a:lnTo>
                    <a:pt x="1347" y="147"/>
                  </a:lnTo>
                  <a:lnTo>
                    <a:pt x="1352" y="147"/>
                  </a:lnTo>
                  <a:lnTo>
                    <a:pt x="1357" y="147"/>
                  </a:lnTo>
                  <a:lnTo>
                    <a:pt x="1362" y="149"/>
                  </a:lnTo>
                  <a:lnTo>
                    <a:pt x="1362" y="150"/>
                  </a:lnTo>
                  <a:lnTo>
                    <a:pt x="1363" y="151"/>
                  </a:lnTo>
                  <a:lnTo>
                    <a:pt x="1364" y="155"/>
                  </a:lnTo>
                  <a:lnTo>
                    <a:pt x="1367" y="159"/>
                  </a:lnTo>
                  <a:lnTo>
                    <a:pt x="1370" y="160"/>
                  </a:lnTo>
                  <a:lnTo>
                    <a:pt x="1374" y="162"/>
                  </a:lnTo>
                  <a:lnTo>
                    <a:pt x="1376" y="166"/>
                  </a:lnTo>
                  <a:lnTo>
                    <a:pt x="1376" y="170"/>
                  </a:lnTo>
                  <a:lnTo>
                    <a:pt x="1378" y="173"/>
                  </a:lnTo>
                  <a:lnTo>
                    <a:pt x="1381" y="177"/>
                  </a:lnTo>
                  <a:lnTo>
                    <a:pt x="1386" y="181"/>
                  </a:lnTo>
                  <a:lnTo>
                    <a:pt x="1392" y="184"/>
                  </a:lnTo>
                  <a:lnTo>
                    <a:pt x="1396" y="187"/>
                  </a:lnTo>
                  <a:lnTo>
                    <a:pt x="1399" y="187"/>
                  </a:lnTo>
                  <a:lnTo>
                    <a:pt x="1400" y="186"/>
                  </a:lnTo>
                  <a:lnTo>
                    <a:pt x="1403" y="184"/>
                  </a:lnTo>
                  <a:lnTo>
                    <a:pt x="1410" y="186"/>
                  </a:lnTo>
                  <a:lnTo>
                    <a:pt x="1414" y="187"/>
                  </a:lnTo>
                  <a:lnTo>
                    <a:pt x="1419" y="187"/>
                  </a:lnTo>
                  <a:lnTo>
                    <a:pt x="1427" y="186"/>
                  </a:lnTo>
                  <a:lnTo>
                    <a:pt x="1432" y="184"/>
                  </a:lnTo>
                  <a:lnTo>
                    <a:pt x="1433" y="183"/>
                  </a:lnTo>
                  <a:lnTo>
                    <a:pt x="1433" y="182"/>
                  </a:lnTo>
                  <a:lnTo>
                    <a:pt x="1433" y="178"/>
                  </a:lnTo>
                  <a:lnTo>
                    <a:pt x="1437" y="175"/>
                  </a:lnTo>
                  <a:lnTo>
                    <a:pt x="1440" y="173"/>
                  </a:lnTo>
                  <a:lnTo>
                    <a:pt x="1445" y="172"/>
                  </a:lnTo>
                  <a:lnTo>
                    <a:pt x="1446" y="173"/>
                  </a:lnTo>
                  <a:lnTo>
                    <a:pt x="1448" y="173"/>
                  </a:lnTo>
                  <a:lnTo>
                    <a:pt x="1450" y="173"/>
                  </a:lnTo>
                  <a:lnTo>
                    <a:pt x="1450" y="173"/>
                  </a:lnTo>
                  <a:lnTo>
                    <a:pt x="1451" y="170"/>
                  </a:lnTo>
                  <a:lnTo>
                    <a:pt x="1453" y="168"/>
                  </a:lnTo>
                  <a:lnTo>
                    <a:pt x="1455" y="168"/>
                  </a:lnTo>
                  <a:lnTo>
                    <a:pt x="1458" y="167"/>
                  </a:lnTo>
                  <a:lnTo>
                    <a:pt x="1461" y="166"/>
                  </a:lnTo>
                  <a:lnTo>
                    <a:pt x="1464" y="165"/>
                  </a:lnTo>
                  <a:lnTo>
                    <a:pt x="1467" y="163"/>
                  </a:lnTo>
                  <a:lnTo>
                    <a:pt x="1470" y="165"/>
                  </a:lnTo>
                  <a:lnTo>
                    <a:pt x="1474" y="166"/>
                  </a:lnTo>
                  <a:lnTo>
                    <a:pt x="1476" y="167"/>
                  </a:lnTo>
                  <a:lnTo>
                    <a:pt x="1478" y="168"/>
                  </a:lnTo>
                  <a:lnTo>
                    <a:pt x="1478" y="173"/>
                  </a:lnTo>
                  <a:lnTo>
                    <a:pt x="1481" y="177"/>
                  </a:lnTo>
                  <a:lnTo>
                    <a:pt x="1485" y="181"/>
                  </a:lnTo>
                  <a:lnTo>
                    <a:pt x="1488" y="184"/>
                  </a:lnTo>
                  <a:lnTo>
                    <a:pt x="1491" y="188"/>
                  </a:lnTo>
                  <a:lnTo>
                    <a:pt x="1490" y="192"/>
                  </a:lnTo>
                  <a:lnTo>
                    <a:pt x="1487" y="194"/>
                  </a:lnTo>
                  <a:lnTo>
                    <a:pt x="1485" y="197"/>
                  </a:lnTo>
                  <a:lnTo>
                    <a:pt x="1483" y="199"/>
                  </a:lnTo>
                  <a:lnTo>
                    <a:pt x="1485" y="200"/>
                  </a:lnTo>
                  <a:lnTo>
                    <a:pt x="1487" y="204"/>
                  </a:lnTo>
                  <a:lnTo>
                    <a:pt x="1488" y="208"/>
                  </a:lnTo>
                  <a:lnTo>
                    <a:pt x="1488" y="210"/>
                  </a:lnTo>
                  <a:lnTo>
                    <a:pt x="1491" y="216"/>
                  </a:lnTo>
                  <a:lnTo>
                    <a:pt x="1492" y="219"/>
                  </a:lnTo>
                  <a:lnTo>
                    <a:pt x="1492" y="221"/>
                  </a:lnTo>
                  <a:lnTo>
                    <a:pt x="1493" y="225"/>
                  </a:lnTo>
                  <a:lnTo>
                    <a:pt x="1496" y="230"/>
                  </a:lnTo>
                  <a:lnTo>
                    <a:pt x="1497" y="234"/>
                  </a:lnTo>
                  <a:lnTo>
                    <a:pt x="1496" y="235"/>
                  </a:lnTo>
                  <a:lnTo>
                    <a:pt x="1494" y="236"/>
                  </a:lnTo>
                  <a:lnTo>
                    <a:pt x="1496" y="238"/>
                  </a:lnTo>
                  <a:lnTo>
                    <a:pt x="1497" y="241"/>
                  </a:lnTo>
                  <a:lnTo>
                    <a:pt x="1496" y="242"/>
                  </a:lnTo>
                  <a:lnTo>
                    <a:pt x="1496" y="246"/>
                  </a:lnTo>
                  <a:lnTo>
                    <a:pt x="1496" y="247"/>
                  </a:lnTo>
                  <a:lnTo>
                    <a:pt x="1497" y="250"/>
                  </a:lnTo>
                  <a:lnTo>
                    <a:pt x="1498" y="252"/>
                  </a:lnTo>
                  <a:lnTo>
                    <a:pt x="1498" y="253"/>
                  </a:lnTo>
                  <a:lnTo>
                    <a:pt x="1497" y="256"/>
                  </a:lnTo>
                  <a:lnTo>
                    <a:pt x="1494" y="257"/>
                  </a:lnTo>
                  <a:lnTo>
                    <a:pt x="1494" y="258"/>
                  </a:lnTo>
                  <a:lnTo>
                    <a:pt x="1496" y="263"/>
                  </a:lnTo>
                  <a:lnTo>
                    <a:pt x="1497" y="267"/>
                  </a:lnTo>
                  <a:lnTo>
                    <a:pt x="1498" y="270"/>
                  </a:lnTo>
                  <a:lnTo>
                    <a:pt x="1498" y="272"/>
                  </a:lnTo>
                  <a:lnTo>
                    <a:pt x="1496" y="272"/>
                  </a:lnTo>
                  <a:lnTo>
                    <a:pt x="1488" y="270"/>
                  </a:lnTo>
                  <a:lnTo>
                    <a:pt x="1480" y="268"/>
                  </a:lnTo>
                  <a:lnTo>
                    <a:pt x="1476" y="268"/>
                  </a:lnTo>
                  <a:lnTo>
                    <a:pt x="1474" y="267"/>
                  </a:lnTo>
                  <a:lnTo>
                    <a:pt x="1472" y="267"/>
                  </a:lnTo>
                  <a:lnTo>
                    <a:pt x="1469" y="264"/>
                  </a:lnTo>
                  <a:lnTo>
                    <a:pt x="1465" y="264"/>
                  </a:lnTo>
                  <a:lnTo>
                    <a:pt x="1462" y="264"/>
                  </a:lnTo>
                  <a:lnTo>
                    <a:pt x="1461" y="269"/>
                  </a:lnTo>
                  <a:lnTo>
                    <a:pt x="1460" y="272"/>
                  </a:lnTo>
                  <a:lnTo>
                    <a:pt x="1459" y="274"/>
                  </a:lnTo>
                  <a:lnTo>
                    <a:pt x="1454" y="275"/>
                  </a:lnTo>
                  <a:lnTo>
                    <a:pt x="1450" y="278"/>
                  </a:lnTo>
                  <a:lnTo>
                    <a:pt x="1450" y="279"/>
                  </a:lnTo>
                  <a:lnTo>
                    <a:pt x="1453" y="281"/>
                  </a:lnTo>
                  <a:lnTo>
                    <a:pt x="1455" y="283"/>
                  </a:lnTo>
                  <a:lnTo>
                    <a:pt x="1456" y="284"/>
                  </a:lnTo>
                  <a:lnTo>
                    <a:pt x="1467" y="297"/>
                  </a:lnTo>
                  <a:lnTo>
                    <a:pt x="1475" y="312"/>
                  </a:lnTo>
                  <a:lnTo>
                    <a:pt x="1478" y="318"/>
                  </a:lnTo>
                  <a:lnTo>
                    <a:pt x="1483" y="325"/>
                  </a:lnTo>
                  <a:lnTo>
                    <a:pt x="1486" y="329"/>
                  </a:lnTo>
                  <a:lnTo>
                    <a:pt x="1487" y="337"/>
                  </a:lnTo>
                  <a:lnTo>
                    <a:pt x="1487" y="342"/>
                  </a:lnTo>
                  <a:lnTo>
                    <a:pt x="1487" y="343"/>
                  </a:lnTo>
                  <a:lnTo>
                    <a:pt x="1485" y="343"/>
                  </a:lnTo>
                  <a:lnTo>
                    <a:pt x="1478" y="343"/>
                  </a:lnTo>
                  <a:lnTo>
                    <a:pt x="1476" y="345"/>
                  </a:lnTo>
                  <a:lnTo>
                    <a:pt x="1474" y="348"/>
                  </a:lnTo>
                  <a:lnTo>
                    <a:pt x="1478" y="350"/>
                  </a:lnTo>
                  <a:lnTo>
                    <a:pt x="1483" y="353"/>
                  </a:lnTo>
                  <a:lnTo>
                    <a:pt x="1488" y="360"/>
                  </a:lnTo>
                  <a:lnTo>
                    <a:pt x="1490" y="361"/>
                  </a:lnTo>
                  <a:lnTo>
                    <a:pt x="1487" y="361"/>
                  </a:lnTo>
                  <a:lnTo>
                    <a:pt x="1485" y="360"/>
                  </a:lnTo>
                  <a:lnTo>
                    <a:pt x="1481" y="358"/>
                  </a:lnTo>
                  <a:lnTo>
                    <a:pt x="1474" y="350"/>
                  </a:lnTo>
                  <a:lnTo>
                    <a:pt x="1470" y="348"/>
                  </a:lnTo>
                  <a:lnTo>
                    <a:pt x="1467" y="345"/>
                  </a:lnTo>
                  <a:lnTo>
                    <a:pt x="1465" y="342"/>
                  </a:lnTo>
                  <a:lnTo>
                    <a:pt x="1461" y="341"/>
                  </a:lnTo>
                  <a:lnTo>
                    <a:pt x="1454" y="339"/>
                  </a:lnTo>
                  <a:lnTo>
                    <a:pt x="1456" y="343"/>
                  </a:lnTo>
                  <a:lnTo>
                    <a:pt x="1458" y="348"/>
                  </a:lnTo>
                  <a:lnTo>
                    <a:pt x="1459" y="353"/>
                  </a:lnTo>
                  <a:lnTo>
                    <a:pt x="1459" y="356"/>
                  </a:lnTo>
                  <a:lnTo>
                    <a:pt x="1456" y="358"/>
                  </a:lnTo>
                  <a:lnTo>
                    <a:pt x="1454" y="358"/>
                  </a:lnTo>
                  <a:lnTo>
                    <a:pt x="1451" y="358"/>
                  </a:lnTo>
                  <a:lnTo>
                    <a:pt x="1449" y="358"/>
                  </a:lnTo>
                  <a:lnTo>
                    <a:pt x="1448" y="361"/>
                  </a:lnTo>
                  <a:lnTo>
                    <a:pt x="1449" y="364"/>
                  </a:lnTo>
                  <a:lnTo>
                    <a:pt x="1448" y="368"/>
                  </a:lnTo>
                  <a:lnTo>
                    <a:pt x="1446" y="369"/>
                  </a:lnTo>
                  <a:lnTo>
                    <a:pt x="1444" y="369"/>
                  </a:lnTo>
                  <a:lnTo>
                    <a:pt x="1439" y="370"/>
                  </a:lnTo>
                  <a:lnTo>
                    <a:pt x="1434" y="370"/>
                  </a:lnTo>
                  <a:lnTo>
                    <a:pt x="1429" y="370"/>
                  </a:lnTo>
                  <a:lnTo>
                    <a:pt x="1423" y="371"/>
                  </a:lnTo>
                  <a:lnTo>
                    <a:pt x="1428" y="375"/>
                  </a:lnTo>
                  <a:lnTo>
                    <a:pt x="1433" y="379"/>
                  </a:lnTo>
                  <a:lnTo>
                    <a:pt x="1438" y="384"/>
                  </a:lnTo>
                  <a:lnTo>
                    <a:pt x="1439" y="386"/>
                  </a:lnTo>
                  <a:lnTo>
                    <a:pt x="1439" y="388"/>
                  </a:lnTo>
                  <a:lnTo>
                    <a:pt x="1438" y="390"/>
                  </a:lnTo>
                  <a:lnTo>
                    <a:pt x="1435" y="390"/>
                  </a:lnTo>
                  <a:lnTo>
                    <a:pt x="1430" y="390"/>
                  </a:lnTo>
                  <a:lnTo>
                    <a:pt x="1423" y="390"/>
                  </a:lnTo>
                  <a:lnTo>
                    <a:pt x="1418" y="388"/>
                  </a:lnTo>
                  <a:lnTo>
                    <a:pt x="1408" y="386"/>
                  </a:lnTo>
                  <a:lnTo>
                    <a:pt x="1406" y="384"/>
                  </a:lnTo>
                  <a:lnTo>
                    <a:pt x="1403" y="381"/>
                  </a:lnTo>
                  <a:lnTo>
                    <a:pt x="1400" y="379"/>
                  </a:lnTo>
                  <a:lnTo>
                    <a:pt x="1397" y="379"/>
                  </a:lnTo>
                  <a:lnTo>
                    <a:pt x="1395" y="380"/>
                  </a:lnTo>
                  <a:lnTo>
                    <a:pt x="1391" y="381"/>
                  </a:lnTo>
                  <a:lnTo>
                    <a:pt x="1391" y="390"/>
                  </a:lnTo>
                  <a:lnTo>
                    <a:pt x="1390" y="397"/>
                  </a:lnTo>
                  <a:lnTo>
                    <a:pt x="1389" y="402"/>
                  </a:lnTo>
                  <a:lnTo>
                    <a:pt x="1386" y="406"/>
                  </a:lnTo>
                  <a:lnTo>
                    <a:pt x="1385" y="407"/>
                  </a:lnTo>
                  <a:lnTo>
                    <a:pt x="1383" y="407"/>
                  </a:lnTo>
                  <a:lnTo>
                    <a:pt x="1380" y="408"/>
                  </a:lnTo>
                  <a:lnTo>
                    <a:pt x="1379" y="409"/>
                  </a:lnTo>
                  <a:lnTo>
                    <a:pt x="1379" y="412"/>
                  </a:lnTo>
                  <a:lnTo>
                    <a:pt x="1376" y="414"/>
                  </a:lnTo>
                  <a:lnTo>
                    <a:pt x="1371" y="415"/>
                  </a:lnTo>
                  <a:lnTo>
                    <a:pt x="1369" y="419"/>
                  </a:lnTo>
                  <a:lnTo>
                    <a:pt x="1368" y="420"/>
                  </a:lnTo>
                  <a:lnTo>
                    <a:pt x="1367" y="422"/>
                  </a:lnTo>
                  <a:lnTo>
                    <a:pt x="1363" y="423"/>
                  </a:lnTo>
                  <a:lnTo>
                    <a:pt x="1359" y="427"/>
                  </a:lnTo>
                  <a:lnTo>
                    <a:pt x="1357" y="431"/>
                  </a:lnTo>
                  <a:lnTo>
                    <a:pt x="1357" y="436"/>
                  </a:lnTo>
                  <a:lnTo>
                    <a:pt x="1354" y="441"/>
                  </a:lnTo>
                  <a:lnTo>
                    <a:pt x="1351" y="443"/>
                  </a:lnTo>
                  <a:lnTo>
                    <a:pt x="1344" y="443"/>
                  </a:lnTo>
                  <a:lnTo>
                    <a:pt x="1341" y="440"/>
                  </a:lnTo>
                  <a:lnTo>
                    <a:pt x="1339" y="443"/>
                  </a:lnTo>
                  <a:lnTo>
                    <a:pt x="1337" y="443"/>
                  </a:lnTo>
                  <a:lnTo>
                    <a:pt x="1332" y="444"/>
                  </a:lnTo>
                  <a:lnTo>
                    <a:pt x="1332" y="445"/>
                  </a:lnTo>
                  <a:lnTo>
                    <a:pt x="1332" y="446"/>
                  </a:lnTo>
                  <a:lnTo>
                    <a:pt x="1328" y="447"/>
                  </a:lnTo>
                  <a:lnTo>
                    <a:pt x="1322" y="450"/>
                  </a:lnTo>
                  <a:lnTo>
                    <a:pt x="1316" y="455"/>
                  </a:lnTo>
                  <a:lnTo>
                    <a:pt x="1312" y="459"/>
                  </a:lnTo>
                  <a:lnTo>
                    <a:pt x="1311" y="461"/>
                  </a:lnTo>
                  <a:lnTo>
                    <a:pt x="1310" y="463"/>
                  </a:lnTo>
                  <a:lnTo>
                    <a:pt x="1309" y="466"/>
                  </a:lnTo>
                  <a:lnTo>
                    <a:pt x="1308" y="467"/>
                  </a:lnTo>
                  <a:lnTo>
                    <a:pt x="1306" y="468"/>
                  </a:lnTo>
                  <a:lnTo>
                    <a:pt x="1306" y="471"/>
                  </a:lnTo>
                  <a:lnTo>
                    <a:pt x="1304" y="470"/>
                  </a:lnTo>
                  <a:lnTo>
                    <a:pt x="1300" y="468"/>
                  </a:lnTo>
                  <a:lnTo>
                    <a:pt x="1301" y="471"/>
                  </a:lnTo>
                  <a:lnTo>
                    <a:pt x="1300" y="472"/>
                  </a:lnTo>
                  <a:lnTo>
                    <a:pt x="1296" y="476"/>
                  </a:lnTo>
                  <a:lnTo>
                    <a:pt x="1292" y="477"/>
                  </a:lnTo>
                  <a:lnTo>
                    <a:pt x="1289" y="476"/>
                  </a:lnTo>
                  <a:lnTo>
                    <a:pt x="1288" y="473"/>
                  </a:lnTo>
                  <a:lnTo>
                    <a:pt x="1288" y="471"/>
                  </a:lnTo>
                  <a:lnTo>
                    <a:pt x="1292" y="468"/>
                  </a:lnTo>
                  <a:lnTo>
                    <a:pt x="1295" y="468"/>
                  </a:lnTo>
                  <a:lnTo>
                    <a:pt x="1296" y="467"/>
                  </a:lnTo>
                  <a:lnTo>
                    <a:pt x="1298" y="466"/>
                  </a:lnTo>
                  <a:lnTo>
                    <a:pt x="1298" y="463"/>
                  </a:lnTo>
                  <a:lnTo>
                    <a:pt x="1296" y="461"/>
                  </a:lnTo>
                  <a:lnTo>
                    <a:pt x="1296" y="460"/>
                  </a:lnTo>
                  <a:lnTo>
                    <a:pt x="1298" y="459"/>
                  </a:lnTo>
                  <a:lnTo>
                    <a:pt x="1301" y="455"/>
                  </a:lnTo>
                  <a:lnTo>
                    <a:pt x="1295" y="457"/>
                  </a:lnTo>
                  <a:lnTo>
                    <a:pt x="1290" y="456"/>
                  </a:lnTo>
                  <a:lnTo>
                    <a:pt x="1285" y="454"/>
                  </a:lnTo>
                  <a:lnTo>
                    <a:pt x="1280" y="452"/>
                  </a:lnTo>
                  <a:lnTo>
                    <a:pt x="1283" y="450"/>
                  </a:lnTo>
                  <a:lnTo>
                    <a:pt x="1287" y="449"/>
                  </a:lnTo>
                  <a:lnTo>
                    <a:pt x="1284" y="444"/>
                  </a:lnTo>
                  <a:lnTo>
                    <a:pt x="1284" y="441"/>
                  </a:lnTo>
                  <a:lnTo>
                    <a:pt x="1287" y="440"/>
                  </a:lnTo>
                  <a:lnTo>
                    <a:pt x="1290" y="436"/>
                  </a:lnTo>
                  <a:lnTo>
                    <a:pt x="1292" y="434"/>
                  </a:lnTo>
                  <a:lnTo>
                    <a:pt x="1293" y="430"/>
                  </a:lnTo>
                  <a:lnTo>
                    <a:pt x="1294" y="427"/>
                  </a:lnTo>
                  <a:lnTo>
                    <a:pt x="1294" y="424"/>
                  </a:lnTo>
                  <a:lnTo>
                    <a:pt x="1294" y="420"/>
                  </a:lnTo>
                  <a:lnTo>
                    <a:pt x="1292" y="417"/>
                  </a:lnTo>
                  <a:lnTo>
                    <a:pt x="1285" y="413"/>
                  </a:lnTo>
                  <a:lnTo>
                    <a:pt x="1279" y="409"/>
                  </a:lnTo>
                  <a:lnTo>
                    <a:pt x="1277" y="407"/>
                  </a:lnTo>
                  <a:lnTo>
                    <a:pt x="1276" y="403"/>
                  </a:lnTo>
                  <a:lnTo>
                    <a:pt x="1274" y="407"/>
                  </a:lnTo>
                  <a:lnTo>
                    <a:pt x="1272" y="408"/>
                  </a:lnTo>
                  <a:lnTo>
                    <a:pt x="1268" y="408"/>
                  </a:lnTo>
                  <a:lnTo>
                    <a:pt x="1264" y="407"/>
                  </a:lnTo>
                  <a:lnTo>
                    <a:pt x="1261" y="407"/>
                  </a:lnTo>
                  <a:lnTo>
                    <a:pt x="1257" y="408"/>
                  </a:lnTo>
                  <a:lnTo>
                    <a:pt x="1255" y="411"/>
                  </a:lnTo>
                  <a:lnTo>
                    <a:pt x="1256" y="412"/>
                  </a:lnTo>
                  <a:lnTo>
                    <a:pt x="1257" y="413"/>
                  </a:lnTo>
                  <a:lnTo>
                    <a:pt x="1253" y="414"/>
                  </a:lnTo>
                  <a:lnTo>
                    <a:pt x="1251" y="418"/>
                  </a:lnTo>
                  <a:lnTo>
                    <a:pt x="1250" y="423"/>
                  </a:lnTo>
                  <a:lnTo>
                    <a:pt x="1250" y="428"/>
                  </a:lnTo>
                  <a:lnTo>
                    <a:pt x="1247" y="430"/>
                  </a:lnTo>
                  <a:lnTo>
                    <a:pt x="1244" y="434"/>
                  </a:lnTo>
                  <a:lnTo>
                    <a:pt x="1239" y="436"/>
                  </a:lnTo>
                  <a:lnTo>
                    <a:pt x="1235" y="438"/>
                  </a:lnTo>
                  <a:lnTo>
                    <a:pt x="1230" y="441"/>
                  </a:lnTo>
                  <a:lnTo>
                    <a:pt x="1228" y="445"/>
                  </a:lnTo>
                  <a:lnTo>
                    <a:pt x="1226" y="447"/>
                  </a:lnTo>
                  <a:lnTo>
                    <a:pt x="1228" y="451"/>
                  </a:lnTo>
                  <a:lnTo>
                    <a:pt x="1229" y="454"/>
                  </a:lnTo>
                  <a:lnTo>
                    <a:pt x="1229" y="456"/>
                  </a:lnTo>
                  <a:lnTo>
                    <a:pt x="1226" y="461"/>
                  </a:lnTo>
                  <a:lnTo>
                    <a:pt x="1221" y="463"/>
                  </a:lnTo>
                  <a:lnTo>
                    <a:pt x="1217" y="465"/>
                  </a:lnTo>
                  <a:lnTo>
                    <a:pt x="1212" y="466"/>
                  </a:lnTo>
                  <a:lnTo>
                    <a:pt x="1208" y="467"/>
                  </a:lnTo>
                  <a:lnTo>
                    <a:pt x="1204" y="465"/>
                  </a:lnTo>
                  <a:lnTo>
                    <a:pt x="1201" y="463"/>
                  </a:lnTo>
                  <a:lnTo>
                    <a:pt x="1197" y="462"/>
                  </a:lnTo>
                  <a:lnTo>
                    <a:pt x="1193" y="466"/>
                  </a:lnTo>
                  <a:lnTo>
                    <a:pt x="1192" y="471"/>
                  </a:lnTo>
                  <a:lnTo>
                    <a:pt x="1193" y="476"/>
                  </a:lnTo>
                  <a:lnTo>
                    <a:pt x="1194" y="481"/>
                  </a:lnTo>
                  <a:lnTo>
                    <a:pt x="1198" y="486"/>
                  </a:lnTo>
                  <a:lnTo>
                    <a:pt x="1203" y="490"/>
                  </a:lnTo>
                  <a:lnTo>
                    <a:pt x="1213" y="497"/>
                  </a:lnTo>
                  <a:lnTo>
                    <a:pt x="1218" y="498"/>
                  </a:lnTo>
                  <a:lnTo>
                    <a:pt x="1223" y="498"/>
                  </a:lnTo>
                  <a:lnTo>
                    <a:pt x="1225" y="498"/>
                  </a:lnTo>
                  <a:lnTo>
                    <a:pt x="1226" y="499"/>
                  </a:lnTo>
                  <a:lnTo>
                    <a:pt x="1229" y="502"/>
                  </a:lnTo>
                  <a:lnTo>
                    <a:pt x="1230" y="503"/>
                  </a:lnTo>
                  <a:lnTo>
                    <a:pt x="1231" y="499"/>
                  </a:lnTo>
                  <a:lnTo>
                    <a:pt x="1230" y="497"/>
                  </a:lnTo>
                  <a:lnTo>
                    <a:pt x="1235" y="498"/>
                  </a:lnTo>
                  <a:lnTo>
                    <a:pt x="1240" y="500"/>
                  </a:lnTo>
                  <a:lnTo>
                    <a:pt x="1244" y="503"/>
                  </a:lnTo>
                  <a:lnTo>
                    <a:pt x="1246" y="506"/>
                  </a:lnTo>
                  <a:lnTo>
                    <a:pt x="1247" y="513"/>
                  </a:lnTo>
                  <a:lnTo>
                    <a:pt x="1248" y="518"/>
                  </a:lnTo>
                  <a:lnTo>
                    <a:pt x="1248" y="521"/>
                  </a:lnTo>
                  <a:lnTo>
                    <a:pt x="1252" y="526"/>
                  </a:lnTo>
                  <a:lnTo>
                    <a:pt x="1261" y="530"/>
                  </a:lnTo>
                  <a:lnTo>
                    <a:pt x="1269" y="530"/>
                  </a:lnTo>
                  <a:lnTo>
                    <a:pt x="1273" y="530"/>
                  </a:lnTo>
                  <a:lnTo>
                    <a:pt x="1276" y="527"/>
                  </a:lnTo>
                  <a:lnTo>
                    <a:pt x="1276" y="526"/>
                  </a:lnTo>
                  <a:lnTo>
                    <a:pt x="1274" y="522"/>
                  </a:lnTo>
                  <a:lnTo>
                    <a:pt x="1277" y="520"/>
                  </a:lnTo>
                  <a:lnTo>
                    <a:pt x="1280" y="518"/>
                  </a:lnTo>
                  <a:lnTo>
                    <a:pt x="1282" y="514"/>
                  </a:lnTo>
                  <a:lnTo>
                    <a:pt x="1282" y="513"/>
                  </a:lnTo>
                  <a:lnTo>
                    <a:pt x="1279" y="513"/>
                  </a:lnTo>
                  <a:lnTo>
                    <a:pt x="1283" y="513"/>
                  </a:lnTo>
                  <a:lnTo>
                    <a:pt x="1285" y="511"/>
                  </a:lnTo>
                  <a:lnTo>
                    <a:pt x="1293" y="508"/>
                  </a:lnTo>
                  <a:lnTo>
                    <a:pt x="1295" y="508"/>
                  </a:lnTo>
                  <a:lnTo>
                    <a:pt x="1299" y="509"/>
                  </a:lnTo>
                  <a:lnTo>
                    <a:pt x="1303" y="511"/>
                  </a:lnTo>
                  <a:lnTo>
                    <a:pt x="1305" y="514"/>
                  </a:lnTo>
                  <a:lnTo>
                    <a:pt x="1308" y="515"/>
                  </a:lnTo>
                  <a:lnTo>
                    <a:pt x="1311" y="515"/>
                  </a:lnTo>
                  <a:lnTo>
                    <a:pt x="1312" y="515"/>
                  </a:lnTo>
                  <a:lnTo>
                    <a:pt x="1314" y="516"/>
                  </a:lnTo>
                  <a:lnTo>
                    <a:pt x="1316" y="519"/>
                  </a:lnTo>
                  <a:lnTo>
                    <a:pt x="1320" y="520"/>
                  </a:lnTo>
                  <a:lnTo>
                    <a:pt x="1323" y="520"/>
                  </a:lnTo>
                  <a:lnTo>
                    <a:pt x="1327" y="519"/>
                  </a:lnTo>
                  <a:lnTo>
                    <a:pt x="1330" y="521"/>
                  </a:lnTo>
                  <a:lnTo>
                    <a:pt x="1331" y="518"/>
                  </a:lnTo>
                  <a:lnTo>
                    <a:pt x="1336" y="519"/>
                  </a:lnTo>
                  <a:lnTo>
                    <a:pt x="1341" y="520"/>
                  </a:lnTo>
                  <a:lnTo>
                    <a:pt x="1346" y="520"/>
                  </a:lnTo>
                  <a:lnTo>
                    <a:pt x="1351" y="522"/>
                  </a:lnTo>
                  <a:lnTo>
                    <a:pt x="1348" y="524"/>
                  </a:lnTo>
                  <a:lnTo>
                    <a:pt x="1349" y="526"/>
                  </a:lnTo>
                  <a:lnTo>
                    <a:pt x="1349" y="527"/>
                  </a:lnTo>
                  <a:lnTo>
                    <a:pt x="1349" y="530"/>
                  </a:lnTo>
                  <a:lnTo>
                    <a:pt x="1348" y="532"/>
                  </a:lnTo>
                  <a:lnTo>
                    <a:pt x="1348" y="534"/>
                  </a:lnTo>
                  <a:lnTo>
                    <a:pt x="1351" y="535"/>
                  </a:lnTo>
                  <a:lnTo>
                    <a:pt x="1352" y="537"/>
                  </a:lnTo>
                  <a:lnTo>
                    <a:pt x="1349" y="540"/>
                  </a:lnTo>
                  <a:lnTo>
                    <a:pt x="1346" y="540"/>
                  </a:lnTo>
                  <a:lnTo>
                    <a:pt x="1344" y="538"/>
                  </a:lnTo>
                  <a:lnTo>
                    <a:pt x="1342" y="535"/>
                  </a:lnTo>
                  <a:lnTo>
                    <a:pt x="1339" y="538"/>
                  </a:lnTo>
                  <a:lnTo>
                    <a:pt x="1338" y="536"/>
                  </a:lnTo>
                  <a:lnTo>
                    <a:pt x="1337" y="536"/>
                  </a:lnTo>
                  <a:lnTo>
                    <a:pt x="1333" y="537"/>
                  </a:lnTo>
                  <a:lnTo>
                    <a:pt x="1332" y="540"/>
                  </a:lnTo>
                  <a:lnTo>
                    <a:pt x="1328" y="541"/>
                  </a:lnTo>
                  <a:lnTo>
                    <a:pt x="1327" y="542"/>
                  </a:lnTo>
                  <a:lnTo>
                    <a:pt x="1327" y="541"/>
                  </a:lnTo>
                  <a:lnTo>
                    <a:pt x="1328" y="540"/>
                  </a:lnTo>
                  <a:lnTo>
                    <a:pt x="1322" y="545"/>
                  </a:lnTo>
                  <a:lnTo>
                    <a:pt x="1319" y="546"/>
                  </a:lnTo>
                  <a:lnTo>
                    <a:pt x="1316" y="547"/>
                  </a:lnTo>
                  <a:lnTo>
                    <a:pt x="1314" y="547"/>
                  </a:lnTo>
                  <a:lnTo>
                    <a:pt x="1311" y="547"/>
                  </a:lnTo>
                  <a:lnTo>
                    <a:pt x="1309" y="547"/>
                  </a:lnTo>
                  <a:lnTo>
                    <a:pt x="1309" y="549"/>
                  </a:lnTo>
                  <a:lnTo>
                    <a:pt x="1312" y="548"/>
                  </a:lnTo>
                  <a:lnTo>
                    <a:pt x="1314" y="549"/>
                  </a:lnTo>
                  <a:lnTo>
                    <a:pt x="1315" y="552"/>
                  </a:lnTo>
                  <a:lnTo>
                    <a:pt x="1315" y="556"/>
                  </a:lnTo>
                  <a:lnTo>
                    <a:pt x="1311" y="553"/>
                  </a:lnTo>
                  <a:lnTo>
                    <a:pt x="1310" y="553"/>
                  </a:lnTo>
                  <a:lnTo>
                    <a:pt x="1309" y="556"/>
                  </a:lnTo>
                  <a:lnTo>
                    <a:pt x="1310" y="557"/>
                  </a:lnTo>
                  <a:lnTo>
                    <a:pt x="1310" y="559"/>
                  </a:lnTo>
                  <a:lnTo>
                    <a:pt x="1311" y="561"/>
                  </a:lnTo>
                  <a:lnTo>
                    <a:pt x="1311" y="563"/>
                  </a:lnTo>
                  <a:lnTo>
                    <a:pt x="1310" y="564"/>
                  </a:lnTo>
                  <a:lnTo>
                    <a:pt x="1309" y="565"/>
                  </a:lnTo>
                  <a:lnTo>
                    <a:pt x="1305" y="565"/>
                  </a:lnTo>
                  <a:lnTo>
                    <a:pt x="1304" y="564"/>
                  </a:lnTo>
                  <a:lnTo>
                    <a:pt x="1303" y="563"/>
                  </a:lnTo>
                  <a:lnTo>
                    <a:pt x="1301" y="561"/>
                  </a:lnTo>
                  <a:lnTo>
                    <a:pt x="1300" y="559"/>
                  </a:lnTo>
                  <a:lnTo>
                    <a:pt x="1301" y="562"/>
                  </a:lnTo>
                  <a:lnTo>
                    <a:pt x="1300" y="562"/>
                  </a:lnTo>
                  <a:lnTo>
                    <a:pt x="1298" y="561"/>
                  </a:lnTo>
                  <a:lnTo>
                    <a:pt x="1295" y="561"/>
                  </a:lnTo>
                  <a:lnTo>
                    <a:pt x="1296" y="563"/>
                  </a:lnTo>
                  <a:lnTo>
                    <a:pt x="1299" y="565"/>
                  </a:lnTo>
                  <a:lnTo>
                    <a:pt x="1301" y="568"/>
                  </a:lnTo>
                  <a:lnTo>
                    <a:pt x="1304" y="569"/>
                  </a:lnTo>
                  <a:lnTo>
                    <a:pt x="1300" y="572"/>
                  </a:lnTo>
                  <a:lnTo>
                    <a:pt x="1298" y="577"/>
                  </a:lnTo>
                  <a:lnTo>
                    <a:pt x="1296" y="580"/>
                  </a:lnTo>
                  <a:lnTo>
                    <a:pt x="1294" y="581"/>
                  </a:lnTo>
                  <a:lnTo>
                    <a:pt x="1292" y="581"/>
                  </a:lnTo>
                  <a:lnTo>
                    <a:pt x="1292" y="585"/>
                  </a:lnTo>
                  <a:lnTo>
                    <a:pt x="1290" y="589"/>
                  </a:lnTo>
                  <a:lnTo>
                    <a:pt x="1290" y="593"/>
                  </a:lnTo>
                  <a:lnTo>
                    <a:pt x="1289" y="596"/>
                  </a:lnTo>
                  <a:lnTo>
                    <a:pt x="1288" y="600"/>
                  </a:lnTo>
                  <a:lnTo>
                    <a:pt x="1288" y="604"/>
                  </a:lnTo>
                  <a:lnTo>
                    <a:pt x="1289" y="610"/>
                  </a:lnTo>
                  <a:lnTo>
                    <a:pt x="1293" y="609"/>
                  </a:lnTo>
                  <a:lnTo>
                    <a:pt x="1296" y="610"/>
                  </a:lnTo>
                  <a:lnTo>
                    <a:pt x="1300" y="612"/>
                  </a:lnTo>
                  <a:lnTo>
                    <a:pt x="1303" y="615"/>
                  </a:lnTo>
                  <a:lnTo>
                    <a:pt x="1312" y="620"/>
                  </a:lnTo>
                  <a:lnTo>
                    <a:pt x="1323" y="623"/>
                  </a:lnTo>
                  <a:lnTo>
                    <a:pt x="1327" y="626"/>
                  </a:lnTo>
                  <a:lnTo>
                    <a:pt x="1330" y="631"/>
                  </a:lnTo>
                  <a:lnTo>
                    <a:pt x="1332" y="634"/>
                  </a:lnTo>
                  <a:lnTo>
                    <a:pt x="1335" y="639"/>
                  </a:lnTo>
                  <a:lnTo>
                    <a:pt x="1342" y="649"/>
                  </a:lnTo>
                  <a:lnTo>
                    <a:pt x="1349" y="659"/>
                  </a:lnTo>
                  <a:lnTo>
                    <a:pt x="1355" y="666"/>
                  </a:lnTo>
                  <a:lnTo>
                    <a:pt x="1358" y="670"/>
                  </a:lnTo>
                  <a:lnTo>
                    <a:pt x="1359" y="675"/>
                  </a:lnTo>
                  <a:lnTo>
                    <a:pt x="1360" y="679"/>
                  </a:lnTo>
                  <a:lnTo>
                    <a:pt x="1365" y="681"/>
                  </a:lnTo>
                  <a:lnTo>
                    <a:pt x="1370" y="683"/>
                  </a:lnTo>
                  <a:lnTo>
                    <a:pt x="1375" y="685"/>
                  </a:lnTo>
                  <a:lnTo>
                    <a:pt x="1378" y="686"/>
                  </a:lnTo>
                  <a:lnTo>
                    <a:pt x="1378" y="688"/>
                  </a:lnTo>
                  <a:lnTo>
                    <a:pt x="1379" y="691"/>
                  </a:lnTo>
                  <a:lnTo>
                    <a:pt x="1379" y="693"/>
                  </a:lnTo>
                  <a:lnTo>
                    <a:pt x="1383" y="696"/>
                  </a:lnTo>
                  <a:lnTo>
                    <a:pt x="1386" y="697"/>
                  </a:lnTo>
                  <a:lnTo>
                    <a:pt x="1390" y="698"/>
                  </a:lnTo>
                  <a:lnTo>
                    <a:pt x="1395" y="702"/>
                  </a:lnTo>
                  <a:lnTo>
                    <a:pt x="1397" y="706"/>
                  </a:lnTo>
                  <a:lnTo>
                    <a:pt x="1397" y="709"/>
                  </a:lnTo>
                  <a:lnTo>
                    <a:pt x="1392" y="708"/>
                  </a:lnTo>
                  <a:lnTo>
                    <a:pt x="1387" y="706"/>
                  </a:lnTo>
                  <a:lnTo>
                    <a:pt x="1383" y="703"/>
                  </a:lnTo>
                  <a:lnTo>
                    <a:pt x="1378" y="704"/>
                  </a:lnTo>
                  <a:lnTo>
                    <a:pt x="1373" y="704"/>
                  </a:lnTo>
                  <a:lnTo>
                    <a:pt x="1369" y="703"/>
                  </a:lnTo>
                  <a:lnTo>
                    <a:pt x="1367" y="699"/>
                  </a:lnTo>
                  <a:lnTo>
                    <a:pt x="1362" y="697"/>
                  </a:lnTo>
                  <a:lnTo>
                    <a:pt x="1357" y="697"/>
                  </a:lnTo>
                  <a:lnTo>
                    <a:pt x="1353" y="699"/>
                  </a:lnTo>
                  <a:lnTo>
                    <a:pt x="1349" y="701"/>
                  </a:lnTo>
                  <a:lnTo>
                    <a:pt x="1346" y="701"/>
                  </a:lnTo>
                  <a:lnTo>
                    <a:pt x="1342" y="697"/>
                  </a:lnTo>
                  <a:lnTo>
                    <a:pt x="1338" y="693"/>
                  </a:lnTo>
                  <a:lnTo>
                    <a:pt x="1336" y="691"/>
                  </a:lnTo>
                  <a:lnTo>
                    <a:pt x="1333" y="690"/>
                  </a:lnTo>
                  <a:lnTo>
                    <a:pt x="1328" y="688"/>
                  </a:lnTo>
                  <a:lnTo>
                    <a:pt x="1331" y="691"/>
                  </a:lnTo>
                  <a:lnTo>
                    <a:pt x="1330" y="693"/>
                  </a:lnTo>
                  <a:lnTo>
                    <a:pt x="1332" y="692"/>
                  </a:lnTo>
                  <a:lnTo>
                    <a:pt x="1335" y="693"/>
                  </a:lnTo>
                  <a:lnTo>
                    <a:pt x="1332" y="691"/>
                  </a:lnTo>
                  <a:lnTo>
                    <a:pt x="1335" y="691"/>
                  </a:lnTo>
                  <a:lnTo>
                    <a:pt x="1337" y="693"/>
                  </a:lnTo>
                  <a:lnTo>
                    <a:pt x="1338" y="696"/>
                  </a:lnTo>
                  <a:lnTo>
                    <a:pt x="1337" y="696"/>
                  </a:lnTo>
                  <a:lnTo>
                    <a:pt x="1336" y="696"/>
                  </a:lnTo>
                  <a:lnTo>
                    <a:pt x="1339" y="698"/>
                  </a:lnTo>
                  <a:lnTo>
                    <a:pt x="1343" y="701"/>
                  </a:lnTo>
                  <a:lnTo>
                    <a:pt x="1347" y="703"/>
                  </a:lnTo>
                  <a:lnTo>
                    <a:pt x="1352" y="702"/>
                  </a:lnTo>
                  <a:lnTo>
                    <a:pt x="1354" y="699"/>
                  </a:lnTo>
                  <a:lnTo>
                    <a:pt x="1355" y="699"/>
                  </a:lnTo>
                  <a:lnTo>
                    <a:pt x="1357" y="698"/>
                  </a:lnTo>
                  <a:lnTo>
                    <a:pt x="1362" y="699"/>
                  </a:lnTo>
                  <a:lnTo>
                    <a:pt x="1365" y="702"/>
                  </a:lnTo>
                  <a:lnTo>
                    <a:pt x="1365" y="704"/>
                  </a:lnTo>
                  <a:lnTo>
                    <a:pt x="1367" y="706"/>
                  </a:lnTo>
                  <a:lnTo>
                    <a:pt x="1371" y="708"/>
                  </a:lnTo>
                  <a:lnTo>
                    <a:pt x="1376" y="709"/>
                  </a:lnTo>
                  <a:lnTo>
                    <a:pt x="1381" y="712"/>
                  </a:lnTo>
                  <a:lnTo>
                    <a:pt x="1386" y="715"/>
                  </a:lnTo>
                  <a:lnTo>
                    <a:pt x="1396" y="722"/>
                  </a:lnTo>
                  <a:lnTo>
                    <a:pt x="1400" y="724"/>
                  </a:lnTo>
                  <a:lnTo>
                    <a:pt x="1403" y="728"/>
                  </a:lnTo>
                  <a:lnTo>
                    <a:pt x="1406" y="731"/>
                  </a:lnTo>
                  <a:lnTo>
                    <a:pt x="1407" y="735"/>
                  </a:lnTo>
                  <a:lnTo>
                    <a:pt x="1406" y="736"/>
                  </a:lnTo>
                  <a:lnTo>
                    <a:pt x="1405" y="738"/>
                  </a:lnTo>
                  <a:lnTo>
                    <a:pt x="1402" y="738"/>
                  </a:lnTo>
                  <a:lnTo>
                    <a:pt x="1401" y="738"/>
                  </a:lnTo>
                  <a:lnTo>
                    <a:pt x="1399" y="738"/>
                  </a:lnTo>
                  <a:lnTo>
                    <a:pt x="1396" y="740"/>
                  </a:lnTo>
                  <a:lnTo>
                    <a:pt x="1391" y="744"/>
                  </a:lnTo>
                  <a:lnTo>
                    <a:pt x="1387" y="746"/>
                  </a:lnTo>
                  <a:lnTo>
                    <a:pt x="1385" y="750"/>
                  </a:lnTo>
                  <a:lnTo>
                    <a:pt x="1385" y="752"/>
                  </a:lnTo>
                  <a:lnTo>
                    <a:pt x="1383" y="755"/>
                  </a:lnTo>
                  <a:lnTo>
                    <a:pt x="1379" y="754"/>
                  </a:lnTo>
                  <a:lnTo>
                    <a:pt x="1376" y="752"/>
                  </a:lnTo>
                  <a:lnTo>
                    <a:pt x="1374" y="752"/>
                  </a:lnTo>
                  <a:lnTo>
                    <a:pt x="1369" y="756"/>
                  </a:lnTo>
                  <a:lnTo>
                    <a:pt x="1365" y="758"/>
                  </a:lnTo>
                  <a:lnTo>
                    <a:pt x="1368" y="757"/>
                  </a:lnTo>
                  <a:lnTo>
                    <a:pt x="1370" y="756"/>
                  </a:lnTo>
                  <a:lnTo>
                    <a:pt x="1374" y="754"/>
                  </a:lnTo>
                  <a:lnTo>
                    <a:pt x="1376" y="754"/>
                  </a:lnTo>
                  <a:lnTo>
                    <a:pt x="1378" y="756"/>
                  </a:lnTo>
                  <a:lnTo>
                    <a:pt x="1380" y="760"/>
                  </a:lnTo>
                  <a:lnTo>
                    <a:pt x="1383" y="762"/>
                  </a:lnTo>
                  <a:lnTo>
                    <a:pt x="1385" y="763"/>
                  </a:lnTo>
                  <a:lnTo>
                    <a:pt x="1381" y="761"/>
                  </a:lnTo>
                  <a:lnTo>
                    <a:pt x="1386" y="761"/>
                  </a:lnTo>
                  <a:lnTo>
                    <a:pt x="1390" y="758"/>
                  </a:lnTo>
                  <a:lnTo>
                    <a:pt x="1394" y="757"/>
                  </a:lnTo>
                  <a:lnTo>
                    <a:pt x="1399" y="756"/>
                  </a:lnTo>
                  <a:lnTo>
                    <a:pt x="1403" y="760"/>
                  </a:lnTo>
                  <a:lnTo>
                    <a:pt x="1408" y="765"/>
                  </a:lnTo>
                  <a:lnTo>
                    <a:pt x="1411" y="766"/>
                  </a:lnTo>
                  <a:lnTo>
                    <a:pt x="1416" y="768"/>
                  </a:lnTo>
                  <a:lnTo>
                    <a:pt x="1424" y="770"/>
                  </a:lnTo>
                  <a:lnTo>
                    <a:pt x="1421" y="773"/>
                  </a:lnTo>
                  <a:lnTo>
                    <a:pt x="1417" y="776"/>
                  </a:lnTo>
                  <a:lnTo>
                    <a:pt x="1414" y="781"/>
                  </a:lnTo>
                  <a:lnTo>
                    <a:pt x="1412" y="781"/>
                  </a:lnTo>
                  <a:lnTo>
                    <a:pt x="1408" y="782"/>
                  </a:lnTo>
                  <a:lnTo>
                    <a:pt x="1411" y="786"/>
                  </a:lnTo>
                  <a:lnTo>
                    <a:pt x="1414" y="782"/>
                  </a:lnTo>
                  <a:lnTo>
                    <a:pt x="1417" y="781"/>
                  </a:lnTo>
                  <a:lnTo>
                    <a:pt x="1419" y="782"/>
                  </a:lnTo>
                  <a:lnTo>
                    <a:pt x="1418" y="778"/>
                  </a:lnTo>
                  <a:lnTo>
                    <a:pt x="1419" y="777"/>
                  </a:lnTo>
                  <a:lnTo>
                    <a:pt x="1421" y="778"/>
                  </a:lnTo>
                  <a:lnTo>
                    <a:pt x="1422" y="779"/>
                  </a:lnTo>
                  <a:lnTo>
                    <a:pt x="1423" y="782"/>
                  </a:lnTo>
                  <a:lnTo>
                    <a:pt x="1422" y="783"/>
                  </a:lnTo>
                  <a:lnTo>
                    <a:pt x="1423" y="786"/>
                  </a:lnTo>
                  <a:lnTo>
                    <a:pt x="1423" y="787"/>
                  </a:lnTo>
                  <a:lnTo>
                    <a:pt x="1424" y="789"/>
                  </a:lnTo>
                  <a:lnTo>
                    <a:pt x="1424" y="792"/>
                  </a:lnTo>
                  <a:lnTo>
                    <a:pt x="1423" y="793"/>
                  </a:lnTo>
                  <a:lnTo>
                    <a:pt x="1421" y="789"/>
                  </a:lnTo>
                  <a:lnTo>
                    <a:pt x="1419" y="787"/>
                  </a:lnTo>
                  <a:lnTo>
                    <a:pt x="1419" y="792"/>
                  </a:lnTo>
                  <a:lnTo>
                    <a:pt x="1417" y="792"/>
                  </a:lnTo>
                  <a:lnTo>
                    <a:pt x="1416" y="789"/>
                  </a:lnTo>
                  <a:lnTo>
                    <a:pt x="1416" y="792"/>
                  </a:lnTo>
                  <a:lnTo>
                    <a:pt x="1416" y="792"/>
                  </a:lnTo>
                  <a:lnTo>
                    <a:pt x="1414" y="790"/>
                  </a:lnTo>
                  <a:lnTo>
                    <a:pt x="1414" y="789"/>
                  </a:lnTo>
                  <a:lnTo>
                    <a:pt x="1411" y="795"/>
                  </a:lnTo>
                  <a:lnTo>
                    <a:pt x="1414" y="795"/>
                  </a:lnTo>
                  <a:lnTo>
                    <a:pt x="1417" y="797"/>
                  </a:lnTo>
                  <a:lnTo>
                    <a:pt x="1419" y="799"/>
                  </a:lnTo>
                  <a:lnTo>
                    <a:pt x="1421" y="802"/>
                  </a:lnTo>
                  <a:lnTo>
                    <a:pt x="1418" y="800"/>
                  </a:lnTo>
                  <a:lnTo>
                    <a:pt x="1417" y="802"/>
                  </a:lnTo>
                  <a:lnTo>
                    <a:pt x="1419" y="803"/>
                  </a:lnTo>
                  <a:lnTo>
                    <a:pt x="1421" y="804"/>
                  </a:lnTo>
                  <a:lnTo>
                    <a:pt x="1421" y="805"/>
                  </a:lnTo>
                  <a:lnTo>
                    <a:pt x="1419" y="808"/>
                  </a:lnTo>
                  <a:lnTo>
                    <a:pt x="1416" y="808"/>
                  </a:lnTo>
                  <a:lnTo>
                    <a:pt x="1413" y="808"/>
                  </a:lnTo>
                  <a:lnTo>
                    <a:pt x="1410" y="805"/>
                  </a:lnTo>
                  <a:lnTo>
                    <a:pt x="1406" y="804"/>
                  </a:lnTo>
                  <a:lnTo>
                    <a:pt x="1408" y="806"/>
                  </a:lnTo>
                  <a:lnTo>
                    <a:pt x="1412" y="809"/>
                  </a:lnTo>
                  <a:lnTo>
                    <a:pt x="1413" y="809"/>
                  </a:lnTo>
                  <a:lnTo>
                    <a:pt x="1416" y="809"/>
                  </a:lnTo>
                  <a:lnTo>
                    <a:pt x="1417" y="810"/>
                  </a:lnTo>
                  <a:lnTo>
                    <a:pt x="1418" y="811"/>
                  </a:lnTo>
                  <a:lnTo>
                    <a:pt x="1421" y="814"/>
                  </a:lnTo>
                  <a:lnTo>
                    <a:pt x="1422" y="816"/>
                  </a:lnTo>
                  <a:lnTo>
                    <a:pt x="1423" y="819"/>
                  </a:lnTo>
                  <a:lnTo>
                    <a:pt x="1422" y="820"/>
                  </a:lnTo>
                  <a:lnTo>
                    <a:pt x="1419" y="822"/>
                  </a:lnTo>
                  <a:lnTo>
                    <a:pt x="1418" y="825"/>
                  </a:lnTo>
                  <a:lnTo>
                    <a:pt x="1418" y="826"/>
                  </a:lnTo>
                  <a:lnTo>
                    <a:pt x="1416" y="825"/>
                  </a:lnTo>
                  <a:lnTo>
                    <a:pt x="1414" y="822"/>
                  </a:lnTo>
                  <a:lnTo>
                    <a:pt x="1413" y="820"/>
                  </a:lnTo>
                  <a:lnTo>
                    <a:pt x="1411" y="819"/>
                  </a:lnTo>
                  <a:lnTo>
                    <a:pt x="1410" y="821"/>
                  </a:lnTo>
                  <a:lnTo>
                    <a:pt x="1408" y="821"/>
                  </a:lnTo>
                  <a:lnTo>
                    <a:pt x="1410" y="822"/>
                  </a:lnTo>
                  <a:lnTo>
                    <a:pt x="1410" y="825"/>
                  </a:lnTo>
                  <a:lnTo>
                    <a:pt x="1407" y="829"/>
                  </a:lnTo>
                  <a:lnTo>
                    <a:pt x="1406" y="831"/>
                  </a:lnTo>
                  <a:lnTo>
                    <a:pt x="1403" y="831"/>
                  </a:lnTo>
                  <a:lnTo>
                    <a:pt x="1400" y="831"/>
                  </a:lnTo>
                  <a:lnTo>
                    <a:pt x="1396" y="827"/>
                  </a:lnTo>
                  <a:lnTo>
                    <a:pt x="1399" y="830"/>
                  </a:lnTo>
                  <a:lnTo>
                    <a:pt x="1402" y="831"/>
                  </a:lnTo>
                  <a:lnTo>
                    <a:pt x="1405" y="833"/>
                  </a:lnTo>
                  <a:lnTo>
                    <a:pt x="1405" y="836"/>
                  </a:lnTo>
                  <a:lnTo>
                    <a:pt x="1405" y="840"/>
                  </a:lnTo>
                  <a:lnTo>
                    <a:pt x="1403" y="843"/>
                  </a:lnTo>
                  <a:lnTo>
                    <a:pt x="1403" y="847"/>
                  </a:lnTo>
                  <a:lnTo>
                    <a:pt x="1405" y="849"/>
                  </a:lnTo>
                  <a:lnTo>
                    <a:pt x="1403" y="852"/>
                  </a:lnTo>
                  <a:lnTo>
                    <a:pt x="1403" y="856"/>
                  </a:lnTo>
                  <a:lnTo>
                    <a:pt x="1402" y="858"/>
                  </a:lnTo>
                  <a:lnTo>
                    <a:pt x="1401" y="858"/>
                  </a:lnTo>
                  <a:lnTo>
                    <a:pt x="1401" y="857"/>
                  </a:lnTo>
                  <a:lnTo>
                    <a:pt x="1401" y="859"/>
                  </a:lnTo>
                  <a:lnTo>
                    <a:pt x="1395" y="854"/>
                  </a:lnTo>
                  <a:lnTo>
                    <a:pt x="1396" y="856"/>
                  </a:lnTo>
                  <a:lnTo>
                    <a:pt x="1399" y="859"/>
                  </a:lnTo>
                  <a:lnTo>
                    <a:pt x="1400" y="861"/>
                  </a:lnTo>
                  <a:lnTo>
                    <a:pt x="1399" y="862"/>
                  </a:lnTo>
                  <a:lnTo>
                    <a:pt x="1396" y="861"/>
                  </a:lnTo>
                  <a:lnTo>
                    <a:pt x="1397" y="863"/>
                  </a:lnTo>
                  <a:lnTo>
                    <a:pt x="1396" y="865"/>
                  </a:lnTo>
                  <a:lnTo>
                    <a:pt x="1392" y="868"/>
                  </a:lnTo>
                  <a:lnTo>
                    <a:pt x="1395" y="872"/>
                  </a:lnTo>
                  <a:lnTo>
                    <a:pt x="1396" y="877"/>
                  </a:lnTo>
                  <a:lnTo>
                    <a:pt x="1394" y="879"/>
                  </a:lnTo>
                  <a:lnTo>
                    <a:pt x="1389" y="879"/>
                  </a:lnTo>
                  <a:lnTo>
                    <a:pt x="1392" y="875"/>
                  </a:lnTo>
                  <a:lnTo>
                    <a:pt x="1391" y="872"/>
                  </a:lnTo>
                  <a:lnTo>
                    <a:pt x="1389" y="875"/>
                  </a:lnTo>
                  <a:lnTo>
                    <a:pt x="1386" y="873"/>
                  </a:lnTo>
                  <a:lnTo>
                    <a:pt x="1385" y="870"/>
                  </a:lnTo>
                  <a:lnTo>
                    <a:pt x="1383" y="872"/>
                  </a:lnTo>
                  <a:lnTo>
                    <a:pt x="1379" y="872"/>
                  </a:lnTo>
                  <a:lnTo>
                    <a:pt x="1381" y="874"/>
                  </a:lnTo>
                  <a:lnTo>
                    <a:pt x="1381" y="878"/>
                  </a:lnTo>
                  <a:lnTo>
                    <a:pt x="1385" y="878"/>
                  </a:lnTo>
                  <a:lnTo>
                    <a:pt x="1386" y="880"/>
                  </a:lnTo>
                  <a:lnTo>
                    <a:pt x="1387" y="881"/>
                  </a:lnTo>
                  <a:lnTo>
                    <a:pt x="1384" y="883"/>
                  </a:lnTo>
                  <a:lnTo>
                    <a:pt x="1385" y="885"/>
                  </a:lnTo>
                  <a:lnTo>
                    <a:pt x="1386" y="886"/>
                  </a:lnTo>
                  <a:lnTo>
                    <a:pt x="1389" y="886"/>
                  </a:lnTo>
                  <a:lnTo>
                    <a:pt x="1390" y="884"/>
                  </a:lnTo>
                  <a:lnTo>
                    <a:pt x="1391" y="886"/>
                  </a:lnTo>
                  <a:lnTo>
                    <a:pt x="1391" y="888"/>
                  </a:lnTo>
                  <a:lnTo>
                    <a:pt x="1387" y="889"/>
                  </a:lnTo>
                  <a:lnTo>
                    <a:pt x="1385" y="894"/>
                  </a:lnTo>
                  <a:lnTo>
                    <a:pt x="1383" y="899"/>
                  </a:lnTo>
                  <a:lnTo>
                    <a:pt x="1378" y="895"/>
                  </a:lnTo>
                  <a:lnTo>
                    <a:pt x="1371" y="892"/>
                  </a:lnTo>
                  <a:lnTo>
                    <a:pt x="1373" y="895"/>
                  </a:lnTo>
                  <a:lnTo>
                    <a:pt x="1375" y="897"/>
                  </a:lnTo>
                  <a:lnTo>
                    <a:pt x="1378" y="899"/>
                  </a:lnTo>
                  <a:lnTo>
                    <a:pt x="1380" y="899"/>
                  </a:lnTo>
                  <a:lnTo>
                    <a:pt x="1383" y="897"/>
                  </a:lnTo>
                  <a:lnTo>
                    <a:pt x="1385" y="897"/>
                  </a:lnTo>
                  <a:lnTo>
                    <a:pt x="1387" y="897"/>
                  </a:lnTo>
                  <a:lnTo>
                    <a:pt x="1389" y="899"/>
                  </a:lnTo>
                  <a:lnTo>
                    <a:pt x="1387" y="901"/>
                  </a:lnTo>
                  <a:lnTo>
                    <a:pt x="1387" y="902"/>
                  </a:lnTo>
                  <a:lnTo>
                    <a:pt x="1386" y="907"/>
                  </a:lnTo>
                  <a:lnTo>
                    <a:pt x="1387" y="911"/>
                  </a:lnTo>
                  <a:lnTo>
                    <a:pt x="1389" y="912"/>
                  </a:lnTo>
                  <a:lnTo>
                    <a:pt x="1391" y="915"/>
                  </a:lnTo>
                  <a:lnTo>
                    <a:pt x="1391" y="918"/>
                  </a:lnTo>
                  <a:lnTo>
                    <a:pt x="1390" y="916"/>
                  </a:lnTo>
                  <a:lnTo>
                    <a:pt x="1390" y="915"/>
                  </a:lnTo>
                  <a:lnTo>
                    <a:pt x="1389" y="916"/>
                  </a:lnTo>
                  <a:lnTo>
                    <a:pt x="1387" y="918"/>
                  </a:lnTo>
                  <a:lnTo>
                    <a:pt x="1385" y="915"/>
                  </a:lnTo>
                  <a:lnTo>
                    <a:pt x="1381" y="912"/>
                  </a:lnTo>
                  <a:lnTo>
                    <a:pt x="1380" y="915"/>
                  </a:lnTo>
                  <a:lnTo>
                    <a:pt x="1378" y="917"/>
                  </a:lnTo>
                  <a:lnTo>
                    <a:pt x="1381" y="920"/>
                  </a:lnTo>
                  <a:lnTo>
                    <a:pt x="1383" y="921"/>
                  </a:lnTo>
                  <a:lnTo>
                    <a:pt x="1384" y="922"/>
                  </a:lnTo>
                  <a:lnTo>
                    <a:pt x="1383" y="924"/>
                  </a:lnTo>
                  <a:lnTo>
                    <a:pt x="1380" y="924"/>
                  </a:lnTo>
                  <a:lnTo>
                    <a:pt x="1379" y="924"/>
                  </a:lnTo>
                  <a:lnTo>
                    <a:pt x="1379" y="924"/>
                  </a:lnTo>
                  <a:lnTo>
                    <a:pt x="1379" y="927"/>
                  </a:lnTo>
                  <a:lnTo>
                    <a:pt x="1378" y="924"/>
                  </a:lnTo>
                  <a:lnTo>
                    <a:pt x="1376" y="922"/>
                  </a:lnTo>
                  <a:lnTo>
                    <a:pt x="1374" y="922"/>
                  </a:lnTo>
                  <a:lnTo>
                    <a:pt x="1371" y="923"/>
                  </a:lnTo>
                  <a:lnTo>
                    <a:pt x="1374" y="924"/>
                  </a:lnTo>
                  <a:lnTo>
                    <a:pt x="1374" y="927"/>
                  </a:lnTo>
                  <a:lnTo>
                    <a:pt x="1375" y="929"/>
                  </a:lnTo>
                  <a:lnTo>
                    <a:pt x="1376" y="931"/>
                  </a:lnTo>
                  <a:lnTo>
                    <a:pt x="1375" y="933"/>
                  </a:lnTo>
                  <a:lnTo>
                    <a:pt x="1373" y="934"/>
                  </a:lnTo>
                  <a:lnTo>
                    <a:pt x="1370" y="934"/>
                  </a:lnTo>
                  <a:lnTo>
                    <a:pt x="1369" y="933"/>
                  </a:lnTo>
                  <a:lnTo>
                    <a:pt x="1368" y="934"/>
                  </a:lnTo>
                  <a:lnTo>
                    <a:pt x="1368" y="936"/>
                  </a:lnTo>
                  <a:lnTo>
                    <a:pt x="1370" y="937"/>
                  </a:lnTo>
                  <a:lnTo>
                    <a:pt x="1371" y="939"/>
                  </a:lnTo>
                  <a:lnTo>
                    <a:pt x="1371" y="942"/>
                  </a:lnTo>
                  <a:lnTo>
                    <a:pt x="1369" y="947"/>
                  </a:lnTo>
                  <a:lnTo>
                    <a:pt x="1364" y="942"/>
                  </a:lnTo>
                  <a:lnTo>
                    <a:pt x="1363" y="944"/>
                  </a:lnTo>
                  <a:lnTo>
                    <a:pt x="1360" y="945"/>
                  </a:lnTo>
                  <a:lnTo>
                    <a:pt x="1358" y="945"/>
                  </a:lnTo>
                  <a:lnTo>
                    <a:pt x="1357" y="943"/>
                  </a:lnTo>
                  <a:lnTo>
                    <a:pt x="1354" y="944"/>
                  </a:lnTo>
                  <a:lnTo>
                    <a:pt x="1352" y="945"/>
                  </a:lnTo>
                  <a:lnTo>
                    <a:pt x="1352" y="947"/>
                  </a:lnTo>
                  <a:lnTo>
                    <a:pt x="1352" y="948"/>
                  </a:lnTo>
                  <a:lnTo>
                    <a:pt x="1346" y="948"/>
                  </a:lnTo>
                  <a:lnTo>
                    <a:pt x="1349" y="950"/>
                  </a:lnTo>
                  <a:lnTo>
                    <a:pt x="1353" y="950"/>
                  </a:lnTo>
                  <a:lnTo>
                    <a:pt x="1354" y="953"/>
                  </a:lnTo>
                  <a:lnTo>
                    <a:pt x="1355" y="954"/>
                  </a:lnTo>
                  <a:lnTo>
                    <a:pt x="1354" y="955"/>
                  </a:lnTo>
                  <a:lnTo>
                    <a:pt x="1352" y="956"/>
                  </a:lnTo>
                  <a:lnTo>
                    <a:pt x="1351" y="959"/>
                  </a:lnTo>
                  <a:lnTo>
                    <a:pt x="1351" y="960"/>
                  </a:lnTo>
                  <a:lnTo>
                    <a:pt x="1349" y="963"/>
                  </a:lnTo>
                  <a:lnTo>
                    <a:pt x="1348" y="965"/>
                  </a:lnTo>
                  <a:lnTo>
                    <a:pt x="1348" y="961"/>
                  </a:lnTo>
                  <a:lnTo>
                    <a:pt x="1346" y="961"/>
                  </a:lnTo>
                  <a:lnTo>
                    <a:pt x="1346" y="966"/>
                  </a:lnTo>
                  <a:lnTo>
                    <a:pt x="1344" y="970"/>
                  </a:lnTo>
                  <a:lnTo>
                    <a:pt x="1343" y="967"/>
                  </a:lnTo>
                  <a:lnTo>
                    <a:pt x="1341" y="967"/>
                  </a:lnTo>
                  <a:lnTo>
                    <a:pt x="1338" y="969"/>
                  </a:lnTo>
                  <a:lnTo>
                    <a:pt x="1336" y="970"/>
                  </a:lnTo>
                  <a:lnTo>
                    <a:pt x="1335" y="972"/>
                  </a:lnTo>
                  <a:lnTo>
                    <a:pt x="1333" y="975"/>
                  </a:lnTo>
                  <a:lnTo>
                    <a:pt x="1332" y="977"/>
                  </a:lnTo>
                  <a:lnTo>
                    <a:pt x="1330" y="977"/>
                  </a:lnTo>
                  <a:lnTo>
                    <a:pt x="1328" y="976"/>
                  </a:lnTo>
                  <a:lnTo>
                    <a:pt x="1327" y="975"/>
                  </a:lnTo>
                  <a:lnTo>
                    <a:pt x="1326" y="976"/>
                  </a:lnTo>
                  <a:lnTo>
                    <a:pt x="1325" y="979"/>
                  </a:lnTo>
                  <a:lnTo>
                    <a:pt x="1325" y="982"/>
                  </a:lnTo>
                  <a:lnTo>
                    <a:pt x="1322" y="983"/>
                  </a:lnTo>
                  <a:lnTo>
                    <a:pt x="1317" y="985"/>
                  </a:lnTo>
                  <a:lnTo>
                    <a:pt x="1322" y="986"/>
                  </a:lnTo>
                  <a:lnTo>
                    <a:pt x="1323" y="987"/>
                  </a:lnTo>
                  <a:lnTo>
                    <a:pt x="1325" y="990"/>
                  </a:lnTo>
                  <a:lnTo>
                    <a:pt x="1322" y="988"/>
                  </a:lnTo>
                  <a:lnTo>
                    <a:pt x="1321" y="988"/>
                  </a:lnTo>
                  <a:lnTo>
                    <a:pt x="1321" y="990"/>
                  </a:lnTo>
                  <a:lnTo>
                    <a:pt x="1319" y="990"/>
                  </a:lnTo>
                  <a:lnTo>
                    <a:pt x="1319" y="992"/>
                  </a:lnTo>
                  <a:lnTo>
                    <a:pt x="1319" y="995"/>
                  </a:lnTo>
                  <a:lnTo>
                    <a:pt x="1317" y="997"/>
                  </a:lnTo>
                  <a:lnTo>
                    <a:pt x="1315" y="998"/>
                  </a:lnTo>
                  <a:lnTo>
                    <a:pt x="1310" y="999"/>
                  </a:lnTo>
                  <a:lnTo>
                    <a:pt x="1305" y="998"/>
                  </a:lnTo>
                  <a:lnTo>
                    <a:pt x="1305" y="999"/>
                  </a:lnTo>
                  <a:lnTo>
                    <a:pt x="1305" y="1002"/>
                  </a:lnTo>
                  <a:lnTo>
                    <a:pt x="1301" y="1003"/>
                  </a:lnTo>
                  <a:lnTo>
                    <a:pt x="1296" y="1002"/>
                  </a:lnTo>
                  <a:lnTo>
                    <a:pt x="1296" y="1001"/>
                  </a:lnTo>
                  <a:lnTo>
                    <a:pt x="1296" y="998"/>
                  </a:lnTo>
                  <a:lnTo>
                    <a:pt x="1295" y="999"/>
                  </a:lnTo>
                  <a:lnTo>
                    <a:pt x="1293" y="999"/>
                  </a:lnTo>
                  <a:lnTo>
                    <a:pt x="1288" y="998"/>
                  </a:lnTo>
                  <a:lnTo>
                    <a:pt x="1289" y="1001"/>
                  </a:lnTo>
                  <a:lnTo>
                    <a:pt x="1292" y="1002"/>
                  </a:lnTo>
                  <a:lnTo>
                    <a:pt x="1294" y="1004"/>
                  </a:lnTo>
                  <a:lnTo>
                    <a:pt x="1294" y="1007"/>
                  </a:lnTo>
                  <a:lnTo>
                    <a:pt x="1293" y="1008"/>
                  </a:lnTo>
                  <a:lnTo>
                    <a:pt x="1292" y="1008"/>
                  </a:lnTo>
                  <a:lnTo>
                    <a:pt x="1289" y="1007"/>
                  </a:lnTo>
                  <a:lnTo>
                    <a:pt x="1285" y="1004"/>
                  </a:lnTo>
                  <a:lnTo>
                    <a:pt x="1284" y="1003"/>
                  </a:lnTo>
                  <a:lnTo>
                    <a:pt x="1283" y="1001"/>
                  </a:lnTo>
                  <a:lnTo>
                    <a:pt x="1282" y="1003"/>
                  </a:lnTo>
                  <a:lnTo>
                    <a:pt x="1278" y="1004"/>
                  </a:lnTo>
                  <a:lnTo>
                    <a:pt x="1276" y="1006"/>
                  </a:lnTo>
                  <a:lnTo>
                    <a:pt x="1273" y="1006"/>
                  </a:lnTo>
                  <a:lnTo>
                    <a:pt x="1276" y="1007"/>
                  </a:lnTo>
                  <a:lnTo>
                    <a:pt x="1276" y="1008"/>
                  </a:lnTo>
                  <a:lnTo>
                    <a:pt x="1274" y="1009"/>
                  </a:lnTo>
                  <a:lnTo>
                    <a:pt x="1272" y="1011"/>
                  </a:lnTo>
                  <a:lnTo>
                    <a:pt x="1271" y="1009"/>
                  </a:lnTo>
                  <a:lnTo>
                    <a:pt x="1269" y="1007"/>
                  </a:lnTo>
                  <a:lnTo>
                    <a:pt x="1271" y="1003"/>
                  </a:lnTo>
                  <a:lnTo>
                    <a:pt x="1267" y="1004"/>
                  </a:lnTo>
                  <a:lnTo>
                    <a:pt x="1263" y="1007"/>
                  </a:lnTo>
                  <a:lnTo>
                    <a:pt x="1264" y="1008"/>
                  </a:lnTo>
                  <a:lnTo>
                    <a:pt x="1264" y="1009"/>
                  </a:lnTo>
                  <a:lnTo>
                    <a:pt x="1264" y="1012"/>
                  </a:lnTo>
                  <a:lnTo>
                    <a:pt x="1267" y="1013"/>
                  </a:lnTo>
                  <a:lnTo>
                    <a:pt x="1264" y="1014"/>
                  </a:lnTo>
                  <a:lnTo>
                    <a:pt x="1261" y="1012"/>
                  </a:lnTo>
                  <a:lnTo>
                    <a:pt x="1256" y="1011"/>
                  </a:lnTo>
                  <a:lnTo>
                    <a:pt x="1250" y="1011"/>
                  </a:lnTo>
                  <a:lnTo>
                    <a:pt x="1246" y="1014"/>
                  </a:lnTo>
                  <a:lnTo>
                    <a:pt x="1244" y="1009"/>
                  </a:lnTo>
                  <a:lnTo>
                    <a:pt x="1240" y="1004"/>
                  </a:lnTo>
                  <a:lnTo>
                    <a:pt x="1237" y="1001"/>
                  </a:lnTo>
                  <a:lnTo>
                    <a:pt x="1236" y="996"/>
                  </a:lnTo>
                  <a:lnTo>
                    <a:pt x="1236" y="998"/>
                  </a:lnTo>
                  <a:lnTo>
                    <a:pt x="1235" y="998"/>
                  </a:lnTo>
                  <a:lnTo>
                    <a:pt x="1235" y="997"/>
                  </a:lnTo>
                  <a:lnTo>
                    <a:pt x="1232" y="996"/>
                  </a:lnTo>
                  <a:lnTo>
                    <a:pt x="1236" y="993"/>
                  </a:lnTo>
                  <a:lnTo>
                    <a:pt x="1241" y="992"/>
                  </a:lnTo>
                  <a:lnTo>
                    <a:pt x="1239" y="992"/>
                  </a:lnTo>
                  <a:lnTo>
                    <a:pt x="1235" y="993"/>
                  </a:lnTo>
                  <a:lnTo>
                    <a:pt x="1232" y="993"/>
                  </a:lnTo>
                  <a:lnTo>
                    <a:pt x="1229" y="993"/>
                  </a:lnTo>
                  <a:lnTo>
                    <a:pt x="1231" y="996"/>
                  </a:lnTo>
                  <a:lnTo>
                    <a:pt x="1231" y="998"/>
                  </a:lnTo>
                  <a:lnTo>
                    <a:pt x="1229" y="999"/>
                  </a:lnTo>
                  <a:lnTo>
                    <a:pt x="1225" y="999"/>
                  </a:lnTo>
                  <a:lnTo>
                    <a:pt x="1226" y="999"/>
                  </a:lnTo>
                  <a:lnTo>
                    <a:pt x="1229" y="1001"/>
                  </a:lnTo>
                  <a:lnTo>
                    <a:pt x="1231" y="1003"/>
                  </a:lnTo>
                  <a:lnTo>
                    <a:pt x="1232" y="1004"/>
                  </a:lnTo>
                  <a:lnTo>
                    <a:pt x="1230" y="1004"/>
                  </a:lnTo>
                  <a:lnTo>
                    <a:pt x="1234" y="1007"/>
                  </a:lnTo>
                  <a:lnTo>
                    <a:pt x="1237" y="1012"/>
                  </a:lnTo>
                  <a:lnTo>
                    <a:pt x="1239" y="1018"/>
                  </a:lnTo>
                  <a:lnTo>
                    <a:pt x="1239" y="1022"/>
                  </a:lnTo>
                  <a:lnTo>
                    <a:pt x="1237" y="1023"/>
                  </a:lnTo>
                  <a:lnTo>
                    <a:pt x="1235" y="1023"/>
                  </a:lnTo>
                  <a:lnTo>
                    <a:pt x="1231" y="1019"/>
                  </a:lnTo>
                  <a:lnTo>
                    <a:pt x="1228" y="1014"/>
                  </a:lnTo>
                  <a:lnTo>
                    <a:pt x="1226" y="1012"/>
                  </a:lnTo>
                  <a:lnTo>
                    <a:pt x="1225" y="1011"/>
                  </a:lnTo>
                  <a:lnTo>
                    <a:pt x="1226" y="1014"/>
                  </a:lnTo>
                  <a:lnTo>
                    <a:pt x="1229" y="1018"/>
                  </a:lnTo>
                  <a:lnTo>
                    <a:pt x="1231" y="1020"/>
                  </a:lnTo>
                  <a:lnTo>
                    <a:pt x="1234" y="1024"/>
                  </a:lnTo>
                  <a:lnTo>
                    <a:pt x="1231" y="1025"/>
                  </a:lnTo>
                  <a:lnTo>
                    <a:pt x="1230" y="1028"/>
                  </a:lnTo>
                  <a:lnTo>
                    <a:pt x="1228" y="1025"/>
                  </a:lnTo>
                  <a:lnTo>
                    <a:pt x="1226" y="1023"/>
                  </a:lnTo>
                  <a:lnTo>
                    <a:pt x="1224" y="1024"/>
                  </a:lnTo>
                  <a:lnTo>
                    <a:pt x="1224" y="1028"/>
                  </a:lnTo>
                  <a:lnTo>
                    <a:pt x="1224" y="1031"/>
                  </a:lnTo>
                  <a:lnTo>
                    <a:pt x="1223" y="1034"/>
                  </a:lnTo>
                  <a:lnTo>
                    <a:pt x="1220" y="1031"/>
                  </a:lnTo>
                  <a:lnTo>
                    <a:pt x="1218" y="1031"/>
                  </a:lnTo>
                  <a:lnTo>
                    <a:pt x="1215" y="1034"/>
                  </a:lnTo>
                  <a:lnTo>
                    <a:pt x="1214" y="1036"/>
                  </a:lnTo>
                  <a:lnTo>
                    <a:pt x="1212" y="1036"/>
                  </a:lnTo>
                  <a:lnTo>
                    <a:pt x="1210" y="1035"/>
                  </a:lnTo>
                  <a:lnTo>
                    <a:pt x="1209" y="1033"/>
                  </a:lnTo>
                  <a:lnTo>
                    <a:pt x="1209" y="1030"/>
                  </a:lnTo>
                  <a:lnTo>
                    <a:pt x="1207" y="1030"/>
                  </a:lnTo>
                  <a:lnTo>
                    <a:pt x="1205" y="1028"/>
                  </a:lnTo>
                  <a:lnTo>
                    <a:pt x="1207" y="1033"/>
                  </a:lnTo>
                  <a:lnTo>
                    <a:pt x="1207" y="1035"/>
                  </a:lnTo>
                  <a:lnTo>
                    <a:pt x="1207" y="1038"/>
                  </a:lnTo>
                  <a:lnTo>
                    <a:pt x="1204" y="1039"/>
                  </a:lnTo>
                  <a:lnTo>
                    <a:pt x="1201" y="1038"/>
                  </a:lnTo>
                  <a:lnTo>
                    <a:pt x="1196" y="1035"/>
                  </a:lnTo>
                  <a:lnTo>
                    <a:pt x="1193" y="1034"/>
                  </a:lnTo>
                  <a:lnTo>
                    <a:pt x="1194" y="1036"/>
                  </a:lnTo>
                  <a:lnTo>
                    <a:pt x="1193" y="1038"/>
                  </a:lnTo>
                  <a:lnTo>
                    <a:pt x="1191" y="1038"/>
                  </a:lnTo>
                  <a:lnTo>
                    <a:pt x="1188" y="1036"/>
                  </a:lnTo>
                  <a:lnTo>
                    <a:pt x="1189" y="1038"/>
                  </a:lnTo>
                  <a:lnTo>
                    <a:pt x="1189" y="1040"/>
                  </a:lnTo>
                  <a:lnTo>
                    <a:pt x="1188" y="1042"/>
                  </a:lnTo>
                  <a:lnTo>
                    <a:pt x="1185" y="1045"/>
                  </a:lnTo>
                  <a:lnTo>
                    <a:pt x="1183" y="1045"/>
                  </a:lnTo>
                  <a:lnTo>
                    <a:pt x="1181" y="1042"/>
                  </a:lnTo>
                  <a:lnTo>
                    <a:pt x="1180" y="1046"/>
                  </a:lnTo>
                  <a:lnTo>
                    <a:pt x="1177" y="1047"/>
                  </a:lnTo>
                  <a:lnTo>
                    <a:pt x="1177" y="1046"/>
                  </a:lnTo>
                  <a:lnTo>
                    <a:pt x="1176" y="1046"/>
                  </a:lnTo>
                  <a:lnTo>
                    <a:pt x="1171" y="1047"/>
                  </a:lnTo>
                  <a:lnTo>
                    <a:pt x="1165" y="1049"/>
                  </a:lnTo>
                  <a:lnTo>
                    <a:pt x="1160" y="1052"/>
                  </a:lnTo>
                  <a:lnTo>
                    <a:pt x="1162" y="1047"/>
                  </a:lnTo>
                  <a:lnTo>
                    <a:pt x="1160" y="1051"/>
                  </a:lnTo>
                  <a:lnTo>
                    <a:pt x="1160" y="1052"/>
                  </a:lnTo>
                  <a:lnTo>
                    <a:pt x="1160" y="1055"/>
                  </a:lnTo>
                  <a:lnTo>
                    <a:pt x="1157" y="1055"/>
                  </a:lnTo>
                  <a:lnTo>
                    <a:pt x="1156" y="1054"/>
                  </a:lnTo>
                  <a:lnTo>
                    <a:pt x="1155" y="1051"/>
                  </a:lnTo>
                  <a:lnTo>
                    <a:pt x="1153" y="1050"/>
                  </a:lnTo>
                  <a:lnTo>
                    <a:pt x="1153" y="1052"/>
                  </a:lnTo>
                  <a:lnTo>
                    <a:pt x="1154" y="1054"/>
                  </a:lnTo>
                  <a:lnTo>
                    <a:pt x="1154" y="1056"/>
                  </a:lnTo>
                  <a:lnTo>
                    <a:pt x="1153" y="1057"/>
                  </a:lnTo>
                  <a:lnTo>
                    <a:pt x="1149" y="1061"/>
                  </a:lnTo>
                  <a:lnTo>
                    <a:pt x="1148" y="1063"/>
                  </a:lnTo>
                  <a:lnTo>
                    <a:pt x="1149" y="1065"/>
                  </a:lnTo>
                  <a:lnTo>
                    <a:pt x="1151" y="1067"/>
                  </a:lnTo>
                  <a:lnTo>
                    <a:pt x="1154" y="1068"/>
                  </a:lnTo>
                  <a:lnTo>
                    <a:pt x="1155" y="1070"/>
                  </a:lnTo>
                  <a:lnTo>
                    <a:pt x="1156" y="1071"/>
                  </a:lnTo>
                  <a:lnTo>
                    <a:pt x="1155" y="1071"/>
                  </a:lnTo>
                  <a:lnTo>
                    <a:pt x="1154" y="1068"/>
                  </a:lnTo>
                  <a:lnTo>
                    <a:pt x="1155" y="1072"/>
                  </a:lnTo>
                  <a:lnTo>
                    <a:pt x="1157" y="1074"/>
                  </a:lnTo>
                  <a:lnTo>
                    <a:pt x="1160" y="1077"/>
                  </a:lnTo>
                  <a:lnTo>
                    <a:pt x="1161" y="1081"/>
                  </a:lnTo>
                  <a:lnTo>
                    <a:pt x="1159" y="1084"/>
                  </a:lnTo>
                  <a:lnTo>
                    <a:pt x="1154" y="1085"/>
                  </a:lnTo>
                  <a:lnTo>
                    <a:pt x="1149" y="1087"/>
                  </a:lnTo>
                  <a:lnTo>
                    <a:pt x="1145" y="1087"/>
                  </a:lnTo>
                  <a:lnTo>
                    <a:pt x="1144" y="1084"/>
                  </a:lnTo>
                  <a:lnTo>
                    <a:pt x="1144" y="1083"/>
                  </a:lnTo>
                  <a:lnTo>
                    <a:pt x="1144" y="1082"/>
                  </a:lnTo>
                  <a:lnTo>
                    <a:pt x="1146" y="1082"/>
                  </a:lnTo>
                  <a:lnTo>
                    <a:pt x="1145" y="1079"/>
                  </a:lnTo>
                  <a:lnTo>
                    <a:pt x="1141" y="1078"/>
                  </a:lnTo>
                  <a:lnTo>
                    <a:pt x="1140" y="1076"/>
                  </a:lnTo>
                  <a:lnTo>
                    <a:pt x="1140" y="1072"/>
                  </a:lnTo>
                  <a:lnTo>
                    <a:pt x="1139" y="1072"/>
                  </a:lnTo>
                  <a:lnTo>
                    <a:pt x="1138" y="1070"/>
                  </a:lnTo>
                  <a:lnTo>
                    <a:pt x="1138" y="1068"/>
                  </a:lnTo>
                  <a:lnTo>
                    <a:pt x="1135" y="1067"/>
                  </a:lnTo>
                  <a:lnTo>
                    <a:pt x="1134" y="1066"/>
                  </a:lnTo>
                  <a:lnTo>
                    <a:pt x="1134" y="1062"/>
                  </a:lnTo>
                  <a:lnTo>
                    <a:pt x="1134" y="1060"/>
                  </a:lnTo>
                  <a:lnTo>
                    <a:pt x="1134" y="1057"/>
                  </a:lnTo>
                  <a:lnTo>
                    <a:pt x="1135" y="1056"/>
                  </a:lnTo>
                  <a:lnTo>
                    <a:pt x="1135" y="1054"/>
                  </a:lnTo>
                  <a:lnTo>
                    <a:pt x="1137" y="1052"/>
                  </a:lnTo>
                  <a:lnTo>
                    <a:pt x="1138" y="1050"/>
                  </a:lnTo>
                  <a:lnTo>
                    <a:pt x="1139" y="1049"/>
                  </a:lnTo>
                  <a:lnTo>
                    <a:pt x="1139" y="1049"/>
                  </a:lnTo>
                  <a:lnTo>
                    <a:pt x="1138" y="1046"/>
                  </a:lnTo>
                  <a:lnTo>
                    <a:pt x="1135" y="1045"/>
                  </a:lnTo>
                  <a:lnTo>
                    <a:pt x="1133" y="1042"/>
                  </a:lnTo>
                  <a:lnTo>
                    <a:pt x="1134" y="1046"/>
                  </a:lnTo>
                  <a:lnTo>
                    <a:pt x="1132" y="1045"/>
                  </a:lnTo>
                  <a:lnTo>
                    <a:pt x="1129" y="1044"/>
                  </a:lnTo>
                  <a:lnTo>
                    <a:pt x="1128" y="1040"/>
                  </a:lnTo>
                  <a:lnTo>
                    <a:pt x="1127" y="1038"/>
                  </a:lnTo>
                  <a:lnTo>
                    <a:pt x="1126" y="1041"/>
                  </a:lnTo>
                  <a:lnTo>
                    <a:pt x="1128" y="1044"/>
                  </a:lnTo>
                  <a:lnTo>
                    <a:pt x="1127" y="1045"/>
                  </a:lnTo>
                  <a:lnTo>
                    <a:pt x="1124" y="1047"/>
                  </a:lnTo>
                  <a:lnTo>
                    <a:pt x="1121" y="1047"/>
                  </a:lnTo>
                  <a:lnTo>
                    <a:pt x="1119" y="1046"/>
                  </a:lnTo>
                  <a:lnTo>
                    <a:pt x="1118" y="1049"/>
                  </a:lnTo>
                  <a:lnTo>
                    <a:pt x="1117" y="1049"/>
                  </a:lnTo>
                  <a:lnTo>
                    <a:pt x="1116" y="1047"/>
                  </a:lnTo>
                  <a:lnTo>
                    <a:pt x="1114" y="1044"/>
                  </a:lnTo>
                  <a:lnTo>
                    <a:pt x="1113" y="1041"/>
                  </a:lnTo>
                  <a:lnTo>
                    <a:pt x="1111" y="1041"/>
                  </a:lnTo>
                  <a:lnTo>
                    <a:pt x="1108" y="1040"/>
                  </a:lnTo>
                  <a:lnTo>
                    <a:pt x="1107" y="1040"/>
                  </a:lnTo>
                  <a:lnTo>
                    <a:pt x="1108" y="1036"/>
                  </a:lnTo>
                  <a:lnTo>
                    <a:pt x="1106" y="1036"/>
                  </a:lnTo>
                  <a:lnTo>
                    <a:pt x="1106" y="1039"/>
                  </a:lnTo>
                  <a:lnTo>
                    <a:pt x="1107" y="1041"/>
                  </a:lnTo>
                  <a:lnTo>
                    <a:pt x="1105" y="1040"/>
                  </a:lnTo>
                  <a:lnTo>
                    <a:pt x="1103" y="1038"/>
                  </a:lnTo>
                  <a:lnTo>
                    <a:pt x="1101" y="1036"/>
                  </a:lnTo>
                  <a:lnTo>
                    <a:pt x="1098" y="1035"/>
                  </a:lnTo>
                  <a:lnTo>
                    <a:pt x="1100" y="1033"/>
                  </a:lnTo>
                  <a:lnTo>
                    <a:pt x="1097" y="1031"/>
                  </a:lnTo>
                  <a:lnTo>
                    <a:pt x="1096" y="1034"/>
                  </a:lnTo>
                  <a:lnTo>
                    <a:pt x="1096" y="1034"/>
                  </a:lnTo>
                  <a:lnTo>
                    <a:pt x="1095" y="1031"/>
                  </a:lnTo>
                  <a:lnTo>
                    <a:pt x="1096" y="1035"/>
                  </a:lnTo>
                  <a:lnTo>
                    <a:pt x="1097" y="1038"/>
                  </a:lnTo>
                  <a:lnTo>
                    <a:pt x="1098" y="1040"/>
                  </a:lnTo>
                  <a:lnTo>
                    <a:pt x="1098" y="1042"/>
                  </a:lnTo>
                  <a:lnTo>
                    <a:pt x="1097" y="1042"/>
                  </a:lnTo>
                  <a:lnTo>
                    <a:pt x="1095" y="1042"/>
                  </a:lnTo>
                  <a:lnTo>
                    <a:pt x="1094" y="1040"/>
                  </a:lnTo>
                  <a:lnTo>
                    <a:pt x="1091" y="1040"/>
                  </a:lnTo>
                  <a:lnTo>
                    <a:pt x="1092" y="1044"/>
                  </a:lnTo>
                  <a:lnTo>
                    <a:pt x="1090" y="1046"/>
                  </a:lnTo>
                  <a:lnTo>
                    <a:pt x="1089" y="1044"/>
                  </a:lnTo>
                  <a:lnTo>
                    <a:pt x="1086" y="1042"/>
                  </a:lnTo>
                  <a:lnTo>
                    <a:pt x="1082" y="1042"/>
                  </a:lnTo>
                  <a:lnTo>
                    <a:pt x="1080" y="1041"/>
                  </a:lnTo>
                  <a:lnTo>
                    <a:pt x="1075" y="1041"/>
                  </a:lnTo>
                  <a:lnTo>
                    <a:pt x="1071" y="1042"/>
                  </a:lnTo>
                  <a:lnTo>
                    <a:pt x="1069" y="1042"/>
                  </a:lnTo>
                  <a:lnTo>
                    <a:pt x="1068" y="1040"/>
                  </a:lnTo>
                  <a:lnTo>
                    <a:pt x="1065" y="1042"/>
                  </a:lnTo>
                  <a:lnTo>
                    <a:pt x="1063" y="1040"/>
                  </a:lnTo>
                  <a:lnTo>
                    <a:pt x="1060" y="1039"/>
                  </a:lnTo>
                  <a:lnTo>
                    <a:pt x="1055" y="1036"/>
                  </a:lnTo>
                  <a:lnTo>
                    <a:pt x="1054" y="1035"/>
                  </a:lnTo>
                  <a:lnTo>
                    <a:pt x="1054" y="1033"/>
                  </a:lnTo>
                  <a:lnTo>
                    <a:pt x="1053" y="1031"/>
                  </a:lnTo>
                  <a:lnTo>
                    <a:pt x="1050" y="1030"/>
                  </a:lnTo>
                  <a:lnTo>
                    <a:pt x="1048" y="1029"/>
                  </a:lnTo>
                  <a:lnTo>
                    <a:pt x="1044" y="1030"/>
                  </a:lnTo>
                  <a:lnTo>
                    <a:pt x="1041" y="1020"/>
                  </a:lnTo>
                  <a:lnTo>
                    <a:pt x="1038" y="1015"/>
                  </a:lnTo>
                  <a:lnTo>
                    <a:pt x="1038" y="1009"/>
                  </a:lnTo>
                  <a:lnTo>
                    <a:pt x="1041" y="1009"/>
                  </a:lnTo>
                  <a:lnTo>
                    <a:pt x="1042" y="1008"/>
                  </a:lnTo>
                  <a:lnTo>
                    <a:pt x="1041" y="1004"/>
                  </a:lnTo>
                  <a:lnTo>
                    <a:pt x="1038" y="1001"/>
                  </a:lnTo>
                  <a:lnTo>
                    <a:pt x="1036" y="999"/>
                  </a:lnTo>
                  <a:lnTo>
                    <a:pt x="1032" y="1001"/>
                  </a:lnTo>
                  <a:lnTo>
                    <a:pt x="1030" y="1001"/>
                  </a:lnTo>
                  <a:lnTo>
                    <a:pt x="1027" y="1001"/>
                  </a:lnTo>
                  <a:lnTo>
                    <a:pt x="1023" y="997"/>
                  </a:lnTo>
                  <a:lnTo>
                    <a:pt x="1021" y="997"/>
                  </a:lnTo>
                  <a:lnTo>
                    <a:pt x="1020" y="997"/>
                  </a:lnTo>
                  <a:lnTo>
                    <a:pt x="1017" y="998"/>
                  </a:lnTo>
                  <a:lnTo>
                    <a:pt x="1014" y="997"/>
                  </a:lnTo>
                  <a:lnTo>
                    <a:pt x="1009" y="995"/>
                  </a:lnTo>
                  <a:lnTo>
                    <a:pt x="1005" y="992"/>
                  </a:lnTo>
                  <a:lnTo>
                    <a:pt x="998" y="983"/>
                  </a:lnTo>
                  <a:lnTo>
                    <a:pt x="996" y="986"/>
                  </a:lnTo>
                  <a:lnTo>
                    <a:pt x="993" y="988"/>
                  </a:lnTo>
                  <a:lnTo>
                    <a:pt x="987" y="992"/>
                  </a:lnTo>
                  <a:lnTo>
                    <a:pt x="987" y="993"/>
                  </a:lnTo>
                  <a:lnTo>
                    <a:pt x="987" y="996"/>
                  </a:lnTo>
                  <a:lnTo>
                    <a:pt x="987" y="998"/>
                  </a:lnTo>
                  <a:lnTo>
                    <a:pt x="985" y="1001"/>
                  </a:lnTo>
                  <a:lnTo>
                    <a:pt x="983" y="1003"/>
                  </a:lnTo>
                  <a:lnTo>
                    <a:pt x="977" y="1004"/>
                  </a:lnTo>
                  <a:lnTo>
                    <a:pt x="972" y="1006"/>
                  </a:lnTo>
                  <a:lnTo>
                    <a:pt x="971" y="1004"/>
                  </a:lnTo>
                  <a:lnTo>
                    <a:pt x="971" y="1002"/>
                  </a:lnTo>
                  <a:lnTo>
                    <a:pt x="968" y="1003"/>
                  </a:lnTo>
                  <a:lnTo>
                    <a:pt x="966" y="1008"/>
                  </a:lnTo>
                  <a:lnTo>
                    <a:pt x="964" y="1012"/>
                  </a:lnTo>
                  <a:lnTo>
                    <a:pt x="963" y="1013"/>
                  </a:lnTo>
                  <a:lnTo>
                    <a:pt x="959" y="1009"/>
                  </a:lnTo>
                  <a:lnTo>
                    <a:pt x="956" y="1007"/>
                  </a:lnTo>
                  <a:lnTo>
                    <a:pt x="953" y="1004"/>
                  </a:lnTo>
                  <a:lnTo>
                    <a:pt x="952" y="1006"/>
                  </a:lnTo>
                  <a:lnTo>
                    <a:pt x="952" y="1008"/>
                  </a:lnTo>
                  <a:lnTo>
                    <a:pt x="951" y="1011"/>
                  </a:lnTo>
                  <a:lnTo>
                    <a:pt x="947" y="1007"/>
                  </a:lnTo>
                  <a:lnTo>
                    <a:pt x="945" y="1006"/>
                  </a:lnTo>
                  <a:lnTo>
                    <a:pt x="944" y="1007"/>
                  </a:lnTo>
                  <a:lnTo>
                    <a:pt x="940" y="1011"/>
                  </a:lnTo>
                  <a:lnTo>
                    <a:pt x="939" y="1013"/>
                  </a:lnTo>
                  <a:lnTo>
                    <a:pt x="937" y="1013"/>
                  </a:lnTo>
                  <a:lnTo>
                    <a:pt x="934" y="1013"/>
                  </a:lnTo>
                  <a:lnTo>
                    <a:pt x="930" y="1009"/>
                  </a:lnTo>
                  <a:lnTo>
                    <a:pt x="928" y="1007"/>
                  </a:lnTo>
                  <a:lnTo>
                    <a:pt x="925" y="1006"/>
                  </a:lnTo>
                  <a:lnTo>
                    <a:pt x="923" y="1004"/>
                  </a:lnTo>
                  <a:lnTo>
                    <a:pt x="920" y="1007"/>
                  </a:lnTo>
                  <a:lnTo>
                    <a:pt x="918" y="1011"/>
                  </a:lnTo>
                  <a:lnTo>
                    <a:pt x="915" y="1015"/>
                  </a:lnTo>
                  <a:lnTo>
                    <a:pt x="914" y="1017"/>
                  </a:lnTo>
                  <a:lnTo>
                    <a:pt x="913" y="1015"/>
                  </a:lnTo>
                  <a:lnTo>
                    <a:pt x="910" y="1015"/>
                  </a:lnTo>
                  <a:lnTo>
                    <a:pt x="909" y="1014"/>
                  </a:lnTo>
                  <a:lnTo>
                    <a:pt x="904" y="1015"/>
                  </a:lnTo>
                  <a:lnTo>
                    <a:pt x="903" y="1015"/>
                  </a:lnTo>
                  <a:lnTo>
                    <a:pt x="903" y="1014"/>
                  </a:lnTo>
                  <a:lnTo>
                    <a:pt x="902" y="1013"/>
                  </a:lnTo>
                  <a:lnTo>
                    <a:pt x="899" y="1013"/>
                  </a:lnTo>
                  <a:lnTo>
                    <a:pt x="898" y="1015"/>
                  </a:lnTo>
                  <a:lnTo>
                    <a:pt x="897" y="1020"/>
                  </a:lnTo>
                  <a:lnTo>
                    <a:pt x="898" y="1025"/>
                  </a:lnTo>
                  <a:lnTo>
                    <a:pt x="899" y="1029"/>
                  </a:lnTo>
                  <a:lnTo>
                    <a:pt x="903" y="1034"/>
                  </a:lnTo>
                  <a:lnTo>
                    <a:pt x="905" y="1039"/>
                  </a:lnTo>
                  <a:lnTo>
                    <a:pt x="907" y="1042"/>
                  </a:lnTo>
                  <a:lnTo>
                    <a:pt x="907" y="1045"/>
                  </a:lnTo>
                  <a:lnTo>
                    <a:pt x="905" y="1047"/>
                  </a:lnTo>
                  <a:lnTo>
                    <a:pt x="907" y="1050"/>
                  </a:lnTo>
                  <a:lnTo>
                    <a:pt x="908" y="1052"/>
                  </a:lnTo>
                  <a:lnTo>
                    <a:pt x="909" y="1055"/>
                  </a:lnTo>
                  <a:lnTo>
                    <a:pt x="908" y="1056"/>
                  </a:lnTo>
                  <a:lnTo>
                    <a:pt x="907" y="1057"/>
                  </a:lnTo>
                  <a:lnTo>
                    <a:pt x="904" y="1056"/>
                  </a:lnTo>
                  <a:lnTo>
                    <a:pt x="902" y="1055"/>
                  </a:lnTo>
                  <a:lnTo>
                    <a:pt x="899" y="1055"/>
                  </a:lnTo>
                  <a:lnTo>
                    <a:pt x="896" y="1055"/>
                  </a:lnTo>
                  <a:lnTo>
                    <a:pt x="894" y="1055"/>
                  </a:lnTo>
                  <a:lnTo>
                    <a:pt x="893" y="1054"/>
                  </a:lnTo>
                  <a:lnTo>
                    <a:pt x="891" y="1051"/>
                  </a:lnTo>
                  <a:lnTo>
                    <a:pt x="888" y="1044"/>
                  </a:lnTo>
                  <a:lnTo>
                    <a:pt x="886" y="1036"/>
                  </a:lnTo>
                  <a:lnTo>
                    <a:pt x="882" y="1040"/>
                  </a:lnTo>
                  <a:lnTo>
                    <a:pt x="877" y="1044"/>
                  </a:lnTo>
                  <a:lnTo>
                    <a:pt x="872" y="1046"/>
                  </a:lnTo>
                  <a:lnTo>
                    <a:pt x="870" y="1046"/>
                  </a:lnTo>
                  <a:lnTo>
                    <a:pt x="867" y="1046"/>
                  </a:lnTo>
                  <a:lnTo>
                    <a:pt x="866" y="1045"/>
                  </a:lnTo>
                  <a:lnTo>
                    <a:pt x="864" y="1046"/>
                  </a:lnTo>
                  <a:lnTo>
                    <a:pt x="862" y="1047"/>
                  </a:lnTo>
                  <a:lnTo>
                    <a:pt x="861" y="1047"/>
                  </a:lnTo>
                  <a:lnTo>
                    <a:pt x="860" y="1046"/>
                  </a:lnTo>
                  <a:lnTo>
                    <a:pt x="859" y="1045"/>
                  </a:lnTo>
                  <a:lnTo>
                    <a:pt x="859" y="1041"/>
                  </a:lnTo>
                  <a:lnTo>
                    <a:pt x="859" y="1040"/>
                  </a:lnTo>
                  <a:lnTo>
                    <a:pt x="856" y="1040"/>
                  </a:lnTo>
                  <a:lnTo>
                    <a:pt x="855" y="1039"/>
                  </a:lnTo>
                  <a:lnTo>
                    <a:pt x="854" y="1035"/>
                  </a:lnTo>
                  <a:lnTo>
                    <a:pt x="854" y="1031"/>
                  </a:lnTo>
                  <a:lnTo>
                    <a:pt x="851" y="1028"/>
                  </a:lnTo>
                  <a:lnTo>
                    <a:pt x="843" y="1025"/>
                  </a:lnTo>
                  <a:lnTo>
                    <a:pt x="833" y="1026"/>
                  </a:lnTo>
                  <a:lnTo>
                    <a:pt x="832" y="1026"/>
                  </a:lnTo>
                  <a:lnTo>
                    <a:pt x="830" y="1025"/>
                  </a:lnTo>
                  <a:lnTo>
                    <a:pt x="829" y="1022"/>
                  </a:lnTo>
                  <a:lnTo>
                    <a:pt x="832" y="1017"/>
                  </a:lnTo>
                  <a:lnTo>
                    <a:pt x="832" y="1014"/>
                  </a:lnTo>
                  <a:lnTo>
                    <a:pt x="832" y="1009"/>
                  </a:lnTo>
                  <a:lnTo>
                    <a:pt x="832" y="1004"/>
                  </a:lnTo>
                  <a:lnTo>
                    <a:pt x="832" y="1001"/>
                  </a:lnTo>
                  <a:lnTo>
                    <a:pt x="835" y="999"/>
                  </a:lnTo>
                  <a:lnTo>
                    <a:pt x="834" y="996"/>
                  </a:lnTo>
                  <a:lnTo>
                    <a:pt x="832" y="993"/>
                  </a:lnTo>
                  <a:lnTo>
                    <a:pt x="824" y="993"/>
                  </a:lnTo>
                  <a:lnTo>
                    <a:pt x="821" y="992"/>
                  </a:lnTo>
                  <a:lnTo>
                    <a:pt x="818" y="990"/>
                  </a:lnTo>
                  <a:lnTo>
                    <a:pt x="817" y="986"/>
                  </a:lnTo>
                  <a:lnTo>
                    <a:pt x="814" y="982"/>
                  </a:lnTo>
                  <a:lnTo>
                    <a:pt x="813" y="980"/>
                  </a:lnTo>
                  <a:lnTo>
                    <a:pt x="812" y="979"/>
                  </a:lnTo>
                  <a:lnTo>
                    <a:pt x="813" y="976"/>
                  </a:lnTo>
                  <a:lnTo>
                    <a:pt x="812" y="974"/>
                  </a:lnTo>
                  <a:lnTo>
                    <a:pt x="809" y="971"/>
                  </a:lnTo>
                  <a:lnTo>
                    <a:pt x="808" y="969"/>
                  </a:lnTo>
                  <a:lnTo>
                    <a:pt x="807" y="966"/>
                  </a:lnTo>
                  <a:lnTo>
                    <a:pt x="809" y="964"/>
                  </a:lnTo>
                  <a:lnTo>
                    <a:pt x="811" y="961"/>
                  </a:lnTo>
                  <a:lnTo>
                    <a:pt x="811" y="958"/>
                  </a:lnTo>
                  <a:lnTo>
                    <a:pt x="806" y="960"/>
                  </a:lnTo>
                  <a:lnTo>
                    <a:pt x="800" y="960"/>
                  </a:lnTo>
                  <a:lnTo>
                    <a:pt x="795" y="959"/>
                  </a:lnTo>
                  <a:lnTo>
                    <a:pt x="789" y="960"/>
                  </a:lnTo>
                  <a:lnTo>
                    <a:pt x="786" y="963"/>
                  </a:lnTo>
                  <a:lnTo>
                    <a:pt x="782" y="965"/>
                  </a:lnTo>
                  <a:lnTo>
                    <a:pt x="779" y="967"/>
                  </a:lnTo>
                  <a:lnTo>
                    <a:pt x="776" y="967"/>
                  </a:lnTo>
                  <a:lnTo>
                    <a:pt x="775" y="965"/>
                  </a:lnTo>
                  <a:lnTo>
                    <a:pt x="775" y="964"/>
                  </a:lnTo>
                  <a:lnTo>
                    <a:pt x="777" y="959"/>
                  </a:lnTo>
                  <a:lnTo>
                    <a:pt x="777" y="954"/>
                  </a:lnTo>
                  <a:lnTo>
                    <a:pt x="775" y="950"/>
                  </a:lnTo>
                  <a:lnTo>
                    <a:pt x="774" y="948"/>
                  </a:lnTo>
                  <a:lnTo>
                    <a:pt x="773" y="947"/>
                  </a:lnTo>
                  <a:lnTo>
                    <a:pt x="771" y="945"/>
                  </a:lnTo>
                  <a:lnTo>
                    <a:pt x="771" y="942"/>
                  </a:lnTo>
                  <a:lnTo>
                    <a:pt x="771" y="938"/>
                  </a:lnTo>
                  <a:lnTo>
                    <a:pt x="776" y="936"/>
                  </a:lnTo>
                  <a:lnTo>
                    <a:pt x="775" y="932"/>
                  </a:lnTo>
                  <a:lnTo>
                    <a:pt x="775" y="929"/>
                  </a:lnTo>
                  <a:lnTo>
                    <a:pt x="775" y="922"/>
                  </a:lnTo>
                  <a:lnTo>
                    <a:pt x="777" y="923"/>
                  </a:lnTo>
                  <a:lnTo>
                    <a:pt x="779" y="923"/>
                  </a:lnTo>
                  <a:lnTo>
                    <a:pt x="781" y="920"/>
                  </a:lnTo>
                  <a:lnTo>
                    <a:pt x="782" y="915"/>
                  </a:lnTo>
                  <a:lnTo>
                    <a:pt x="782" y="912"/>
                  </a:lnTo>
                  <a:lnTo>
                    <a:pt x="782" y="911"/>
                  </a:lnTo>
                  <a:lnTo>
                    <a:pt x="785" y="911"/>
                  </a:lnTo>
                  <a:lnTo>
                    <a:pt x="787" y="911"/>
                  </a:lnTo>
                  <a:lnTo>
                    <a:pt x="789" y="908"/>
                  </a:lnTo>
                  <a:lnTo>
                    <a:pt x="789" y="906"/>
                  </a:lnTo>
                  <a:lnTo>
                    <a:pt x="791" y="902"/>
                  </a:lnTo>
                  <a:lnTo>
                    <a:pt x="793" y="902"/>
                  </a:lnTo>
                  <a:lnTo>
                    <a:pt x="796" y="904"/>
                  </a:lnTo>
                  <a:lnTo>
                    <a:pt x="796" y="902"/>
                  </a:lnTo>
                  <a:lnTo>
                    <a:pt x="796" y="900"/>
                  </a:lnTo>
                  <a:lnTo>
                    <a:pt x="795" y="897"/>
                  </a:lnTo>
                  <a:lnTo>
                    <a:pt x="792" y="896"/>
                  </a:lnTo>
                  <a:lnTo>
                    <a:pt x="791" y="894"/>
                  </a:lnTo>
                  <a:lnTo>
                    <a:pt x="793" y="894"/>
                  </a:lnTo>
                  <a:lnTo>
                    <a:pt x="795" y="890"/>
                  </a:lnTo>
                  <a:lnTo>
                    <a:pt x="795" y="886"/>
                  </a:lnTo>
                  <a:lnTo>
                    <a:pt x="793" y="883"/>
                  </a:lnTo>
                  <a:lnTo>
                    <a:pt x="793" y="874"/>
                  </a:lnTo>
                  <a:lnTo>
                    <a:pt x="791" y="864"/>
                  </a:lnTo>
                  <a:lnTo>
                    <a:pt x="789" y="857"/>
                  </a:lnTo>
                  <a:lnTo>
                    <a:pt x="786" y="851"/>
                  </a:lnTo>
                  <a:lnTo>
                    <a:pt x="782" y="846"/>
                  </a:lnTo>
                  <a:lnTo>
                    <a:pt x="776" y="842"/>
                  </a:lnTo>
                  <a:lnTo>
                    <a:pt x="777" y="845"/>
                  </a:lnTo>
                  <a:lnTo>
                    <a:pt x="775" y="846"/>
                  </a:lnTo>
                  <a:lnTo>
                    <a:pt x="771" y="841"/>
                  </a:lnTo>
                  <a:lnTo>
                    <a:pt x="768" y="833"/>
                  </a:lnTo>
                  <a:lnTo>
                    <a:pt x="766" y="829"/>
                  </a:lnTo>
                  <a:lnTo>
                    <a:pt x="764" y="825"/>
                  </a:lnTo>
                  <a:lnTo>
                    <a:pt x="754" y="819"/>
                  </a:lnTo>
                  <a:lnTo>
                    <a:pt x="750" y="816"/>
                  </a:lnTo>
                  <a:lnTo>
                    <a:pt x="747" y="814"/>
                  </a:lnTo>
                  <a:lnTo>
                    <a:pt x="746" y="819"/>
                  </a:lnTo>
                  <a:lnTo>
                    <a:pt x="744" y="821"/>
                  </a:lnTo>
                  <a:lnTo>
                    <a:pt x="744" y="824"/>
                  </a:lnTo>
                  <a:lnTo>
                    <a:pt x="743" y="825"/>
                  </a:lnTo>
                  <a:lnTo>
                    <a:pt x="742" y="825"/>
                  </a:lnTo>
                  <a:lnTo>
                    <a:pt x="742" y="824"/>
                  </a:lnTo>
                  <a:lnTo>
                    <a:pt x="739" y="821"/>
                  </a:lnTo>
                  <a:lnTo>
                    <a:pt x="738" y="820"/>
                  </a:lnTo>
                  <a:lnTo>
                    <a:pt x="736" y="820"/>
                  </a:lnTo>
                  <a:lnTo>
                    <a:pt x="733" y="820"/>
                  </a:lnTo>
                  <a:lnTo>
                    <a:pt x="731" y="820"/>
                  </a:lnTo>
                  <a:lnTo>
                    <a:pt x="726" y="817"/>
                  </a:lnTo>
                  <a:lnTo>
                    <a:pt x="721" y="816"/>
                  </a:lnTo>
                  <a:lnTo>
                    <a:pt x="720" y="816"/>
                  </a:lnTo>
                  <a:lnTo>
                    <a:pt x="717" y="817"/>
                  </a:lnTo>
                  <a:lnTo>
                    <a:pt x="716" y="819"/>
                  </a:lnTo>
                  <a:lnTo>
                    <a:pt x="714" y="819"/>
                  </a:lnTo>
                  <a:lnTo>
                    <a:pt x="712" y="817"/>
                  </a:lnTo>
                  <a:lnTo>
                    <a:pt x="712" y="816"/>
                  </a:lnTo>
                  <a:lnTo>
                    <a:pt x="714" y="813"/>
                  </a:lnTo>
                  <a:lnTo>
                    <a:pt x="716" y="810"/>
                  </a:lnTo>
                  <a:lnTo>
                    <a:pt x="717" y="806"/>
                  </a:lnTo>
                  <a:lnTo>
                    <a:pt x="717" y="804"/>
                  </a:lnTo>
                  <a:lnTo>
                    <a:pt x="715" y="802"/>
                  </a:lnTo>
                  <a:lnTo>
                    <a:pt x="714" y="799"/>
                  </a:lnTo>
                  <a:lnTo>
                    <a:pt x="714" y="795"/>
                  </a:lnTo>
                  <a:lnTo>
                    <a:pt x="710" y="798"/>
                  </a:lnTo>
                  <a:lnTo>
                    <a:pt x="707" y="799"/>
                  </a:lnTo>
                  <a:lnTo>
                    <a:pt x="705" y="799"/>
                  </a:lnTo>
                  <a:lnTo>
                    <a:pt x="702" y="798"/>
                  </a:lnTo>
                  <a:lnTo>
                    <a:pt x="704" y="795"/>
                  </a:lnTo>
                  <a:lnTo>
                    <a:pt x="706" y="793"/>
                  </a:lnTo>
                  <a:lnTo>
                    <a:pt x="709" y="792"/>
                  </a:lnTo>
                  <a:lnTo>
                    <a:pt x="704" y="788"/>
                  </a:lnTo>
                  <a:lnTo>
                    <a:pt x="700" y="784"/>
                  </a:lnTo>
                  <a:lnTo>
                    <a:pt x="696" y="784"/>
                  </a:lnTo>
                  <a:lnTo>
                    <a:pt x="693" y="786"/>
                  </a:lnTo>
                  <a:lnTo>
                    <a:pt x="689" y="788"/>
                  </a:lnTo>
                  <a:lnTo>
                    <a:pt x="686" y="789"/>
                  </a:lnTo>
                  <a:lnTo>
                    <a:pt x="685" y="793"/>
                  </a:lnTo>
                  <a:lnTo>
                    <a:pt x="683" y="797"/>
                  </a:lnTo>
                  <a:lnTo>
                    <a:pt x="679" y="797"/>
                  </a:lnTo>
                  <a:lnTo>
                    <a:pt x="677" y="795"/>
                  </a:lnTo>
                  <a:lnTo>
                    <a:pt x="674" y="794"/>
                  </a:lnTo>
                  <a:lnTo>
                    <a:pt x="672" y="793"/>
                  </a:lnTo>
                  <a:lnTo>
                    <a:pt x="671" y="793"/>
                  </a:lnTo>
                  <a:lnTo>
                    <a:pt x="671" y="794"/>
                  </a:lnTo>
                  <a:lnTo>
                    <a:pt x="667" y="792"/>
                  </a:lnTo>
                  <a:lnTo>
                    <a:pt x="662" y="789"/>
                  </a:lnTo>
                  <a:lnTo>
                    <a:pt x="659" y="789"/>
                  </a:lnTo>
                  <a:lnTo>
                    <a:pt x="657" y="789"/>
                  </a:lnTo>
                  <a:lnTo>
                    <a:pt x="653" y="793"/>
                  </a:lnTo>
                  <a:lnTo>
                    <a:pt x="647" y="798"/>
                  </a:lnTo>
                  <a:lnTo>
                    <a:pt x="643" y="804"/>
                  </a:lnTo>
                  <a:lnTo>
                    <a:pt x="640" y="806"/>
                  </a:lnTo>
                  <a:lnTo>
                    <a:pt x="637" y="808"/>
                  </a:lnTo>
                  <a:lnTo>
                    <a:pt x="630" y="809"/>
                  </a:lnTo>
                  <a:lnTo>
                    <a:pt x="626" y="810"/>
                  </a:lnTo>
                  <a:lnTo>
                    <a:pt x="625" y="813"/>
                  </a:lnTo>
                  <a:lnTo>
                    <a:pt x="624" y="815"/>
                  </a:lnTo>
                  <a:lnTo>
                    <a:pt x="623" y="819"/>
                  </a:lnTo>
                  <a:lnTo>
                    <a:pt x="620" y="821"/>
                  </a:lnTo>
                  <a:lnTo>
                    <a:pt x="618" y="822"/>
                  </a:lnTo>
                  <a:lnTo>
                    <a:pt x="615" y="825"/>
                  </a:lnTo>
                  <a:lnTo>
                    <a:pt x="613" y="827"/>
                  </a:lnTo>
                  <a:lnTo>
                    <a:pt x="611" y="835"/>
                  </a:lnTo>
                  <a:lnTo>
                    <a:pt x="609" y="836"/>
                  </a:lnTo>
                  <a:lnTo>
                    <a:pt x="604" y="837"/>
                  </a:lnTo>
                  <a:lnTo>
                    <a:pt x="598" y="840"/>
                  </a:lnTo>
                  <a:lnTo>
                    <a:pt x="594" y="840"/>
                  </a:lnTo>
                  <a:lnTo>
                    <a:pt x="591" y="840"/>
                  </a:lnTo>
                  <a:lnTo>
                    <a:pt x="588" y="840"/>
                  </a:lnTo>
                  <a:lnTo>
                    <a:pt x="586" y="840"/>
                  </a:lnTo>
                  <a:lnTo>
                    <a:pt x="584" y="838"/>
                  </a:lnTo>
                  <a:lnTo>
                    <a:pt x="584" y="835"/>
                  </a:lnTo>
                  <a:lnTo>
                    <a:pt x="583" y="833"/>
                  </a:lnTo>
                  <a:lnTo>
                    <a:pt x="581" y="831"/>
                  </a:lnTo>
                  <a:lnTo>
                    <a:pt x="577" y="830"/>
                  </a:lnTo>
                  <a:lnTo>
                    <a:pt x="573" y="830"/>
                  </a:lnTo>
                  <a:lnTo>
                    <a:pt x="571" y="831"/>
                  </a:lnTo>
                  <a:lnTo>
                    <a:pt x="570" y="832"/>
                  </a:lnTo>
                  <a:lnTo>
                    <a:pt x="567" y="833"/>
                  </a:lnTo>
                  <a:lnTo>
                    <a:pt x="564" y="831"/>
                  </a:lnTo>
                  <a:lnTo>
                    <a:pt x="559" y="831"/>
                  </a:lnTo>
                  <a:lnTo>
                    <a:pt x="554" y="831"/>
                  </a:lnTo>
                  <a:lnTo>
                    <a:pt x="549" y="830"/>
                  </a:lnTo>
                  <a:lnTo>
                    <a:pt x="546" y="827"/>
                  </a:lnTo>
                  <a:lnTo>
                    <a:pt x="546" y="826"/>
                  </a:lnTo>
                  <a:lnTo>
                    <a:pt x="546" y="824"/>
                  </a:lnTo>
                  <a:lnTo>
                    <a:pt x="544" y="822"/>
                  </a:lnTo>
                  <a:lnTo>
                    <a:pt x="536" y="822"/>
                  </a:lnTo>
                  <a:lnTo>
                    <a:pt x="529" y="825"/>
                  </a:lnTo>
                  <a:lnTo>
                    <a:pt x="525" y="829"/>
                  </a:lnTo>
                  <a:lnTo>
                    <a:pt x="523" y="832"/>
                  </a:lnTo>
                  <a:lnTo>
                    <a:pt x="518" y="842"/>
                  </a:lnTo>
                  <a:lnTo>
                    <a:pt x="514" y="848"/>
                  </a:lnTo>
                  <a:lnTo>
                    <a:pt x="512" y="851"/>
                  </a:lnTo>
                  <a:lnTo>
                    <a:pt x="511" y="854"/>
                  </a:lnTo>
                  <a:lnTo>
                    <a:pt x="508" y="852"/>
                  </a:lnTo>
                  <a:lnTo>
                    <a:pt x="506" y="849"/>
                  </a:lnTo>
                  <a:lnTo>
                    <a:pt x="506" y="843"/>
                  </a:lnTo>
                  <a:lnTo>
                    <a:pt x="506" y="838"/>
                  </a:lnTo>
                  <a:lnTo>
                    <a:pt x="506" y="835"/>
                  </a:lnTo>
                  <a:lnTo>
                    <a:pt x="504" y="831"/>
                  </a:lnTo>
                  <a:lnTo>
                    <a:pt x="502" y="830"/>
                  </a:lnTo>
                  <a:lnTo>
                    <a:pt x="497" y="830"/>
                  </a:lnTo>
                  <a:lnTo>
                    <a:pt x="491" y="831"/>
                  </a:lnTo>
                  <a:lnTo>
                    <a:pt x="486" y="832"/>
                  </a:lnTo>
                  <a:lnTo>
                    <a:pt x="486" y="836"/>
                  </a:lnTo>
                  <a:lnTo>
                    <a:pt x="481" y="835"/>
                  </a:lnTo>
                  <a:lnTo>
                    <a:pt x="476" y="836"/>
                  </a:lnTo>
                  <a:lnTo>
                    <a:pt x="465" y="836"/>
                  </a:lnTo>
                  <a:lnTo>
                    <a:pt x="457" y="835"/>
                  </a:lnTo>
                  <a:lnTo>
                    <a:pt x="449" y="831"/>
                  </a:lnTo>
                  <a:lnTo>
                    <a:pt x="445" y="830"/>
                  </a:lnTo>
                  <a:lnTo>
                    <a:pt x="444" y="829"/>
                  </a:lnTo>
                  <a:lnTo>
                    <a:pt x="442" y="829"/>
                  </a:lnTo>
                  <a:lnTo>
                    <a:pt x="441" y="830"/>
                  </a:lnTo>
                  <a:lnTo>
                    <a:pt x="441" y="831"/>
                  </a:lnTo>
                  <a:lnTo>
                    <a:pt x="441" y="832"/>
                  </a:lnTo>
                  <a:lnTo>
                    <a:pt x="439" y="833"/>
                  </a:lnTo>
                  <a:lnTo>
                    <a:pt x="436" y="833"/>
                  </a:lnTo>
                  <a:lnTo>
                    <a:pt x="433" y="831"/>
                  </a:lnTo>
                  <a:lnTo>
                    <a:pt x="431" y="829"/>
                  </a:lnTo>
                  <a:lnTo>
                    <a:pt x="429" y="826"/>
                  </a:lnTo>
                  <a:lnTo>
                    <a:pt x="428" y="829"/>
                  </a:lnTo>
                  <a:lnTo>
                    <a:pt x="428" y="831"/>
                  </a:lnTo>
                  <a:lnTo>
                    <a:pt x="427" y="835"/>
                  </a:lnTo>
                  <a:lnTo>
                    <a:pt x="426" y="835"/>
                  </a:lnTo>
                  <a:lnTo>
                    <a:pt x="426" y="833"/>
                  </a:lnTo>
                  <a:lnTo>
                    <a:pt x="420" y="827"/>
                  </a:lnTo>
                  <a:lnTo>
                    <a:pt x="416" y="824"/>
                  </a:lnTo>
                  <a:lnTo>
                    <a:pt x="415" y="820"/>
                  </a:lnTo>
                  <a:lnTo>
                    <a:pt x="413" y="821"/>
                  </a:lnTo>
                  <a:lnTo>
                    <a:pt x="411" y="822"/>
                  </a:lnTo>
                  <a:lnTo>
                    <a:pt x="406" y="822"/>
                  </a:lnTo>
                  <a:lnTo>
                    <a:pt x="400" y="821"/>
                  </a:lnTo>
                  <a:lnTo>
                    <a:pt x="399" y="820"/>
                  </a:lnTo>
                  <a:lnTo>
                    <a:pt x="397" y="819"/>
                  </a:lnTo>
                  <a:lnTo>
                    <a:pt x="397" y="815"/>
                  </a:lnTo>
                  <a:lnTo>
                    <a:pt x="399" y="813"/>
                  </a:lnTo>
                  <a:lnTo>
                    <a:pt x="397" y="811"/>
                  </a:lnTo>
                  <a:lnTo>
                    <a:pt x="395" y="811"/>
                  </a:lnTo>
                  <a:lnTo>
                    <a:pt x="393" y="811"/>
                  </a:lnTo>
                  <a:lnTo>
                    <a:pt x="390" y="813"/>
                  </a:lnTo>
                  <a:lnTo>
                    <a:pt x="388" y="811"/>
                  </a:lnTo>
                  <a:lnTo>
                    <a:pt x="383" y="809"/>
                  </a:lnTo>
                  <a:lnTo>
                    <a:pt x="378" y="806"/>
                  </a:lnTo>
                  <a:lnTo>
                    <a:pt x="373" y="804"/>
                  </a:lnTo>
                  <a:lnTo>
                    <a:pt x="369" y="799"/>
                  </a:lnTo>
                  <a:lnTo>
                    <a:pt x="367" y="794"/>
                  </a:lnTo>
                  <a:lnTo>
                    <a:pt x="363" y="790"/>
                  </a:lnTo>
                  <a:lnTo>
                    <a:pt x="358" y="789"/>
                  </a:lnTo>
                  <a:lnTo>
                    <a:pt x="356" y="790"/>
                  </a:lnTo>
                  <a:lnTo>
                    <a:pt x="353" y="792"/>
                  </a:lnTo>
                  <a:lnTo>
                    <a:pt x="352" y="793"/>
                  </a:lnTo>
                  <a:lnTo>
                    <a:pt x="350" y="792"/>
                  </a:lnTo>
                  <a:lnTo>
                    <a:pt x="346" y="789"/>
                  </a:lnTo>
                  <a:lnTo>
                    <a:pt x="342" y="784"/>
                  </a:lnTo>
                  <a:lnTo>
                    <a:pt x="341" y="782"/>
                  </a:lnTo>
                  <a:lnTo>
                    <a:pt x="337" y="779"/>
                  </a:lnTo>
                  <a:lnTo>
                    <a:pt x="332" y="777"/>
                  </a:lnTo>
                  <a:lnTo>
                    <a:pt x="324" y="773"/>
                  </a:lnTo>
                  <a:lnTo>
                    <a:pt x="311" y="765"/>
                  </a:lnTo>
                  <a:lnTo>
                    <a:pt x="300" y="755"/>
                  </a:lnTo>
                  <a:lnTo>
                    <a:pt x="295" y="754"/>
                  </a:lnTo>
                  <a:lnTo>
                    <a:pt x="289" y="752"/>
                  </a:lnTo>
                  <a:lnTo>
                    <a:pt x="287" y="752"/>
                  </a:lnTo>
                  <a:lnTo>
                    <a:pt x="286" y="754"/>
                  </a:lnTo>
                  <a:lnTo>
                    <a:pt x="284" y="755"/>
                  </a:lnTo>
                  <a:lnTo>
                    <a:pt x="282" y="754"/>
                  </a:lnTo>
                  <a:lnTo>
                    <a:pt x="282" y="760"/>
                  </a:lnTo>
                  <a:lnTo>
                    <a:pt x="279" y="762"/>
                  </a:lnTo>
                  <a:lnTo>
                    <a:pt x="276" y="762"/>
                  </a:lnTo>
                  <a:lnTo>
                    <a:pt x="272" y="758"/>
                  </a:lnTo>
                  <a:lnTo>
                    <a:pt x="263" y="752"/>
                  </a:lnTo>
                  <a:lnTo>
                    <a:pt x="252" y="749"/>
                  </a:lnTo>
                  <a:lnTo>
                    <a:pt x="250" y="747"/>
                  </a:lnTo>
                  <a:lnTo>
                    <a:pt x="246" y="746"/>
                  </a:lnTo>
                  <a:lnTo>
                    <a:pt x="246" y="745"/>
                  </a:lnTo>
                  <a:lnTo>
                    <a:pt x="246" y="743"/>
                  </a:lnTo>
                  <a:lnTo>
                    <a:pt x="246" y="741"/>
                  </a:lnTo>
                  <a:lnTo>
                    <a:pt x="245" y="740"/>
                  </a:lnTo>
                  <a:lnTo>
                    <a:pt x="241" y="738"/>
                  </a:lnTo>
                  <a:lnTo>
                    <a:pt x="238" y="736"/>
                  </a:lnTo>
                  <a:lnTo>
                    <a:pt x="235" y="734"/>
                  </a:lnTo>
                  <a:lnTo>
                    <a:pt x="233" y="734"/>
                  </a:lnTo>
                  <a:lnTo>
                    <a:pt x="230" y="734"/>
                  </a:lnTo>
                  <a:lnTo>
                    <a:pt x="227" y="734"/>
                  </a:lnTo>
                  <a:lnTo>
                    <a:pt x="223" y="731"/>
                  </a:lnTo>
                  <a:lnTo>
                    <a:pt x="219" y="728"/>
                  </a:lnTo>
                  <a:lnTo>
                    <a:pt x="213" y="720"/>
                  </a:lnTo>
                  <a:lnTo>
                    <a:pt x="212" y="719"/>
                  </a:lnTo>
                  <a:lnTo>
                    <a:pt x="209" y="719"/>
                  </a:lnTo>
                  <a:lnTo>
                    <a:pt x="207" y="722"/>
                  </a:lnTo>
                  <a:lnTo>
                    <a:pt x="203" y="723"/>
                  </a:lnTo>
                  <a:lnTo>
                    <a:pt x="202" y="722"/>
                  </a:lnTo>
                  <a:lnTo>
                    <a:pt x="201" y="719"/>
                  </a:lnTo>
                  <a:lnTo>
                    <a:pt x="201" y="714"/>
                  </a:lnTo>
                  <a:lnTo>
                    <a:pt x="200" y="711"/>
                  </a:lnTo>
                  <a:lnTo>
                    <a:pt x="197" y="706"/>
                  </a:lnTo>
                  <a:lnTo>
                    <a:pt x="196" y="702"/>
                  </a:lnTo>
                  <a:lnTo>
                    <a:pt x="193" y="697"/>
                  </a:lnTo>
                  <a:lnTo>
                    <a:pt x="190" y="693"/>
                  </a:lnTo>
                  <a:lnTo>
                    <a:pt x="187" y="691"/>
                  </a:lnTo>
                  <a:lnTo>
                    <a:pt x="186" y="687"/>
                  </a:lnTo>
                  <a:lnTo>
                    <a:pt x="185" y="685"/>
                  </a:lnTo>
                  <a:lnTo>
                    <a:pt x="184" y="681"/>
                  </a:lnTo>
                  <a:lnTo>
                    <a:pt x="188" y="679"/>
                  </a:lnTo>
                  <a:lnTo>
                    <a:pt x="191" y="680"/>
                  </a:lnTo>
                  <a:lnTo>
                    <a:pt x="193" y="682"/>
                  </a:lnTo>
                  <a:lnTo>
                    <a:pt x="197" y="685"/>
                  </a:lnTo>
                  <a:lnTo>
                    <a:pt x="201" y="687"/>
                  </a:lnTo>
                  <a:lnTo>
                    <a:pt x="202" y="687"/>
                  </a:lnTo>
                  <a:lnTo>
                    <a:pt x="203" y="685"/>
                  </a:lnTo>
                  <a:lnTo>
                    <a:pt x="206" y="683"/>
                  </a:lnTo>
                  <a:lnTo>
                    <a:pt x="208" y="682"/>
                  </a:lnTo>
                  <a:lnTo>
                    <a:pt x="209" y="681"/>
                  </a:lnTo>
                  <a:lnTo>
                    <a:pt x="212" y="679"/>
                  </a:lnTo>
                  <a:lnTo>
                    <a:pt x="213" y="676"/>
                  </a:lnTo>
                  <a:lnTo>
                    <a:pt x="212" y="674"/>
                  </a:lnTo>
                  <a:lnTo>
                    <a:pt x="208" y="669"/>
                  </a:lnTo>
                  <a:lnTo>
                    <a:pt x="208" y="666"/>
                  </a:lnTo>
                  <a:lnTo>
                    <a:pt x="207" y="664"/>
                  </a:lnTo>
                  <a:lnTo>
                    <a:pt x="207" y="661"/>
                  </a:lnTo>
                  <a:lnTo>
                    <a:pt x="206" y="660"/>
                  </a:lnTo>
                  <a:lnTo>
                    <a:pt x="201" y="659"/>
                  </a:lnTo>
                  <a:lnTo>
                    <a:pt x="197" y="658"/>
                  </a:lnTo>
                  <a:lnTo>
                    <a:pt x="195" y="655"/>
                  </a:lnTo>
                  <a:lnTo>
                    <a:pt x="191" y="652"/>
                  </a:lnTo>
                  <a:lnTo>
                    <a:pt x="186" y="645"/>
                  </a:lnTo>
                  <a:lnTo>
                    <a:pt x="184" y="638"/>
                  </a:lnTo>
                  <a:lnTo>
                    <a:pt x="184" y="633"/>
                  </a:lnTo>
                  <a:lnTo>
                    <a:pt x="182" y="629"/>
                  </a:lnTo>
                  <a:lnTo>
                    <a:pt x="185" y="628"/>
                  </a:lnTo>
                  <a:lnTo>
                    <a:pt x="187" y="627"/>
                  </a:lnTo>
                  <a:lnTo>
                    <a:pt x="187" y="626"/>
                  </a:lnTo>
                  <a:lnTo>
                    <a:pt x="187" y="624"/>
                  </a:lnTo>
                  <a:lnTo>
                    <a:pt x="185" y="623"/>
                  </a:lnTo>
                  <a:lnTo>
                    <a:pt x="175" y="618"/>
                  </a:lnTo>
                  <a:lnTo>
                    <a:pt x="165" y="612"/>
                  </a:lnTo>
                  <a:lnTo>
                    <a:pt x="160" y="606"/>
                  </a:lnTo>
                  <a:lnTo>
                    <a:pt x="158" y="600"/>
                  </a:lnTo>
                  <a:lnTo>
                    <a:pt x="153" y="593"/>
                  </a:lnTo>
                  <a:lnTo>
                    <a:pt x="149" y="589"/>
                  </a:lnTo>
                  <a:lnTo>
                    <a:pt x="144" y="585"/>
                  </a:lnTo>
                  <a:lnTo>
                    <a:pt x="140" y="585"/>
                  </a:lnTo>
                  <a:lnTo>
                    <a:pt x="136" y="585"/>
                  </a:lnTo>
                  <a:lnTo>
                    <a:pt x="123" y="583"/>
                  </a:lnTo>
                  <a:lnTo>
                    <a:pt x="118" y="581"/>
                  </a:lnTo>
                  <a:lnTo>
                    <a:pt x="113" y="578"/>
                  </a:lnTo>
                  <a:lnTo>
                    <a:pt x="110" y="575"/>
                  </a:lnTo>
                  <a:lnTo>
                    <a:pt x="109" y="570"/>
                  </a:lnTo>
                  <a:lnTo>
                    <a:pt x="104" y="573"/>
                  </a:lnTo>
                  <a:lnTo>
                    <a:pt x="101" y="574"/>
                  </a:lnTo>
                  <a:lnTo>
                    <a:pt x="99" y="573"/>
                  </a:lnTo>
                  <a:lnTo>
                    <a:pt x="97" y="572"/>
                  </a:lnTo>
                  <a:lnTo>
                    <a:pt x="94" y="569"/>
                  </a:lnTo>
                  <a:lnTo>
                    <a:pt x="91" y="567"/>
                  </a:lnTo>
                  <a:lnTo>
                    <a:pt x="90" y="565"/>
                  </a:lnTo>
                  <a:lnTo>
                    <a:pt x="89" y="561"/>
                  </a:lnTo>
                  <a:lnTo>
                    <a:pt x="89" y="556"/>
                  </a:lnTo>
                  <a:lnTo>
                    <a:pt x="86" y="551"/>
                  </a:lnTo>
                  <a:lnTo>
                    <a:pt x="83" y="546"/>
                  </a:lnTo>
                  <a:lnTo>
                    <a:pt x="79" y="545"/>
                  </a:lnTo>
                  <a:lnTo>
                    <a:pt x="75" y="543"/>
                  </a:lnTo>
                  <a:lnTo>
                    <a:pt x="72" y="542"/>
                  </a:lnTo>
                  <a:lnTo>
                    <a:pt x="69" y="541"/>
                  </a:lnTo>
                  <a:lnTo>
                    <a:pt x="67" y="537"/>
                  </a:lnTo>
                  <a:lnTo>
                    <a:pt x="62" y="535"/>
                  </a:lnTo>
                  <a:lnTo>
                    <a:pt x="58" y="535"/>
                  </a:lnTo>
                  <a:lnTo>
                    <a:pt x="54" y="537"/>
                  </a:lnTo>
                  <a:lnTo>
                    <a:pt x="52" y="535"/>
                  </a:lnTo>
                  <a:lnTo>
                    <a:pt x="48" y="534"/>
                  </a:lnTo>
                  <a:lnTo>
                    <a:pt x="45" y="534"/>
                  </a:lnTo>
                  <a:lnTo>
                    <a:pt x="42" y="531"/>
                  </a:lnTo>
                  <a:lnTo>
                    <a:pt x="41" y="529"/>
                  </a:lnTo>
                  <a:lnTo>
                    <a:pt x="42" y="527"/>
                  </a:lnTo>
                  <a:lnTo>
                    <a:pt x="45" y="526"/>
                  </a:lnTo>
                  <a:lnTo>
                    <a:pt x="49" y="527"/>
                  </a:lnTo>
                  <a:lnTo>
                    <a:pt x="52" y="527"/>
                  </a:lnTo>
                  <a:lnTo>
                    <a:pt x="56" y="525"/>
                  </a:lnTo>
                  <a:lnTo>
                    <a:pt x="57" y="522"/>
                  </a:lnTo>
                  <a:lnTo>
                    <a:pt x="54" y="519"/>
                  </a:lnTo>
                  <a:lnTo>
                    <a:pt x="52" y="516"/>
                  </a:lnTo>
                  <a:lnTo>
                    <a:pt x="51" y="515"/>
                  </a:lnTo>
                  <a:lnTo>
                    <a:pt x="49" y="514"/>
                  </a:lnTo>
                  <a:lnTo>
                    <a:pt x="51" y="510"/>
                  </a:lnTo>
                  <a:lnTo>
                    <a:pt x="48" y="506"/>
                  </a:lnTo>
                  <a:lnTo>
                    <a:pt x="47" y="503"/>
                  </a:lnTo>
                  <a:lnTo>
                    <a:pt x="45" y="500"/>
                  </a:lnTo>
                  <a:lnTo>
                    <a:pt x="42" y="498"/>
                  </a:lnTo>
                  <a:lnTo>
                    <a:pt x="42" y="493"/>
                  </a:lnTo>
                  <a:lnTo>
                    <a:pt x="42" y="488"/>
                  </a:lnTo>
                  <a:lnTo>
                    <a:pt x="40" y="484"/>
                  </a:lnTo>
                  <a:lnTo>
                    <a:pt x="36" y="483"/>
                  </a:lnTo>
                  <a:lnTo>
                    <a:pt x="31" y="481"/>
                  </a:lnTo>
                  <a:lnTo>
                    <a:pt x="26" y="481"/>
                  </a:lnTo>
                  <a:lnTo>
                    <a:pt x="22" y="481"/>
                  </a:lnTo>
                  <a:lnTo>
                    <a:pt x="19" y="482"/>
                  </a:lnTo>
                  <a:lnTo>
                    <a:pt x="15" y="483"/>
                  </a:lnTo>
                  <a:lnTo>
                    <a:pt x="14" y="483"/>
                  </a:lnTo>
                  <a:lnTo>
                    <a:pt x="11" y="481"/>
                  </a:lnTo>
                  <a:lnTo>
                    <a:pt x="10" y="478"/>
                  </a:lnTo>
                  <a:lnTo>
                    <a:pt x="8" y="476"/>
                  </a:lnTo>
                  <a:lnTo>
                    <a:pt x="8" y="472"/>
                  </a:lnTo>
                  <a:lnTo>
                    <a:pt x="10" y="471"/>
                  </a:lnTo>
                  <a:lnTo>
                    <a:pt x="6" y="467"/>
                  </a:lnTo>
                  <a:lnTo>
                    <a:pt x="3" y="463"/>
                  </a:lnTo>
                  <a:lnTo>
                    <a:pt x="2" y="461"/>
                  </a:lnTo>
                  <a:lnTo>
                    <a:pt x="2" y="459"/>
                  </a:lnTo>
                  <a:lnTo>
                    <a:pt x="0" y="454"/>
                  </a:lnTo>
                </a:path>
              </a:pathLst>
            </a:custGeom>
            <a:solidFill>
              <a:srgbClr val="005151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7" name="Freeform 1029">
              <a:extLst>
                <a:ext uri="{FF2B5EF4-FFF2-40B4-BE49-F238E27FC236}">
                  <a16:creationId xmlns:a16="http://schemas.microsoft.com/office/drawing/2014/main" id="{5AE382E5-BD1C-4B40-AC31-ED6BFC33E2A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8460" y="3826245"/>
              <a:ext cx="12647" cy="8432"/>
            </a:xfrm>
            <a:custGeom>
              <a:avLst/>
              <a:gdLst>
                <a:gd name="T0" fmla="*/ 2 w 13"/>
                <a:gd name="T1" fmla="*/ 1 h 8"/>
                <a:gd name="T2" fmla="*/ 7 w 13"/>
                <a:gd name="T3" fmla="*/ 0 h 8"/>
                <a:gd name="T4" fmla="*/ 9 w 13"/>
                <a:gd name="T5" fmla="*/ 0 h 8"/>
                <a:gd name="T6" fmla="*/ 10 w 13"/>
                <a:gd name="T7" fmla="*/ 1 h 8"/>
                <a:gd name="T8" fmla="*/ 8 w 13"/>
                <a:gd name="T9" fmla="*/ 3 h 8"/>
                <a:gd name="T10" fmla="*/ 10 w 13"/>
                <a:gd name="T11" fmla="*/ 2 h 8"/>
                <a:gd name="T12" fmla="*/ 13 w 13"/>
                <a:gd name="T13" fmla="*/ 2 h 8"/>
                <a:gd name="T14" fmla="*/ 13 w 13"/>
                <a:gd name="T15" fmla="*/ 5 h 8"/>
                <a:gd name="T16" fmla="*/ 12 w 13"/>
                <a:gd name="T17" fmla="*/ 5 h 8"/>
                <a:gd name="T18" fmla="*/ 10 w 13"/>
                <a:gd name="T19" fmla="*/ 6 h 8"/>
                <a:gd name="T20" fmla="*/ 12 w 13"/>
                <a:gd name="T21" fmla="*/ 8 h 8"/>
                <a:gd name="T22" fmla="*/ 8 w 13"/>
                <a:gd name="T23" fmla="*/ 7 h 8"/>
                <a:gd name="T24" fmla="*/ 3 w 13"/>
                <a:gd name="T25" fmla="*/ 6 h 8"/>
                <a:gd name="T26" fmla="*/ 0 w 13"/>
                <a:gd name="T27" fmla="*/ 3 h 8"/>
                <a:gd name="T28" fmla="*/ 0 w 13"/>
                <a:gd name="T29" fmla="*/ 2 h 8"/>
                <a:gd name="T30" fmla="*/ 2 w 13"/>
                <a:gd name="T31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" h="8">
                  <a:moveTo>
                    <a:pt x="2" y="1"/>
                  </a:moveTo>
                  <a:lnTo>
                    <a:pt x="7" y="0"/>
                  </a:lnTo>
                  <a:lnTo>
                    <a:pt x="9" y="0"/>
                  </a:lnTo>
                  <a:lnTo>
                    <a:pt x="10" y="1"/>
                  </a:lnTo>
                  <a:lnTo>
                    <a:pt x="8" y="3"/>
                  </a:lnTo>
                  <a:lnTo>
                    <a:pt x="10" y="2"/>
                  </a:lnTo>
                  <a:lnTo>
                    <a:pt x="13" y="2"/>
                  </a:lnTo>
                  <a:lnTo>
                    <a:pt x="13" y="5"/>
                  </a:lnTo>
                  <a:lnTo>
                    <a:pt x="12" y="5"/>
                  </a:lnTo>
                  <a:lnTo>
                    <a:pt x="10" y="6"/>
                  </a:lnTo>
                  <a:lnTo>
                    <a:pt x="12" y="8"/>
                  </a:lnTo>
                  <a:lnTo>
                    <a:pt x="8" y="7"/>
                  </a:lnTo>
                  <a:lnTo>
                    <a:pt x="3" y="6"/>
                  </a:lnTo>
                  <a:lnTo>
                    <a:pt x="0" y="3"/>
                  </a:lnTo>
                  <a:lnTo>
                    <a:pt x="0" y="2"/>
                  </a:lnTo>
                  <a:lnTo>
                    <a:pt x="2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8" name="Freeform 1030">
              <a:extLst>
                <a:ext uri="{FF2B5EF4-FFF2-40B4-BE49-F238E27FC236}">
                  <a16:creationId xmlns:a16="http://schemas.microsoft.com/office/drawing/2014/main" id="{3A7B6401-770A-4549-9DD7-3F2FC7B6AD6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6352" y="3832569"/>
              <a:ext cx="6324" cy="4216"/>
            </a:xfrm>
            <a:custGeom>
              <a:avLst/>
              <a:gdLst>
                <a:gd name="T0" fmla="*/ 0 w 6"/>
                <a:gd name="T1" fmla="*/ 5 h 5"/>
                <a:gd name="T2" fmla="*/ 1 w 6"/>
                <a:gd name="T3" fmla="*/ 2 h 5"/>
                <a:gd name="T4" fmla="*/ 2 w 6"/>
                <a:gd name="T5" fmla="*/ 1 h 5"/>
                <a:gd name="T6" fmla="*/ 6 w 6"/>
                <a:gd name="T7" fmla="*/ 0 h 5"/>
                <a:gd name="T8" fmla="*/ 4 w 6"/>
                <a:gd name="T9" fmla="*/ 4 h 5"/>
                <a:gd name="T10" fmla="*/ 0 w 6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5">
                  <a:moveTo>
                    <a:pt x="0" y="5"/>
                  </a:moveTo>
                  <a:lnTo>
                    <a:pt x="1" y="2"/>
                  </a:lnTo>
                  <a:lnTo>
                    <a:pt x="2" y="1"/>
                  </a:lnTo>
                  <a:lnTo>
                    <a:pt x="6" y="0"/>
                  </a:lnTo>
                  <a:lnTo>
                    <a:pt x="4" y="4"/>
                  </a:lnTo>
                  <a:lnTo>
                    <a:pt x="0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9" name="Freeform 1031">
              <a:extLst>
                <a:ext uri="{FF2B5EF4-FFF2-40B4-BE49-F238E27FC236}">
                  <a16:creationId xmlns:a16="http://schemas.microsoft.com/office/drawing/2014/main" id="{AB51CB51-55B9-4730-B88E-6976EE949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96892" y="3834676"/>
              <a:ext cx="2109" cy="2109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2 h 3"/>
                <a:gd name="T4" fmla="*/ 2 w 2"/>
                <a:gd name="T5" fmla="*/ 3 h 3"/>
                <a:gd name="T6" fmla="*/ 0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0" y="2"/>
                  </a:ln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0" name="Freeform 1032">
              <a:extLst>
                <a:ext uri="{FF2B5EF4-FFF2-40B4-BE49-F238E27FC236}">
                  <a16:creationId xmlns:a16="http://schemas.microsoft.com/office/drawing/2014/main" id="{92673323-D2DF-457F-89DC-9DF0A8D788F2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7920" y="3836785"/>
              <a:ext cx="0" cy="4216"/>
            </a:xfrm>
            <a:custGeom>
              <a:avLst/>
              <a:gdLst>
                <a:gd name="T0" fmla="*/ 0 w 2"/>
                <a:gd name="T1" fmla="*/ 1 h 3"/>
                <a:gd name="T2" fmla="*/ 2 w 2"/>
                <a:gd name="T3" fmla="*/ 1 h 3"/>
                <a:gd name="T4" fmla="*/ 2 w 2"/>
                <a:gd name="T5" fmla="*/ 1 h 3"/>
                <a:gd name="T6" fmla="*/ 2 w 2"/>
                <a:gd name="T7" fmla="*/ 0 h 3"/>
                <a:gd name="T8" fmla="*/ 2 w 2"/>
                <a:gd name="T9" fmla="*/ 3 h 3"/>
                <a:gd name="T10" fmla="*/ 0 w 2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3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1" name="Freeform 1380">
              <a:extLst>
                <a:ext uri="{FF2B5EF4-FFF2-40B4-BE49-F238E27FC236}">
                  <a16:creationId xmlns:a16="http://schemas.microsoft.com/office/drawing/2014/main" id="{B2102394-AAC9-4378-997D-66A8C6247F5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9250" y="3961150"/>
              <a:ext cx="147553" cy="212898"/>
            </a:xfrm>
            <a:custGeom>
              <a:avLst/>
              <a:gdLst>
                <a:gd name="T0" fmla="*/ 3 w 140"/>
                <a:gd name="T1" fmla="*/ 88 h 200"/>
                <a:gd name="T2" fmla="*/ 12 w 140"/>
                <a:gd name="T3" fmla="*/ 114 h 200"/>
                <a:gd name="T4" fmla="*/ 18 w 140"/>
                <a:gd name="T5" fmla="*/ 126 h 200"/>
                <a:gd name="T6" fmla="*/ 22 w 140"/>
                <a:gd name="T7" fmla="*/ 130 h 200"/>
                <a:gd name="T8" fmla="*/ 30 w 140"/>
                <a:gd name="T9" fmla="*/ 136 h 200"/>
                <a:gd name="T10" fmla="*/ 29 w 140"/>
                <a:gd name="T11" fmla="*/ 125 h 200"/>
                <a:gd name="T12" fmla="*/ 43 w 140"/>
                <a:gd name="T13" fmla="*/ 133 h 200"/>
                <a:gd name="T14" fmla="*/ 33 w 140"/>
                <a:gd name="T15" fmla="*/ 146 h 200"/>
                <a:gd name="T16" fmla="*/ 37 w 140"/>
                <a:gd name="T17" fmla="*/ 157 h 200"/>
                <a:gd name="T18" fmla="*/ 45 w 140"/>
                <a:gd name="T19" fmla="*/ 160 h 200"/>
                <a:gd name="T20" fmla="*/ 53 w 140"/>
                <a:gd name="T21" fmla="*/ 165 h 200"/>
                <a:gd name="T22" fmla="*/ 61 w 140"/>
                <a:gd name="T23" fmla="*/ 156 h 200"/>
                <a:gd name="T24" fmla="*/ 67 w 140"/>
                <a:gd name="T25" fmla="*/ 153 h 200"/>
                <a:gd name="T26" fmla="*/ 86 w 140"/>
                <a:gd name="T27" fmla="*/ 168 h 200"/>
                <a:gd name="T28" fmla="*/ 96 w 140"/>
                <a:gd name="T29" fmla="*/ 179 h 200"/>
                <a:gd name="T30" fmla="*/ 93 w 140"/>
                <a:gd name="T31" fmla="*/ 168 h 200"/>
                <a:gd name="T32" fmla="*/ 89 w 140"/>
                <a:gd name="T33" fmla="*/ 161 h 200"/>
                <a:gd name="T34" fmla="*/ 94 w 140"/>
                <a:gd name="T35" fmla="*/ 157 h 200"/>
                <a:gd name="T36" fmla="*/ 108 w 140"/>
                <a:gd name="T37" fmla="*/ 171 h 200"/>
                <a:gd name="T38" fmla="*/ 114 w 140"/>
                <a:gd name="T39" fmla="*/ 182 h 200"/>
                <a:gd name="T40" fmla="*/ 126 w 140"/>
                <a:gd name="T41" fmla="*/ 189 h 200"/>
                <a:gd name="T42" fmla="*/ 136 w 140"/>
                <a:gd name="T43" fmla="*/ 187 h 200"/>
                <a:gd name="T44" fmla="*/ 133 w 140"/>
                <a:gd name="T45" fmla="*/ 195 h 200"/>
                <a:gd name="T46" fmla="*/ 139 w 140"/>
                <a:gd name="T47" fmla="*/ 199 h 200"/>
                <a:gd name="T48" fmla="*/ 137 w 140"/>
                <a:gd name="T49" fmla="*/ 183 h 200"/>
                <a:gd name="T50" fmla="*/ 128 w 140"/>
                <a:gd name="T51" fmla="*/ 178 h 200"/>
                <a:gd name="T52" fmla="*/ 119 w 140"/>
                <a:gd name="T53" fmla="*/ 166 h 200"/>
                <a:gd name="T54" fmla="*/ 131 w 140"/>
                <a:gd name="T55" fmla="*/ 162 h 200"/>
                <a:gd name="T56" fmla="*/ 118 w 140"/>
                <a:gd name="T57" fmla="*/ 155 h 200"/>
                <a:gd name="T58" fmla="*/ 110 w 140"/>
                <a:gd name="T59" fmla="*/ 152 h 200"/>
                <a:gd name="T60" fmla="*/ 107 w 140"/>
                <a:gd name="T61" fmla="*/ 161 h 200"/>
                <a:gd name="T62" fmla="*/ 97 w 140"/>
                <a:gd name="T63" fmla="*/ 144 h 200"/>
                <a:gd name="T64" fmla="*/ 82 w 140"/>
                <a:gd name="T65" fmla="*/ 145 h 200"/>
                <a:gd name="T66" fmla="*/ 80 w 140"/>
                <a:gd name="T67" fmla="*/ 150 h 200"/>
                <a:gd name="T68" fmla="*/ 75 w 140"/>
                <a:gd name="T69" fmla="*/ 153 h 200"/>
                <a:gd name="T70" fmla="*/ 65 w 140"/>
                <a:gd name="T71" fmla="*/ 145 h 200"/>
                <a:gd name="T72" fmla="*/ 64 w 140"/>
                <a:gd name="T73" fmla="*/ 129 h 200"/>
                <a:gd name="T74" fmla="*/ 53 w 140"/>
                <a:gd name="T75" fmla="*/ 103 h 200"/>
                <a:gd name="T76" fmla="*/ 54 w 140"/>
                <a:gd name="T77" fmla="*/ 88 h 200"/>
                <a:gd name="T78" fmla="*/ 67 w 140"/>
                <a:gd name="T79" fmla="*/ 77 h 200"/>
                <a:gd name="T80" fmla="*/ 70 w 140"/>
                <a:gd name="T81" fmla="*/ 70 h 200"/>
                <a:gd name="T82" fmla="*/ 72 w 140"/>
                <a:gd name="T83" fmla="*/ 49 h 200"/>
                <a:gd name="T84" fmla="*/ 69 w 140"/>
                <a:gd name="T85" fmla="*/ 40 h 200"/>
                <a:gd name="T86" fmla="*/ 60 w 140"/>
                <a:gd name="T87" fmla="*/ 22 h 200"/>
                <a:gd name="T88" fmla="*/ 59 w 140"/>
                <a:gd name="T89" fmla="*/ 5 h 200"/>
                <a:gd name="T90" fmla="*/ 54 w 140"/>
                <a:gd name="T91" fmla="*/ 11 h 200"/>
                <a:gd name="T92" fmla="*/ 44 w 140"/>
                <a:gd name="T93" fmla="*/ 11 h 200"/>
                <a:gd name="T94" fmla="*/ 28 w 140"/>
                <a:gd name="T95" fmla="*/ 0 h 200"/>
                <a:gd name="T96" fmla="*/ 17 w 140"/>
                <a:gd name="T97" fmla="*/ 0 h 200"/>
                <a:gd name="T98" fmla="*/ 13 w 140"/>
                <a:gd name="T99" fmla="*/ 4 h 200"/>
                <a:gd name="T100" fmla="*/ 12 w 140"/>
                <a:gd name="T101" fmla="*/ 18 h 200"/>
                <a:gd name="T102" fmla="*/ 14 w 140"/>
                <a:gd name="T103" fmla="*/ 49 h 200"/>
                <a:gd name="T104" fmla="*/ 18 w 140"/>
                <a:gd name="T105" fmla="*/ 81 h 200"/>
                <a:gd name="T106" fmla="*/ 11 w 140"/>
                <a:gd name="T107" fmla="*/ 82 h 200"/>
                <a:gd name="T108" fmla="*/ 1 w 140"/>
                <a:gd name="T109" fmla="*/ 75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0" h="200">
                  <a:moveTo>
                    <a:pt x="1" y="82"/>
                  </a:moveTo>
                  <a:lnTo>
                    <a:pt x="1" y="85"/>
                  </a:lnTo>
                  <a:lnTo>
                    <a:pt x="2" y="87"/>
                  </a:lnTo>
                  <a:lnTo>
                    <a:pt x="3" y="88"/>
                  </a:lnTo>
                  <a:lnTo>
                    <a:pt x="5" y="91"/>
                  </a:lnTo>
                  <a:lnTo>
                    <a:pt x="6" y="99"/>
                  </a:lnTo>
                  <a:lnTo>
                    <a:pt x="8" y="107"/>
                  </a:lnTo>
                  <a:lnTo>
                    <a:pt x="12" y="114"/>
                  </a:lnTo>
                  <a:lnTo>
                    <a:pt x="13" y="120"/>
                  </a:lnTo>
                  <a:lnTo>
                    <a:pt x="14" y="123"/>
                  </a:lnTo>
                  <a:lnTo>
                    <a:pt x="17" y="125"/>
                  </a:lnTo>
                  <a:lnTo>
                    <a:pt x="18" y="126"/>
                  </a:lnTo>
                  <a:lnTo>
                    <a:pt x="18" y="125"/>
                  </a:lnTo>
                  <a:lnTo>
                    <a:pt x="18" y="124"/>
                  </a:lnTo>
                  <a:lnTo>
                    <a:pt x="21" y="126"/>
                  </a:lnTo>
                  <a:lnTo>
                    <a:pt x="22" y="130"/>
                  </a:lnTo>
                  <a:lnTo>
                    <a:pt x="23" y="135"/>
                  </a:lnTo>
                  <a:lnTo>
                    <a:pt x="27" y="138"/>
                  </a:lnTo>
                  <a:lnTo>
                    <a:pt x="29" y="138"/>
                  </a:lnTo>
                  <a:lnTo>
                    <a:pt x="30" y="136"/>
                  </a:lnTo>
                  <a:lnTo>
                    <a:pt x="30" y="134"/>
                  </a:lnTo>
                  <a:lnTo>
                    <a:pt x="29" y="129"/>
                  </a:lnTo>
                  <a:lnTo>
                    <a:pt x="28" y="125"/>
                  </a:lnTo>
                  <a:lnTo>
                    <a:pt x="29" y="125"/>
                  </a:lnTo>
                  <a:lnTo>
                    <a:pt x="33" y="126"/>
                  </a:lnTo>
                  <a:lnTo>
                    <a:pt x="39" y="129"/>
                  </a:lnTo>
                  <a:lnTo>
                    <a:pt x="42" y="131"/>
                  </a:lnTo>
                  <a:lnTo>
                    <a:pt x="43" y="133"/>
                  </a:lnTo>
                  <a:lnTo>
                    <a:pt x="43" y="135"/>
                  </a:lnTo>
                  <a:lnTo>
                    <a:pt x="42" y="136"/>
                  </a:lnTo>
                  <a:lnTo>
                    <a:pt x="34" y="142"/>
                  </a:lnTo>
                  <a:lnTo>
                    <a:pt x="33" y="146"/>
                  </a:lnTo>
                  <a:lnTo>
                    <a:pt x="33" y="150"/>
                  </a:lnTo>
                  <a:lnTo>
                    <a:pt x="34" y="155"/>
                  </a:lnTo>
                  <a:lnTo>
                    <a:pt x="34" y="158"/>
                  </a:lnTo>
                  <a:lnTo>
                    <a:pt x="37" y="157"/>
                  </a:lnTo>
                  <a:lnTo>
                    <a:pt x="37" y="155"/>
                  </a:lnTo>
                  <a:lnTo>
                    <a:pt x="42" y="156"/>
                  </a:lnTo>
                  <a:lnTo>
                    <a:pt x="43" y="162"/>
                  </a:lnTo>
                  <a:lnTo>
                    <a:pt x="45" y="160"/>
                  </a:lnTo>
                  <a:lnTo>
                    <a:pt x="46" y="160"/>
                  </a:lnTo>
                  <a:lnTo>
                    <a:pt x="48" y="162"/>
                  </a:lnTo>
                  <a:lnTo>
                    <a:pt x="48" y="165"/>
                  </a:lnTo>
                  <a:lnTo>
                    <a:pt x="53" y="165"/>
                  </a:lnTo>
                  <a:lnTo>
                    <a:pt x="55" y="165"/>
                  </a:lnTo>
                  <a:lnTo>
                    <a:pt x="56" y="163"/>
                  </a:lnTo>
                  <a:lnTo>
                    <a:pt x="59" y="160"/>
                  </a:lnTo>
                  <a:lnTo>
                    <a:pt x="61" y="156"/>
                  </a:lnTo>
                  <a:lnTo>
                    <a:pt x="62" y="156"/>
                  </a:lnTo>
                  <a:lnTo>
                    <a:pt x="64" y="155"/>
                  </a:lnTo>
                  <a:lnTo>
                    <a:pt x="66" y="153"/>
                  </a:lnTo>
                  <a:lnTo>
                    <a:pt x="67" y="153"/>
                  </a:lnTo>
                  <a:lnTo>
                    <a:pt x="73" y="157"/>
                  </a:lnTo>
                  <a:lnTo>
                    <a:pt x="78" y="161"/>
                  </a:lnTo>
                  <a:lnTo>
                    <a:pt x="82" y="165"/>
                  </a:lnTo>
                  <a:lnTo>
                    <a:pt x="86" y="168"/>
                  </a:lnTo>
                  <a:lnTo>
                    <a:pt x="89" y="172"/>
                  </a:lnTo>
                  <a:lnTo>
                    <a:pt x="92" y="176"/>
                  </a:lnTo>
                  <a:lnTo>
                    <a:pt x="94" y="179"/>
                  </a:lnTo>
                  <a:lnTo>
                    <a:pt x="96" y="179"/>
                  </a:lnTo>
                  <a:lnTo>
                    <a:pt x="97" y="178"/>
                  </a:lnTo>
                  <a:lnTo>
                    <a:pt x="94" y="172"/>
                  </a:lnTo>
                  <a:lnTo>
                    <a:pt x="94" y="171"/>
                  </a:lnTo>
                  <a:lnTo>
                    <a:pt x="93" y="168"/>
                  </a:lnTo>
                  <a:lnTo>
                    <a:pt x="92" y="167"/>
                  </a:lnTo>
                  <a:lnTo>
                    <a:pt x="92" y="167"/>
                  </a:lnTo>
                  <a:lnTo>
                    <a:pt x="91" y="165"/>
                  </a:lnTo>
                  <a:lnTo>
                    <a:pt x="89" y="161"/>
                  </a:lnTo>
                  <a:lnTo>
                    <a:pt x="88" y="157"/>
                  </a:lnTo>
                  <a:lnTo>
                    <a:pt x="86" y="155"/>
                  </a:lnTo>
                  <a:lnTo>
                    <a:pt x="91" y="155"/>
                  </a:lnTo>
                  <a:lnTo>
                    <a:pt x="94" y="157"/>
                  </a:lnTo>
                  <a:lnTo>
                    <a:pt x="98" y="161"/>
                  </a:lnTo>
                  <a:lnTo>
                    <a:pt x="101" y="165"/>
                  </a:lnTo>
                  <a:lnTo>
                    <a:pt x="104" y="168"/>
                  </a:lnTo>
                  <a:lnTo>
                    <a:pt x="108" y="171"/>
                  </a:lnTo>
                  <a:lnTo>
                    <a:pt x="112" y="173"/>
                  </a:lnTo>
                  <a:lnTo>
                    <a:pt x="114" y="177"/>
                  </a:lnTo>
                  <a:lnTo>
                    <a:pt x="114" y="181"/>
                  </a:lnTo>
                  <a:lnTo>
                    <a:pt x="114" y="182"/>
                  </a:lnTo>
                  <a:lnTo>
                    <a:pt x="115" y="183"/>
                  </a:lnTo>
                  <a:lnTo>
                    <a:pt x="120" y="184"/>
                  </a:lnTo>
                  <a:lnTo>
                    <a:pt x="124" y="187"/>
                  </a:lnTo>
                  <a:lnTo>
                    <a:pt x="126" y="189"/>
                  </a:lnTo>
                  <a:lnTo>
                    <a:pt x="128" y="189"/>
                  </a:lnTo>
                  <a:lnTo>
                    <a:pt x="130" y="189"/>
                  </a:lnTo>
                  <a:lnTo>
                    <a:pt x="133" y="188"/>
                  </a:lnTo>
                  <a:lnTo>
                    <a:pt x="136" y="187"/>
                  </a:lnTo>
                  <a:lnTo>
                    <a:pt x="135" y="188"/>
                  </a:lnTo>
                  <a:lnTo>
                    <a:pt x="133" y="190"/>
                  </a:lnTo>
                  <a:lnTo>
                    <a:pt x="131" y="193"/>
                  </a:lnTo>
                  <a:lnTo>
                    <a:pt x="133" y="195"/>
                  </a:lnTo>
                  <a:lnTo>
                    <a:pt x="134" y="197"/>
                  </a:lnTo>
                  <a:lnTo>
                    <a:pt x="135" y="199"/>
                  </a:lnTo>
                  <a:lnTo>
                    <a:pt x="137" y="200"/>
                  </a:lnTo>
                  <a:lnTo>
                    <a:pt x="139" y="199"/>
                  </a:lnTo>
                  <a:lnTo>
                    <a:pt x="140" y="197"/>
                  </a:lnTo>
                  <a:lnTo>
                    <a:pt x="140" y="193"/>
                  </a:lnTo>
                  <a:lnTo>
                    <a:pt x="139" y="185"/>
                  </a:lnTo>
                  <a:lnTo>
                    <a:pt x="137" y="183"/>
                  </a:lnTo>
                  <a:lnTo>
                    <a:pt x="135" y="181"/>
                  </a:lnTo>
                  <a:lnTo>
                    <a:pt x="133" y="181"/>
                  </a:lnTo>
                  <a:lnTo>
                    <a:pt x="129" y="182"/>
                  </a:lnTo>
                  <a:lnTo>
                    <a:pt x="128" y="178"/>
                  </a:lnTo>
                  <a:lnTo>
                    <a:pt x="128" y="176"/>
                  </a:lnTo>
                  <a:lnTo>
                    <a:pt x="125" y="171"/>
                  </a:lnTo>
                  <a:lnTo>
                    <a:pt x="120" y="167"/>
                  </a:lnTo>
                  <a:lnTo>
                    <a:pt x="119" y="166"/>
                  </a:lnTo>
                  <a:lnTo>
                    <a:pt x="119" y="165"/>
                  </a:lnTo>
                  <a:lnTo>
                    <a:pt x="123" y="162"/>
                  </a:lnTo>
                  <a:lnTo>
                    <a:pt x="128" y="161"/>
                  </a:lnTo>
                  <a:lnTo>
                    <a:pt x="131" y="162"/>
                  </a:lnTo>
                  <a:lnTo>
                    <a:pt x="130" y="158"/>
                  </a:lnTo>
                  <a:lnTo>
                    <a:pt x="128" y="157"/>
                  </a:lnTo>
                  <a:lnTo>
                    <a:pt x="121" y="156"/>
                  </a:lnTo>
                  <a:lnTo>
                    <a:pt x="118" y="155"/>
                  </a:lnTo>
                  <a:lnTo>
                    <a:pt x="115" y="152"/>
                  </a:lnTo>
                  <a:lnTo>
                    <a:pt x="113" y="151"/>
                  </a:lnTo>
                  <a:lnTo>
                    <a:pt x="110" y="150"/>
                  </a:lnTo>
                  <a:lnTo>
                    <a:pt x="110" y="152"/>
                  </a:lnTo>
                  <a:lnTo>
                    <a:pt x="112" y="156"/>
                  </a:lnTo>
                  <a:lnTo>
                    <a:pt x="113" y="158"/>
                  </a:lnTo>
                  <a:lnTo>
                    <a:pt x="110" y="161"/>
                  </a:lnTo>
                  <a:lnTo>
                    <a:pt x="107" y="161"/>
                  </a:lnTo>
                  <a:lnTo>
                    <a:pt x="105" y="157"/>
                  </a:lnTo>
                  <a:lnTo>
                    <a:pt x="103" y="152"/>
                  </a:lnTo>
                  <a:lnTo>
                    <a:pt x="102" y="149"/>
                  </a:lnTo>
                  <a:lnTo>
                    <a:pt x="97" y="144"/>
                  </a:lnTo>
                  <a:lnTo>
                    <a:pt x="91" y="141"/>
                  </a:lnTo>
                  <a:lnTo>
                    <a:pt x="87" y="141"/>
                  </a:lnTo>
                  <a:lnTo>
                    <a:pt x="85" y="142"/>
                  </a:lnTo>
                  <a:lnTo>
                    <a:pt x="82" y="145"/>
                  </a:lnTo>
                  <a:lnTo>
                    <a:pt x="82" y="149"/>
                  </a:lnTo>
                  <a:lnTo>
                    <a:pt x="80" y="145"/>
                  </a:lnTo>
                  <a:lnTo>
                    <a:pt x="78" y="147"/>
                  </a:lnTo>
                  <a:lnTo>
                    <a:pt x="80" y="150"/>
                  </a:lnTo>
                  <a:lnTo>
                    <a:pt x="82" y="151"/>
                  </a:lnTo>
                  <a:lnTo>
                    <a:pt x="82" y="153"/>
                  </a:lnTo>
                  <a:lnTo>
                    <a:pt x="78" y="155"/>
                  </a:lnTo>
                  <a:lnTo>
                    <a:pt x="75" y="153"/>
                  </a:lnTo>
                  <a:lnTo>
                    <a:pt x="71" y="151"/>
                  </a:lnTo>
                  <a:lnTo>
                    <a:pt x="69" y="149"/>
                  </a:lnTo>
                  <a:lnTo>
                    <a:pt x="67" y="147"/>
                  </a:lnTo>
                  <a:lnTo>
                    <a:pt x="65" y="145"/>
                  </a:lnTo>
                  <a:lnTo>
                    <a:pt x="62" y="139"/>
                  </a:lnTo>
                  <a:lnTo>
                    <a:pt x="60" y="133"/>
                  </a:lnTo>
                  <a:lnTo>
                    <a:pt x="61" y="130"/>
                  </a:lnTo>
                  <a:lnTo>
                    <a:pt x="64" y="129"/>
                  </a:lnTo>
                  <a:lnTo>
                    <a:pt x="59" y="124"/>
                  </a:lnTo>
                  <a:lnTo>
                    <a:pt x="54" y="118"/>
                  </a:lnTo>
                  <a:lnTo>
                    <a:pt x="51" y="109"/>
                  </a:lnTo>
                  <a:lnTo>
                    <a:pt x="53" y="103"/>
                  </a:lnTo>
                  <a:lnTo>
                    <a:pt x="54" y="99"/>
                  </a:lnTo>
                  <a:lnTo>
                    <a:pt x="54" y="96"/>
                  </a:lnTo>
                  <a:lnTo>
                    <a:pt x="53" y="92"/>
                  </a:lnTo>
                  <a:lnTo>
                    <a:pt x="54" y="88"/>
                  </a:lnTo>
                  <a:lnTo>
                    <a:pt x="56" y="85"/>
                  </a:lnTo>
                  <a:lnTo>
                    <a:pt x="60" y="82"/>
                  </a:lnTo>
                  <a:lnTo>
                    <a:pt x="65" y="81"/>
                  </a:lnTo>
                  <a:lnTo>
                    <a:pt x="67" y="77"/>
                  </a:lnTo>
                  <a:lnTo>
                    <a:pt x="66" y="82"/>
                  </a:lnTo>
                  <a:lnTo>
                    <a:pt x="69" y="80"/>
                  </a:lnTo>
                  <a:lnTo>
                    <a:pt x="69" y="76"/>
                  </a:lnTo>
                  <a:lnTo>
                    <a:pt x="70" y="70"/>
                  </a:lnTo>
                  <a:lnTo>
                    <a:pt x="73" y="59"/>
                  </a:lnTo>
                  <a:lnTo>
                    <a:pt x="75" y="54"/>
                  </a:lnTo>
                  <a:lnTo>
                    <a:pt x="75" y="49"/>
                  </a:lnTo>
                  <a:lnTo>
                    <a:pt x="72" y="49"/>
                  </a:lnTo>
                  <a:lnTo>
                    <a:pt x="72" y="48"/>
                  </a:lnTo>
                  <a:lnTo>
                    <a:pt x="72" y="45"/>
                  </a:lnTo>
                  <a:lnTo>
                    <a:pt x="71" y="43"/>
                  </a:lnTo>
                  <a:lnTo>
                    <a:pt x="69" y="40"/>
                  </a:lnTo>
                  <a:lnTo>
                    <a:pt x="66" y="38"/>
                  </a:lnTo>
                  <a:lnTo>
                    <a:pt x="64" y="35"/>
                  </a:lnTo>
                  <a:lnTo>
                    <a:pt x="61" y="32"/>
                  </a:lnTo>
                  <a:lnTo>
                    <a:pt x="60" y="22"/>
                  </a:lnTo>
                  <a:lnTo>
                    <a:pt x="62" y="13"/>
                  </a:lnTo>
                  <a:lnTo>
                    <a:pt x="62" y="10"/>
                  </a:lnTo>
                  <a:lnTo>
                    <a:pt x="61" y="6"/>
                  </a:lnTo>
                  <a:lnTo>
                    <a:pt x="59" y="5"/>
                  </a:lnTo>
                  <a:lnTo>
                    <a:pt x="57" y="5"/>
                  </a:lnTo>
                  <a:lnTo>
                    <a:pt x="56" y="6"/>
                  </a:lnTo>
                  <a:lnTo>
                    <a:pt x="55" y="10"/>
                  </a:lnTo>
                  <a:lnTo>
                    <a:pt x="54" y="11"/>
                  </a:lnTo>
                  <a:lnTo>
                    <a:pt x="51" y="11"/>
                  </a:lnTo>
                  <a:lnTo>
                    <a:pt x="48" y="10"/>
                  </a:lnTo>
                  <a:lnTo>
                    <a:pt x="45" y="10"/>
                  </a:lnTo>
                  <a:lnTo>
                    <a:pt x="44" y="11"/>
                  </a:lnTo>
                  <a:lnTo>
                    <a:pt x="42" y="7"/>
                  </a:lnTo>
                  <a:lnTo>
                    <a:pt x="39" y="6"/>
                  </a:lnTo>
                  <a:lnTo>
                    <a:pt x="32" y="1"/>
                  </a:lnTo>
                  <a:lnTo>
                    <a:pt x="28" y="0"/>
                  </a:lnTo>
                  <a:lnTo>
                    <a:pt x="24" y="1"/>
                  </a:lnTo>
                  <a:lnTo>
                    <a:pt x="21" y="1"/>
                  </a:lnTo>
                  <a:lnTo>
                    <a:pt x="18" y="0"/>
                  </a:lnTo>
                  <a:lnTo>
                    <a:pt x="17" y="0"/>
                  </a:lnTo>
                  <a:lnTo>
                    <a:pt x="17" y="1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3" y="4"/>
                  </a:lnTo>
                  <a:lnTo>
                    <a:pt x="12" y="5"/>
                  </a:lnTo>
                  <a:lnTo>
                    <a:pt x="13" y="6"/>
                  </a:lnTo>
                  <a:lnTo>
                    <a:pt x="13" y="8"/>
                  </a:lnTo>
                  <a:lnTo>
                    <a:pt x="12" y="18"/>
                  </a:lnTo>
                  <a:lnTo>
                    <a:pt x="11" y="27"/>
                  </a:lnTo>
                  <a:lnTo>
                    <a:pt x="11" y="34"/>
                  </a:lnTo>
                  <a:lnTo>
                    <a:pt x="13" y="42"/>
                  </a:lnTo>
                  <a:lnTo>
                    <a:pt x="14" y="49"/>
                  </a:lnTo>
                  <a:lnTo>
                    <a:pt x="14" y="58"/>
                  </a:lnTo>
                  <a:lnTo>
                    <a:pt x="14" y="64"/>
                  </a:lnTo>
                  <a:lnTo>
                    <a:pt x="14" y="70"/>
                  </a:lnTo>
                  <a:lnTo>
                    <a:pt x="18" y="81"/>
                  </a:lnTo>
                  <a:lnTo>
                    <a:pt x="18" y="83"/>
                  </a:lnTo>
                  <a:lnTo>
                    <a:pt x="16" y="85"/>
                  </a:lnTo>
                  <a:lnTo>
                    <a:pt x="14" y="85"/>
                  </a:lnTo>
                  <a:lnTo>
                    <a:pt x="11" y="82"/>
                  </a:lnTo>
                  <a:lnTo>
                    <a:pt x="6" y="77"/>
                  </a:lnTo>
                  <a:lnTo>
                    <a:pt x="3" y="75"/>
                  </a:lnTo>
                  <a:lnTo>
                    <a:pt x="2" y="74"/>
                  </a:lnTo>
                  <a:lnTo>
                    <a:pt x="1" y="75"/>
                  </a:lnTo>
                  <a:lnTo>
                    <a:pt x="0" y="77"/>
                  </a:lnTo>
                  <a:lnTo>
                    <a:pt x="1" y="8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2" name="Freeform 1381">
              <a:extLst>
                <a:ext uri="{FF2B5EF4-FFF2-40B4-BE49-F238E27FC236}">
                  <a16:creationId xmlns:a16="http://schemas.microsoft.com/office/drawing/2014/main" id="{38DE6D2E-5763-402E-87AA-DECD34AA472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0868" y="3933748"/>
              <a:ext cx="4216" cy="6324"/>
            </a:xfrm>
            <a:custGeom>
              <a:avLst/>
              <a:gdLst>
                <a:gd name="T0" fmla="*/ 0 w 5"/>
                <a:gd name="T1" fmla="*/ 1 h 5"/>
                <a:gd name="T2" fmla="*/ 5 w 5"/>
                <a:gd name="T3" fmla="*/ 5 h 5"/>
                <a:gd name="T4" fmla="*/ 5 w 5"/>
                <a:gd name="T5" fmla="*/ 2 h 5"/>
                <a:gd name="T6" fmla="*/ 4 w 5"/>
                <a:gd name="T7" fmla="*/ 1 h 5"/>
                <a:gd name="T8" fmla="*/ 3 w 5"/>
                <a:gd name="T9" fmla="*/ 0 h 5"/>
                <a:gd name="T10" fmla="*/ 0 w 5"/>
                <a:gd name="T11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0" y="1"/>
                  </a:moveTo>
                  <a:lnTo>
                    <a:pt x="5" y="5"/>
                  </a:lnTo>
                  <a:lnTo>
                    <a:pt x="5" y="2"/>
                  </a:lnTo>
                  <a:lnTo>
                    <a:pt x="4" y="1"/>
                  </a:lnTo>
                  <a:lnTo>
                    <a:pt x="3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3" name="Freeform 1382">
              <a:extLst>
                <a:ext uri="{FF2B5EF4-FFF2-40B4-BE49-F238E27FC236}">
                  <a16:creationId xmlns:a16="http://schemas.microsoft.com/office/drawing/2014/main" id="{F199D889-9670-4449-9072-A535F2076AE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2977" y="3952719"/>
              <a:ext cx="2109" cy="2109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1 h 1"/>
                <a:gd name="T4" fmla="*/ 1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lnTo>
                    <a:pt x="2" y="1"/>
                  </a:lnTo>
                  <a:lnTo>
                    <a:pt x="1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4" name="Freeform 1383">
              <a:extLst>
                <a:ext uri="{FF2B5EF4-FFF2-40B4-BE49-F238E27FC236}">
                  <a16:creationId xmlns:a16="http://schemas.microsoft.com/office/drawing/2014/main" id="{B17D2745-C3FD-4201-90A4-AEE0E3DDB4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1408" y="3897913"/>
              <a:ext cx="2109" cy="4216"/>
            </a:xfrm>
            <a:custGeom>
              <a:avLst/>
              <a:gdLst>
                <a:gd name="T0" fmla="*/ 0 w 3"/>
                <a:gd name="T1" fmla="*/ 5 h 5"/>
                <a:gd name="T2" fmla="*/ 3 w 3"/>
                <a:gd name="T3" fmla="*/ 0 h 5"/>
                <a:gd name="T4" fmla="*/ 0 w 3"/>
                <a:gd name="T5" fmla="*/ 3 h 5"/>
                <a:gd name="T6" fmla="*/ 0 w 3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5">
                  <a:moveTo>
                    <a:pt x="0" y="5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0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5" name="Freeform 1384">
              <a:extLst>
                <a:ext uri="{FF2B5EF4-FFF2-40B4-BE49-F238E27FC236}">
                  <a16:creationId xmlns:a16="http://schemas.microsoft.com/office/drawing/2014/main" id="{1D4F13E7-D291-469C-95A6-6ED057B148C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7731" y="3948503"/>
              <a:ext cx="2109" cy="6324"/>
            </a:xfrm>
            <a:custGeom>
              <a:avLst/>
              <a:gdLst>
                <a:gd name="T0" fmla="*/ 0 w 3"/>
                <a:gd name="T1" fmla="*/ 4 h 4"/>
                <a:gd name="T2" fmla="*/ 3 w 3"/>
                <a:gd name="T3" fmla="*/ 2 h 4"/>
                <a:gd name="T4" fmla="*/ 3 w 3"/>
                <a:gd name="T5" fmla="*/ 0 h 4"/>
                <a:gd name="T6" fmla="*/ 0 w 3"/>
                <a:gd name="T7" fmla="*/ 2 h 4"/>
                <a:gd name="T8" fmla="*/ 0 w 3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4"/>
                  </a:moveTo>
                  <a:lnTo>
                    <a:pt x="3" y="2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6" name="Freeform 1444">
              <a:extLst>
                <a:ext uri="{FF2B5EF4-FFF2-40B4-BE49-F238E27FC236}">
                  <a16:creationId xmlns:a16="http://schemas.microsoft.com/office/drawing/2014/main" id="{B87C7096-1F12-492F-AA16-5BD7F277B95B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6069" y="3183337"/>
              <a:ext cx="236084" cy="149661"/>
            </a:xfrm>
            <a:custGeom>
              <a:avLst/>
              <a:gdLst>
                <a:gd name="T0" fmla="*/ 4 w 224"/>
                <a:gd name="T1" fmla="*/ 48 h 143"/>
                <a:gd name="T2" fmla="*/ 29 w 224"/>
                <a:gd name="T3" fmla="*/ 48 h 143"/>
                <a:gd name="T4" fmla="*/ 32 w 224"/>
                <a:gd name="T5" fmla="*/ 38 h 143"/>
                <a:gd name="T6" fmla="*/ 37 w 224"/>
                <a:gd name="T7" fmla="*/ 37 h 143"/>
                <a:gd name="T8" fmla="*/ 34 w 224"/>
                <a:gd name="T9" fmla="*/ 31 h 143"/>
                <a:gd name="T10" fmla="*/ 31 w 224"/>
                <a:gd name="T11" fmla="*/ 27 h 143"/>
                <a:gd name="T12" fmla="*/ 44 w 224"/>
                <a:gd name="T13" fmla="*/ 26 h 143"/>
                <a:gd name="T14" fmla="*/ 42 w 224"/>
                <a:gd name="T15" fmla="*/ 17 h 143"/>
                <a:gd name="T16" fmla="*/ 47 w 224"/>
                <a:gd name="T17" fmla="*/ 9 h 143"/>
                <a:gd name="T18" fmla="*/ 59 w 224"/>
                <a:gd name="T19" fmla="*/ 10 h 143"/>
                <a:gd name="T20" fmla="*/ 74 w 224"/>
                <a:gd name="T21" fmla="*/ 5 h 143"/>
                <a:gd name="T22" fmla="*/ 79 w 224"/>
                <a:gd name="T23" fmla="*/ 15 h 143"/>
                <a:gd name="T24" fmla="*/ 74 w 224"/>
                <a:gd name="T25" fmla="*/ 21 h 143"/>
                <a:gd name="T26" fmla="*/ 86 w 224"/>
                <a:gd name="T27" fmla="*/ 27 h 143"/>
                <a:gd name="T28" fmla="*/ 81 w 224"/>
                <a:gd name="T29" fmla="*/ 34 h 143"/>
                <a:gd name="T30" fmla="*/ 75 w 224"/>
                <a:gd name="T31" fmla="*/ 31 h 143"/>
                <a:gd name="T32" fmla="*/ 56 w 224"/>
                <a:gd name="T33" fmla="*/ 29 h 143"/>
                <a:gd name="T34" fmla="*/ 49 w 224"/>
                <a:gd name="T35" fmla="*/ 36 h 143"/>
                <a:gd name="T36" fmla="*/ 53 w 224"/>
                <a:gd name="T37" fmla="*/ 49 h 143"/>
                <a:gd name="T38" fmla="*/ 71 w 224"/>
                <a:gd name="T39" fmla="*/ 48 h 143"/>
                <a:gd name="T40" fmla="*/ 83 w 224"/>
                <a:gd name="T41" fmla="*/ 48 h 143"/>
                <a:gd name="T42" fmla="*/ 98 w 224"/>
                <a:gd name="T43" fmla="*/ 53 h 143"/>
                <a:gd name="T44" fmla="*/ 109 w 224"/>
                <a:gd name="T45" fmla="*/ 48 h 143"/>
                <a:gd name="T46" fmla="*/ 122 w 224"/>
                <a:gd name="T47" fmla="*/ 57 h 143"/>
                <a:gd name="T48" fmla="*/ 134 w 224"/>
                <a:gd name="T49" fmla="*/ 58 h 143"/>
                <a:gd name="T50" fmla="*/ 156 w 224"/>
                <a:gd name="T51" fmla="*/ 54 h 143"/>
                <a:gd name="T52" fmla="*/ 168 w 224"/>
                <a:gd name="T53" fmla="*/ 52 h 143"/>
                <a:gd name="T54" fmla="*/ 178 w 224"/>
                <a:gd name="T55" fmla="*/ 69 h 143"/>
                <a:gd name="T56" fmla="*/ 179 w 224"/>
                <a:gd name="T57" fmla="*/ 79 h 143"/>
                <a:gd name="T58" fmla="*/ 190 w 224"/>
                <a:gd name="T59" fmla="*/ 77 h 143"/>
                <a:gd name="T60" fmla="*/ 206 w 224"/>
                <a:gd name="T61" fmla="*/ 82 h 143"/>
                <a:gd name="T62" fmla="*/ 213 w 224"/>
                <a:gd name="T63" fmla="*/ 98 h 143"/>
                <a:gd name="T64" fmla="*/ 219 w 224"/>
                <a:gd name="T65" fmla="*/ 113 h 143"/>
                <a:gd name="T66" fmla="*/ 224 w 224"/>
                <a:gd name="T67" fmla="*/ 122 h 143"/>
                <a:gd name="T68" fmla="*/ 216 w 224"/>
                <a:gd name="T69" fmla="*/ 122 h 143"/>
                <a:gd name="T70" fmla="*/ 203 w 224"/>
                <a:gd name="T71" fmla="*/ 119 h 143"/>
                <a:gd name="T72" fmla="*/ 188 w 224"/>
                <a:gd name="T73" fmla="*/ 122 h 143"/>
                <a:gd name="T74" fmla="*/ 177 w 224"/>
                <a:gd name="T75" fmla="*/ 118 h 143"/>
                <a:gd name="T76" fmla="*/ 162 w 224"/>
                <a:gd name="T77" fmla="*/ 130 h 143"/>
                <a:gd name="T78" fmla="*/ 149 w 224"/>
                <a:gd name="T79" fmla="*/ 135 h 143"/>
                <a:gd name="T80" fmla="*/ 131 w 224"/>
                <a:gd name="T81" fmla="*/ 140 h 143"/>
                <a:gd name="T82" fmla="*/ 125 w 224"/>
                <a:gd name="T83" fmla="*/ 114 h 143"/>
                <a:gd name="T84" fmla="*/ 123 w 224"/>
                <a:gd name="T85" fmla="*/ 102 h 143"/>
                <a:gd name="T86" fmla="*/ 115 w 224"/>
                <a:gd name="T87" fmla="*/ 97 h 143"/>
                <a:gd name="T88" fmla="*/ 110 w 224"/>
                <a:gd name="T89" fmla="*/ 87 h 143"/>
                <a:gd name="T90" fmla="*/ 93 w 224"/>
                <a:gd name="T91" fmla="*/ 92 h 143"/>
                <a:gd name="T92" fmla="*/ 88 w 224"/>
                <a:gd name="T93" fmla="*/ 106 h 143"/>
                <a:gd name="T94" fmla="*/ 87 w 224"/>
                <a:gd name="T95" fmla="*/ 116 h 143"/>
                <a:gd name="T96" fmla="*/ 70 w 224"/>
                <a:gd name="T97" fmla="*/ 117 h 143"/>
                <a:gd name="T98" fmla="*/ 71 w 224"/>
                <a:gd name="T99" fmla="*/ 127 h 143"/>
                <a:gd name="T100" fmla="*/ 63 w 224"/>
                <a:gd name="T101" fmla="*/ 127 h 143"/>
                <a:gd name="T102" fmla="*/ 55 w 224"/>
                <a:gd name="T103" fmla="*/ 124 h 143"/>
                <a:gd name="T104" fmla="*/ 48 w 224"/>
                <a:gd name="T105" fmla="*/ 127 h 143"/>
                <a:gd name="T106" fmla="*/ 39 w 224"/>
                <a:gd name="T107" fmla="*/ 133 h 143"/>
                <a:gd name="T108" fmla="*/ 29 w 224"/>
                <a:gd name="T109" fmla="*/ 129 h 143"/>
                <a:gd name="T110" fmla="*/ 32 w 224"/>
                <a:gd name="T111" fmla="*/ 106 h 143"/>
                <a:gd name="T112" fmla="*/ 31 w 224"/>
                <a:gd name="T113" fmla="*/ 88 h 143"/>
                <a:gd name="T114" fmla="*/ 24 w 224"/>
                <a:gd name="T115" fmla="*/ 70 h 143"/>
                <a:gd name="T116" fmla="*/ 12 w 224"/>
                <a:gd name="T117" fmla="*/ 66 h 143"/>
                <a:gd name="T118" fmla="*/ 2 w 224"/>
                <a:gd name="T119" fmla="*/ 6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4" h="143">
                  <a:moveTo>
                    <a:pt x="0" y="58"/>
                  </a:moveTo>
                  <a:lnTo>
                    <a:pt x="1" y="54"/>
                  </a:lnTo>
                  <a:lnTo>
                    <a:pt x="2" y="50"/>
                  </a:lnTo>
                  <a:lnTo>
                    <a:pt x="4" y="48"/>
                  </a:lnTo>
                  <a:lnTo>
                    <a:pt x="8" y="47"/>
                  </a:lnTo>
                  <a:lnTo>
                    <a:pt x="17" y="48"/>
                  </a:lnTo>
                  <a:lnTo>
                    <a:pt x="26" y="49"/>
                  </a:lnTo>
                  <a:lnTo>
                    <a:pt x="29" y="48"/>
                  </a:lnTo>
                  <a:lnTo>
                    <a:pt x="31" y="47"/>
                  </a:lnTo>
                  <a:lnTo>
                    <a:pt x="31" y="42"/>
                  </a:lnTo>
                  <a:lnTo>
                    <a:pt x="31" y="39"/>
                  </a:lnTo>
                  <a:lnTo>
                    <a:pt x="32" y="38"/>
                  </a:lnTo>
                  <a:lnTo>
                    <a:pt x="34" y="37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7" y="37"/>
                  </a:lnTo>
                  <a:lnTo>
                    <a:pt x="34" y="34"/>
                  </a:lnTo>
                  <a:lnTo>
                    <a:pt x="33" y="32"/>
                  </a:lnTo>
                  <a:lnTo>
                    <a:pt x="37" y="32"/>
                  </a:lnTo>
                  <a:lnTo>
                    <a:pt x="34" y="31"/>
                  </a:lnTo>
                  <a:lnTo>
                    <a:pt x="32" y="29"/>
                  </a:lnTo>
                  <a:lnTo>
                    <a:pt x="29" y="31"/>
                  </a:lnTo>
                  <a:lnTo>
                    <a:pt x="27" y="28"/>
                  </a:lnTo>
                  <a:lnTo>
                    <a:pt x="31" y="27"/>
                  </a:lnTo>
                  <a:lnTo>
                    <a:pt x="35" y="27"/>
                  </a:lnTo>
                  <a:lnTo>
                    <a:pt x="40" y="28"/>
                  </a:lnTo>
                  <a:lnTo>
                    <a:pt x="45" y="27"/>
                  </a:lnTo>
                  <a:lnTo>
                    <a:pt x="44" y="26"/>
                  </a:lnTo>
                  <a:lnTo>
                    <a:pt x="44" y="25"/>
                  </a:lnTo>
                  <a:lnTo>
                    <a:pt x="44" y="22"/>
                  </a:lnTo>
                  <a:lnTo>
                    <a:pt x="44" y="21"/>
                  </a:lnTo>
                  <a:lnTo>
                    <a:pt x="42" y="17"/>
                  </a:lnTo>
                  <a:lnTo>
                    <a:pt x="42" y="15"/>
                  </a:lnTo>
                  <a:lnTo>
                    <a:pt x="42" y="11"/>
                  </a:lnTo>
                  <a:lnTo>
                    <a:pt x="43" y="9"/>
                  </a:lnTo>
                  <a:lnTo>
                    <a:pt x="47" y="9"/>
                  </a:lnTo>
                  <a:lnTo>
                    <a:pt x="49" y="10"/>
                  </a:lnTo>
                  <a:lnTo>
                    <a:pt x="53" y="11"/>
                  </a:lnTo>
                  <a:lnTo>
                    <a:pt x="55" y="12"/>
                  </a:lnTo>
                  <a:lnTo>
                    <a:pt x="59" y="10"/>
                  </a:lnTo>
                  <a:lnTo>
                    <a:pt x="63" y="7"/>
                  </a:lnTo>
                  <a:lnTo>
                    <a:pt x="66" y="4"/>
                  </a:lnTo>
                  <a:lnTo>
                    <a:pt x="70" y="0"/>
                  </a:lnTo>
                  <a:lnTo>
                    <a:pt x="74" y="5"/>
                  </a:lnTo>
                  <a:lnTo>
                    <a:pt x="77" y="9"/>
                  </a:lnTo>
                  <a:lnTo>
                    <a:pt x="80" y="11"/>
                  </a:lnTo>
                  <a:lnTo>
                    <a:pt x="80" y="12"/>
                  </a:lnTo>
                  <a:lnTo>
                    <a:pt x="79" y="15"/>
                  </a:lnTo>
                  <a:lnTo>
                    <a:pt x="76" y="16"/>
                  </a:lnTo>
                  <a:lnTo>
                    <a:pt x="72" y="18"/>
                  </a:lnTo>
                  <a:lnTo>
                    <a:pt x="72" y="20"/>
                  </a:lnTo>
                  <a:lnTo>
                    <a:pt x="74" y="21"/>
                  </a:lnTo>
                  <a:lnTo>
                    <a:pt x="76" y="22"/>
                  </a:lnTo>
                  <a:lnTo>
                    <a:pt x="79" y="25"/>
                  </a:lnTo>
                  <a:lnTo>
                    <a:pt x="82" y="27"/>
                  </a:lnTo>
                  <a:lnTo>
                    <a:pt x="86" y="27"/>
                  </a:lnTo>
                  <a:lnTo>
                    <a:pt x="90" y="26"/>
                  </a:lnTo>
                  <a:lnTo>
                    <a:pt x="88" y="29"/>
                  </a:lnTo>
                  <a:lnTo>
                    <a:pt x="85" y="32"/>
                  </a:lnTo>
                  <a:lnTo>
                    <a:pt x="81" y="34"/>
                  </a:lnTo>
                  <a:lnTo>
                    <a:pt x="79" y="36"/>
                  </a:lnTo>
                  <a:lnTo>
                    <a:pt x="80" y="34"/>
                  </a:lnTo>
                  <a:lnTo>
                    <a:pt x="79" y="33"/>
                  </a:lnTo>
                  <a:lnTo>
                    <a:pt x="75" y="31"/>
                  </a:lnTo>
                  <a:lnTo>
                    <a:pt x="69" y="28"/>
                  </a:lnTo>
                  <a:lnTo>
                    <a:pt x="65" y="27"/>
                  </a:lnTo>
                  <a:lnTo>
                    <a:pt x="60" y="27"/>
                  </a:lnTo>
                  <a:lnTo>
                    <a:pt x="56" y="29"/>
                  </a:lnTo>
                  <a:lnTo>
                    <a:pt x="53" y="32"/>
                  </a:lnTo>
                  <a:lnTo>
                    <a:pt x="51" y="37"/>
                  </a:lnTo>
                  <a:lnTo>
                    <a:pt x="50" y="36"/>
                  </a:lnTo>
                  <a:lnTo>
                    <a:pt x="49" y="36"/>
                  </a:lnTo>
                  <a:lnTo>
                    <a:pt x="49" y="39"/>
                  </a:lnTo>
                  <a:lnTo>
                    <a:pt x="49" y="44"/>
                  </a:lnTo>
                  <a:lnTo>
                    <a:pt x="51" y="48"/>
                  </a:lnTo>
                  <a:lnTo>
                    <a:pt x="53" y="49"/>
                  </a:lnTo>
                  <a:lnTo>
                    <a:pt x="56" y="49"/>
                  </a:lnTo>
                  <a:lnTo>
                    <a:pt x="61" y="48"/>
                  </a:lnTo>
                  <a:lnTo>
                    <a:pt x="67" y="48"/>
                  </a:lnTo>
                  <a:lnTo>
                    <a:pt x="71" y="48"/>
                  </a:lnTo>
                  <a:lnTo>
                    <a:pt x="75" y="47"/>
                  </a:lnTo>
                  <a:lnTo>
                    <a:pt x="75" y="49"/>
                  </a:lnTo>
                  <a:lnTo>
                    <a:pt x="80" y="48"/>
                  </a:lnTo>
                  <a:lnTo>
                    <a:pt x="83" y="48"/>
                  </a:lnTo>
                  <a:lnTo>
                    <a:pt x="87" y="50"/>
                  </a:lnTo>
                  <a:lnTo>
                    <a:pt x="91" y="54"/>
                  </a:lnTo>
                  <a:lnTo>
                    <a:pt x="95" y="54"/>
                  </a:lnTo>
                  <a:lnTo>
                    <a:pt x="98" y="53"/>
                  </a:lnTo>
                  <a:lnTo>
                    <a:pt x="103" y="50"/>
                  </a:lnTo>
                  <a:lnTo>
                    <a:pt x="107" y="48"/>
                  </a:lnTo>
                  <a:lnTo>
                    <a:pt x="108" y="47"/>
                  </a:lnTo>
                  <a:lnTo>
                    <a:pt x="109" y="48"/>
                  </a:lnTo>
                  <a:lnTo>
                    <a:pt x="110" y="50"/>
                  </a:lnTo>
                  <a:lnTo>
                    <a:pt x="117" y="52"/>
                  </a:lnTo>
                  <a:lnTo>
                    <a:pt x="118" y="55"/>
                  </a:lnTo>
                  <a:lnTo>
                    <a:pt x="122" y="57"/>
                  </a:lnTo>
                  <a:lnTo>
                    <a:pt x="125" y="57"/>
                  </a:lnTo>
                  <a:lnTo>
                    <a:pt x="129" y="58"/>
                  </a:lnTo>
                  <a:lnTo>
                    <a:pt x="133" y="60"/>
                  </a:lnTo>
                  <a:lnTo>
                    <a:pt x="134" y="58"/>
                  </a:lnTo>
                  <a:lnTo>
                    <a:pt x="136" y="55"/>
                  </a:lnTo>
                  <a:lnTo>
                    <a:pt x="142" y="54"/>
                  </a:lnTo>
                  <a:lnTo>
                    <a:pt x="150" y="54"/>
                  </a:lnTo>
                  <a:lnTo>
                    <a:pt x="156" y="54"/>
                  </a:lnTo>
                  <a:lnTo>
                    <a:pt x="160" y="54"/>
                  </a:lnTo>
                  <a:lnTo>
                    <a:pt x="162" y="53"/>
                  </a:lnTo>
                  <a:lnTo>
                    <a:pt x="166" y="52"/>
                  </a:lnTo>
                  <a:lnTo>
                    <a:pt x="168" y="52"/>
                  </a:lnTo>
                  <a:lnTo>
                    <a:pt x="170" y="57"/>
                  </a:lnTo>
                  <a:lnTo>
                    <a:pt x="171" y="60"/>
                  </a:lnTo>
                  <a:lnTo>
                    <a:pt x="174" y="64"/>
                  </a:lnTo>
                  <a:lnTo>
                    <a:pt x="178" y="69"/>
                  </a:lnTo>
                  <a:lnTo>
                    <a:pt x="176" y="70"/>
                  </a:lnTo>
                  <a:lnTo>
                    <a:pt x="176" y="73"/>
                  </a:lnTo>
                  <a:lnTo>
                    <a:pt x="178" y="76"/>
                  </a:lnTo>
                  <a:lnTo>
                    <a:pt x="179" y="79"/>
                  </a:lnTo>
                  <a:lnTo>
                    <a:pt x="181" y="81"/>
                  </a:lnTo>
                  <a:lnTo>
                    <a:pt x="183" y="81"/>
                  </a:lnTo>
                  <a:lnTo>
                    <a:pt x="187" y="80"/>
                  </a:lnTo>
                  <a:lnTo>
                    <a:pt x="190" y="77"/>
                  </a:lnTo>
                  <a:lnTo>
                    <a:pt x="193" y="77"/>
                  </a:lnTo>
                  <a:lnTo>
                    <a:pt x="197" y="79"/>
                  </a:lnTo>
                  <a:lnTo>
                    <a:pt x="203" y="80"/>
                  </a:lnTo>
                  <a:lnTo>
                    <a:pt x="206" y="82"/>
                  </a:lnTo>
                  <a:lnTo>
                    <a:pt x="210" y="85"/>
                  </a:lnTo>
                  <a:lnTo>
                    <a:pt x="210" y="91"/>
                  </a:lnTo>
                  <a:lnTo>
                    <a:pt x="210" y="95"/>
                  </a:lnTo>
                  <a:lnTo>
                    <a:pt x="213" y="98"/>
                  </a:lnTo>
                  <a:lnTo>
                    <a:pt x="216" y="103"/>
                  </a:lnTo>
                  <a:lnTo>
                    <a:pt x="217" y="107"/>
                  </a:lnTo>
                  <a:lnTo>
                    <a:pt x="217" y="109"/>
                  </a:lnTo>
                  <a:lnTo>
                    <a:pt x="219" y="113"/>
                  </a:lnTo>
                  <a:lnTo>
                    <a:pt x="221" y="116"/>
                  </a:lnTo>
                  <a:lnTo>
                    <a:pt x="222" y="117"/>
                  </a:lnTo>
                  <a:lnTo>
                    <a:pt x="224" y="118"/>
                  </a:lnTo>
                  <a:lnTo>
                    <a:pt x="224" y="122"/>
                  </a:lnTo>
                  <a:lnTo>
                    <a:pt x="221" y="125"/>
                  </a:lnTo>
                  <a:lnTo>
                    <a:pt x="220" y="124"/>
                  </a:lnTo>
                  <a:lnTo>
                    <a:pt x="219" y="123"/>
                  </a:lnTo>
                  <a:lnTo>
                    <a:pt x="216" y="122"/>
                  </a:lnTo>
                  <a:lnTo>
                    <a:pt x="213" y="120"/>
                  </a:lnTo>
                  <a:lnTo>
                    <a:pt x="209" y="119"/>
                  </a:lnTo>
                  <a:lnTo>
                    <a:pt x="205" y="119"/>
                  </a:lnTo>
                  <a:lnTo>
                    <a:pt x="203" y="119"/>
                  </a:lnTo>
                  <a:lnTo>
                    <a:pt x="195" y="124"/>
                  </a:lnTo>
                  <a:lnTo>
                    <a:pt x="190" y="125"/>
                  </a:lnTo>
                  <a:lnTo>
                    <a:pt x="187" y="124"/>
                  </a:lnTo>
                  <a:lnTo>
                    <a:pt x="188" y="122"/>
                  </a:lnTo>
                  <a:lnTo>
                    <a:pt x="188" y="120"/>
                  </a:lnTo>
                  <a:lnTo>
                    <a:pt x="186" y="118"/>
                  </a:lnTo>
                  <a:lnTo>
                    <a:pt x="183" y="118"/>
                  </a:lnTo>
                  <a:lnTo>
                    <a:pt x="177" y="118"/>
                  </a:lnTo>
                  <a:lnTo>
                    <a:pt x="173" y="119"/>
                  </a:lnTo>
                  <a:lnTo>
                    <a:pt x="171" y="119"/>
                  </a:lnTo>
                  <a:lnTo>
                    <a:pt x="166" y="124"/>
                  </a:lnTo>
                  <a:lnTo>
                    <a:pt x="162" y="130"/>
                  </a:lnTo>
                  <a:lnTo>
                    <a:pt x="160" y="133"/>
                  </a:lnTo>
                  <a:lnTo>
                    <a:pt x="156" y="133"/>
                  </a:lnTo>
                  <a:lnTo>
                    <a:pt x="152" y="134"/>
                  </a:lnTo>
                  <a:lnTo>
                    <a:pt x="149" y="135"/>
                  </a:lnTo>
                  <a:lnTo>
                    <a:pt x="145" y="139"/>
                  </a:lnTo>
                  <a:lnTo>
                    <a:pt x="141" y="141"/>
                  </a:lnTo>
                  <a:lnTo>
                    <a:pt x="135" y="143"/>
                  </a:lnTo>
                  <a:lnTo>
                    <a:pt x="131" y="140"/>
                  </a:lnTo>
                  <a:lnTo>
                    <a:pt x="129" y="135"/>
                  </a:lnTo>
                  <a:lnTo>
                    <a:pt x="126" y="129"/>
                  </a:lnTo>
                  <a:lnTo>
                    <a:pt x="125" y="122"/>
                  </a:lnTo>
                  <a:lnTo>
                    <a:pt x="125" y="114"/>
                  </a:lnTo>
                  <a:lnTo>
                    <a:pt x="125" y="108"/>
                  </a:lnTo>
                  <a:lnTo>
                    <a:pt x="125" y="104"/>
                  </a:lnTo>
                  <a:lnTo>
                    <a:pt x="125" y="103"/>
                  </a:lnTo>
                  <a:lnTo>
                    <a:pt x="123" y="102"/>
                  </a:lnTo>
                  <a:lnTo>
                    <a:pt x="119" y="103"/>
                  </a:lnTo>
                  <a:lnTo>
                    <a:pt x="117" y="102"/>
                  </a:lnTo>
                  <a:lnTo>
                    <a:pt x="115" y="101"/>
                  </a:lnTo>
                  <a:lnTo>
                    <a:pt x="115" y="97"/>
                  </a:lnTo>
                  <a:lnTo>
                    <a:pt x="115" y="95"/>
                  </a:lnTo>
                  <a:lnTo>
                    <a:pt x="115" y="92"/>
                  </a:lnTo>
                  <a:lnTo>
                    <a:pt x="114" y="90"/>
                  </a:lnTo>
                  <a:lnTo>
                    <a:pt x="110" y="87"/>
                  </a:lnTo>
                  <a:lnTo>
                    <a:pt x="107" y="86"/>
                  </a:lnTo>
                  <a:lnTo>
                    <a:pt x="104" y="85"/>
                  </a:lnTo>
                  <a:lnTo>
                    <a:pt x="98" y="87"/>
                  </a:lnTo>
                  <a:lnTo>
                    <a:pt x="93" y="92"/>
                  </a:lnTo>
                  <a:lnTo>
                    <a:pt x="91" y="97"/>
                  </a:lnTo>
                  <a:lnTo>
                    <a:pt x="88" y="102"/>
                  </a:lnTo>
                  <a:lnTo>
                    <a:pt x="87" y="103"/>
                  </a:lnTo>
                  <a:lnTo>
                    <a:pt x="88" y="106"/>
                  </a:lnTo>
                  <a:lnTo>
                    <a:pt x="91" y="109"/>
                  </a:lnTo>
                  <a:lnTo>
                    <a:pt x="92" y="112"/>
                  </a:lnTo>
                  <a:lnTo>
                    <a:pt x="90" y="114"/>
                  </a:lnTo>
                  <a:lnTo>
                    <a:pt x="87" y="116"/>
                  </a:lnTo>
                  <a:lnTo>
                    <a:pt x="83" y="114"/>
                  </a:lnTo>
                  <a:lnTo>
                    <a:pt x="76" y="113"/>
                  </a:lnTo>
                  <a:lnTo>
                    <a:pt x="71" y="116"/>
                  </a:lnTo>
                  <a:lnTo>
                    <a:pt x="70" y="117"/>
                  </a:lnTo>
                  <a:lnTo>
                    <a:pt x="70" y="119"/>
                  </a:lnTo>
                  <a:lnTo>
                    <a:pt x="70" y="122"/>
                  </a:lnTo>
                  <a:lnTo>
                    <a:pt x="71" y="124"/>
                  </a:lnTo>
                  <a:lnTo>
                    <a:pt x="71" y="127"/>
                  </a:lnTo>
                  <a:lnTo>
                    <a:pt x="70" y="129"/>
                  </a:lnTo>
                  <a:lnTo>
                    <a:pt x="69" y="129"/>
                  </a:lnTo>
                  <a:lnTo>
                    <a:pt x="66" y="129"/>
                  </a:lnTo>
                  <a:lnTo>
                    <a:pt x="63" y="127"/>
                  </a:lnTo>
                  <a:lnTo>
                    <a:pt x="60" y="124"/>
                  </a:lnTo>
                  <a:lnTo>
                    <a:pt x="59" y="122"/>
                  </a:lnTo>
                  <a:lnTo>
                    <a:pt x="56" y="122"/>
                  </a:lnTo>
                  <a:lnTo>
                    <a:pt x="55" y="124"/>
                  </a:lnTo>
                  <a:lnTo>
                    <a:pt x="54" y="125"/>
                  </a:lnTo>
                  <a:lnTo>
                    <a:pt x="53" y="124"/>
                  </a:lnTo>
                  <a:lnTo>
                    <a:pt x="51" y="124"/>
                  </a:lnTo>
                  <a:lnTo>
                    <a:pt x="48" y="127"/>
                  </a:lnTo>
                  <a:lnTo>
                    <a:pt x="43" y="128"/>
                  </a:lnTo>
                  <a:lnTo>
                    <a:pt x="42" y="130"/>
                  </a:lnTo>
                  <a:lnTo>
                    <a:pt x="40" y="133"/>
                  </a:lnTo>
                  <a:lnTo>
                    <a:pt x="39" y="133"/>
                  </a:lnTo>
                  <a:lnTo>
                    <a:pt x="37" y="134"/>
                  </a:lnTo>
                  <a:lnTo>
                    <a:pt x="35" y="134"/>
                  </a:lnTo>
                  <a:lnTo>
                    <a:pt x="33" y="133"/>
                  </a:lnTo>
                  <a:lnTo>
                    <a:pt x="29" y="129"/>
                  </a:lnTo>
                  <a:lnTo>
                    <a:pt x="27" y="124"/>
                  </a:lnTo>
                  <a:lnTo>
                    <a:pt x="26" y="118"/>
                  </a:lnTo>
                  <a:lnTo>
                    <a:pt x="28" y="112"/>
                  </a:lnTo>
                  <a:lnTo>
                    <a:pt x="32" y="106"/>
                  </a:lnTo>
                  <a:lnTo>
                    <a:pt x="34" y="100"/>
                  </a:lnTo>
                  <a:lnTo>
                    <a:pt x="35" y="95"/>
                  </a:lnTo>
                  <a:lnTo>
                    <a:pt x="33" y="92"/>
                  </a:lnTo>
                  <a:lnTo>
                    <a:pt x="31" y="88"/>
                  </a:lnTo>
                  <a:lnTo>
                    <a:pt x="28" y="86"/>
                  </a:lnTo>
                  <a:lnTo>
                    <a:pt x="27" y="84"/>
                  </a:lnTo>
                  <a:lnTo>
                    <a:pt x="26" y="76"/>
                  </a:lnTo>
                  <a:lnTo>
                    <a:pt x="24" y="70"/>
                  </a:lnTo>
                  <a:lnTo>
                    <a:pt x="22" y="68"/>
                  </a:lnTo>
                  <a:lnTo>
                    <a:pt x="19" y="68"/>
                  </a:lnTo>
                  <a:lnTo>
                    <a:pt x="15" y="68"/>
                  </a:lnTo>
                  <a:lnTo>
                    <a:pt x="12" y="66"/>
                  </a:lnTo>
                  <a:lnTo>
                    <a:pt x="10" y="64"/>
                  </a:lnTo>
                  <a:lnTo>
                    <a:pt x="8" y="61"/>
                  </a:lnTo>
                  <a:lnTo>
                    <a:pt x="6" y="61"/>
                  </a:lnTo>
                  <a:lnTo>
                    <a:pt x="2" y="60"/>
                  </a:lnTo>
                  <a:lnTo>
                    <a:pt x="0" y="5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7" name="Freeform 1449">
              <a:extLst>
                <a:ext uri="{FF2B5EF4-FFF2-40B4-BE49-F238E27FC236}">
                  <a16:creationId xmlns:a16="http://schemas.microsoft.com/office/drawing/2014/main" id="{5FB2EDCF-38BC-475B-A7D4-A18C9983587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7142" y="3295056"/>
              <a:ext cx="6324" cy="6324"/>
            </a:xfrm>
            <a:custGeom>
              <a:avLst/>
              <a:gdLst>
                <a:gd name="T0" fmla="*/ 1 w 6"/>
                <a:gd name="T1" fmla="*/ 0 h 6"/>
                <a:gd name="T2" fmla="*/ 0 w 6"/>
                <a:gd name="T3" fmla="*/ 2 h 6"/>
                <a:gd name="T4" fmla="*/ 1 w 6"/>
                <a:gd name="T5" fmla="*/ 5 h 6"/>
                <a:gd name="T6" fmla="*/ 4 w 6"/>
                <a:gd name="T7" fmla="*/ 6 h 6"/>
                <a:gd name="T8" fmla="*/ 6 w 6"/>
                <a:gd name="T9" fmla="*/ 6 h 6"/>
                <a:gd name="T10" fmla="*/ 4 w 6"/>
                <a:gd name="T11" fmla="*/ 2 h 6"/>
                <a:gd name="T12" fmla="*/ 1 w 6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">
                  <a:moveTo>
                    <a:pt x="1" y="0"/>
                  </a:moveTo>
                  <a:lnTo>
                    <a:pt x="0" y="2"/>
                  </a:lnTo>
                  <a:lnTo>
                    <a:pt x="1" y="5"/>
                  </a:lnTo>
                  <a:lnTo>
                    <a:pt x="4" y="6"/>
                  </a:lnTo>
                  <a:lnTo>
                    <a:pt x="6" y="6"/>
                  </a:lnTo>
                  <a:lnTo>
                    <a:pt x="4" y="2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8" name="Freeform 1450">
              <a:extLst>
                <a:ext uri="{FF2B5EF4-FFF2-40B4-BE49-F238E27FC236}">
                  <a16:creationId xmlns:a16="http://schemas.microsoft.com/office/drawing/2014/main" id="{414AE57B-11CB-4FC7-AE62-BE9E3A99E0D1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4005" y="3339321"/>
              <a:ext cx="4216" cy="4216"/>
            </a:xfrm>
            <a:custGeom>
              <a:avLst/>
              <a:gdLst>
                <a:gd name="T0" fmla="*/ 5 w 5"/>
                <a:gd name="T1" fmla="*/ 3 h 3"/>
                <a:gd name="T2" fmla="*/ 0 w 5"/>
                <a:gd name="T3" fmla="*/ 0 h 3"/>
                <a:gd name="T4" fmla="*/ 1 w 5"/>
                <a:gd name="T5" fmla="*/ 2 h 3"/>
                <a:gd name="T6" fmla="*/ 5 w 5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3"/>
                  </a:moveTo>
                  <a:lnTo>
                    <a:pt x="0" y="0"/>
                  </a:lnTo>
                  <a:lnTo>
                    <a:pt x="1" y="2"/>
                  </a:lnTo>
                  <a:lnTo>
                    <a:pt x="5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9" name="Freeform 1451">
              <a:extLst>
                <a:ext uri="{FF2B5EF4-FFF2-40B4-BE49-F238E27FC236}">
                  <a16:creationId xmlns:a16="http://schemas.microsoft.com/office/drawing/2014/main" id="{153AC6EB-CDFE-41C9-A89B-C39B5F936D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5084" y="3396235"/>
              <a:ext cx="2109" cy="2109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2 h 2"/>
                <a:gd name="T4" fmla="*/ 3 w 3"/>
                <a:gd name="T5" fmla="*/ 2 h 2"/>
                <a:gd name="T6" fmla="*/ 1 w 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lnTo>
                    <a:pt x="0" y="2"/>
                  </a:lnTo>
                  <a:lnTo>
                    <a:pt x="3" y="2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0" name="Freeform 1452">
              <a:extLst>
                <a:ext uri="{FF2B5EF4-FFF2-40B4-BE49-F238E27FC236}">
                  <a16:creationId xmlns:a16="http://schemas.microsoft.com/office/drawing/2014/main" id="{D665284B-B63C-4E69-9538-883D8EE860F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7192" y="3406774"/>
              <a:ext cx="6324" cy="6324"/>
            </a:xfrm>
            <a:custGeom>
              <a:avLst/>
              <a:gdLst>
                <a:gd name="T0" fmla="*/ 5 w 5"/>
                <a:gd name="T1" fmla="*/ 2 h 6"/>
                <a:gd name="T2" fmla="*/ 0 w 5"/>
                <a:gd name="T3" fmla="*/ 0 h 6"/>
                <a:gd name="T4" fmla="*/ 0 w 5"/>
                <a:gd name="T5" fmla="*/ 5 h 6"/>
                <a:gd name="T6" fmla="*/ 2 w 5"/>
                <a:gd name="T7" fmla="*/ 6 h 6"/>
                <a:gd name="T8" fmla="*/ 5 w 5"/>
                <a:gd name="T9" fmla="*/ 5 h 6"/>
                <a:gd name="T10" fmla="*/ 5 w 5"/>
                <a:gd name="T11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6">
                  <a:moveTo>
                    <a:pt x="5" y="2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2" y="6"/>
                  </a:lnTo>
                  <a:lnTo>
                    <a:pt x="5" y="5"/>
                  </a:lnTo>
                  <a:lnTo>
                    <a:pt x="5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1" name="Freeform 1453">
              <a:extLst>
                <a:ext uri="{FF2B5EF4-FFF2-40B4-BE49-F238E27FC236}">
                  <a16:creationId xmlns:a16="http://schemas.microsoft.com/office/drawing/2014/main" id="{CD21BC2D-422F-4EE9-877D-7AC3802289A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4056" y="3444716"/>
              <a:ext cx="18972" cy="10540"/>
            </a:xfrm>
            <a:custGeom>
              <a:avLst/>
              <a:gdLst>
                <a:gd name="T0" fmla="*/ 15 w 19"/>
                <a:gd name="T1" fmla="*/ 0 h 11"/>
                <a:gd name="T2" fmla="*/ 14 w 19"/>
                <a:gd name="T3" fmla="*/ 0 h 11"/>
                <a:gd name="T4" fmla="*/ 11 w 19"/>
                <a:gd name="T5" fmla="*/ 0 h 11"/>
                <a:gd name="T6" fmla="*/ 5 w 19"/>
                <a:gd name="T7" fmla="*/ 3 h 11"/>
                <a:gd name="T8" fmla="*/ 2 w 19"/>
                <a:gd name="T9" fmla="*/ 4 h 11"/>
                <a:gd name="T10" fmla="*/ 0 w 19"/>
                <a:gd name="T11" fmla="*/ 5 h 11"/>
                <a:gd name="T12" fmla="*/ 0 w 19"/>
                <a:gd name="T13" fmla="*/ 7 h 11"/>
                <a:gd name="T14" fmla="*/ 2 w 19"/>
                <a:gd name="T15" fmla="*/ 10 h 11"/>
                <a:gd name="T16" fmla="*/ 5 w 19"/>
                <a:gd name="T17" fmla="*/ 11 h 11"/>
                <a:gd name="T18" fmla="*/ 9 w 19"/>
                <a:gd name="T19" fmla="*/ 11 h 11"/>
                <a:gd name="T20" fmla="*/ 15 w 19"/>
                <a:gd name="T21" fmla="*/ 7 h 11"/>
                <a:gd name="T22" fmla="*/ 18 w 19"/>
                <a:gd name="T23" fmla="*/ 5 h 11"/>
                <a:gd name="T24" fmla="*/ 19 w 19"/>
                <a:gd name="T25" fmla="*/ 3 h 11"/>
                <a:gd name="T26" fmla="*/ 19 w 19"/>
                <a:gd name="T27" fmla="*/ 1 h 11"/>
                <a:gd name="T28" fmla="*/ 15 w 19"/>
                <a:gd name="T2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" h="11">
                  <a:moveTo>
                    <a:pt x="15" y="0"/>
                  </a:moveTo>
                  <a:lnTo>
                    <a:pt x="14" y="0"/>
                  </a:lnTo>
                  <a:lnTo>
                    <a:pt x="11" y="0"/>
                  </a:lnTo>
                  <a:lnTo>
                    <a:pt x="5" y="3"/>
                  </a:lnTo>
                  <a:lnTo>
                    <a:pt x="2" y="4"/>
                  </a:lnTo>
                  <a:lnTo>
                    <a:pt x="0" y="5"/>
                  </a:lnTo>
                  <a:lnTo>
                    <a:pt x="0" y="7"/>
                  </a:lnTo>
                  <a:lnTo>
                    <a:pt x="2" y="10"/>
                  </a:lnTo>
                  <a:lnTo>
                    <a:pt x="5" y="11"/>
                  </a:lnTo>
                  <a:lnTo>
                    <a:pt x="9" y="11"/>
                  </a:lnTo>
                  <a:lnTo>
                    <a:pt x="15" y="7"/>
                  </a:lnTo>
                  <a:lnTo>
                    <a:pt x="18" y="5"/>
                  </a:lnTo>
                  <a:lnTo>
                    <a:pt x="19" y="3"/>
                  </a:lnTo>
                  <a:lnTo>
                    <a:pt x="19" y="1"/>
                  </a:lnTo>
                  <a:lnTo>
                    <a:pt x="15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2" name="Freeform 1454">
              <a:extLst>
                <a:ext uri="{FF2B5EF4-FFF2-40B4-BE49-F238E27FC236}">
                  <a16:creationId xmlns:a16="http://schemas.microsoft.com/office/drawing/2014/main" id="{4FF3D865-5167-4568-9F20-233574B840A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4056" y="3413098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2 w 4"/>
                <a:gd name="T3" fmla="*/ 2 h 2"/>
                <a:gd name="T4" fmla="*/ 4 w 4"/>
                <a:gd name="T5" fmla="*/ 2 h 2"/>
                <a:gd name="T6" fmla="*/ 3 w 4"/>
                <a:gd name="T7" fmla="*/ 0 h 2"/>
                <a:gd name="T8" fmla="*/ 0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2" y="2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3" name="Freeform 1455">
              <a:extLst>
                <a:ext uri="{FF2B5EF4-FFF2-40B4-BE49-F238E27FC236}">
                  <a16:creationId xmlns:a16="http://schemas.microsoft.com/office/drawing/2014/main" id="{459550AC-1473-459D-B589-69DA494170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458" y="3396235"/>
              <a:ext cx="6324" cy="6324"/>
            </a:xfrm>
            <a:custGeom>
              <a:avLst/>
              <a:gdLst>
                <a:gd name="T0" fmla="*/ 0 w 8"/>
                <a:gd name="T1" fmla="*/ 0 h 6"/>
                <a:gd name="T2" fmla="*/ 1 w 8"/>
                <a:gd name="T3" fmla="*/ 2 h 6"/>
                <a:gd name="T4" fmla="*/ 3 w 8"/>
                <a:gd name="T5" fmla="*/ 5 h 6"/>
                <a:gd name="T6" fmla="*/ 8 w 8"/>
                <a:gd name="T7" fmla="*/ 6 h 6"/>
                <a:gd name="T8" fmla="*/ 8 w 8"/>
                <a:gd name="T9" fmla="*/ 3 h 6"/>
                <a:gd name="T10" fmla="*/ 5 w 8"/>
                <a:gd name="T11" fmla="*/ 2 h 6"/>
                <a:gd name="T12" fmla="*/ 0 w 8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6">
                  <a:moveTo>
                    <a:pt x="0" y="0"/>
                  </a:moveTo>
                  <a:lnTo>
                    <a:pt x="1" y="2"/>
                  </a:lnTo>
                  <a:lnTo>
                    <a:pt x="3" y="5"/>
                  </a:lnTo>
                  <a:lnTo>
                    <a:pt x="8" y="6"/>
                  </a:lnTo>
                  <a:lnTo>
                    <a:pt x="8" y="3"/>
                  </a:lnTo>
                  <a:lnTo>
                    <a:pt x="5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4" name="Freeform 1456">
              <a:extLst>
                <a:ext uri="{FF2B5EF4-FFF2-40B4-BE49-F238E27FC236}">
                  <a16:creationId xmlns:a16="http://schemas.microsoft.com/office/drawing/2014/main" id="{B7EABAB3-04EC-49D9-9EDB-3A9C19ADA6E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8321" y="3394126"/>
              <a:ext cx="8432" cy="6324"/>
            </a:xfrm>
            <a:custGeom>
              <a:avLst/>
              <a:gdLst>
                <a:gd name="T0" fmla="*/ 0 w 8"/>
                <a:gd name="T1" fmla="*/ 4 h 6"/>
                <a:gd name="T2" fmla="*/ 3 w 8"/>
                <a:gd name="T3" fmla="*/ 6 h 6"/>
                <a:gd name="T4" fmla="*/ 4 w 8"/>
                <a:gd name="T5" fmla="*/ 6 h 6"/>
                <a:gd name="T6" fmla="*/ 7 w 8"/>
                <a:gd name="T7" fmla="*/ 6 h 6"/>
                <a:gd name="T8" fmla="*/ 8 w 8"/>
                <a:gd name="T9" fmla="*/ 3 h 6"/>
                <a:gd name="T10" fmla="*/ 5 w 8"/>
                <a:gd name="T11" fmla="*/ 0 h 6"/>
                <a:gd name="T12" fmla="*/ 4 w 8"/>
                <a:gd name="T13" fmla="*/ 3 h 6"/>
                <a:gd name="T14" fmla="*/ 0 w 8"/>
                <a:gd name="T1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6">
                  <a:moveTo>
                    <a:pt x="0" y="4"/>
                  </a:moveTo>
                  <a:lnTo>
                    <a:pt x="3" y="6"/>
                  </a:lnTo>
                  <a:lnTo>
                    <a:pt x="4" y="6"/>
                  </a:lnTo>
                  <a:lnTo>
                    <a:pt x="7" y="6"/>
                  </a:lnTo>
                  <a:lnTo>
                    <a:pt x="8" y="3"/>
                  </a:lnTo>
                  <a:lnTo>
                    <a:pt x="5" y="0"/>
                  </a:lnTo>
                  <a:lnTo>
                    <a:pt x="4" y="3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5" name="Freeform 1457">
              <a:extLst>
                <a:ext uri="{FF2B5EF4-FFF2-40B4-BE49-F238E27FC236}">
                  <a16:creationId xmlns:a16="http://schemas.microsoft.com/office/drawing/2014/main" id="{C9C693D7-64EC-45E8-81CB-DD9ED57299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401357" y="3267652"/>
              <a:ext cx="115935" cy="149661"/>
            </a:xfrm>
            <a:custGeom>
              <a:avLst/>
              <a:gdLst>
                <a:gd name="T0" fmla="*/ 4 w 111"/>
                <a:gd name="T1" fmla="*/ 29 h 141"/>
                <a:gd name="T2" fmla="*/ 5 w 111"/>
                <a:gd name="T3" fmla="*/ 29 h 141"/>
                <a:gd name="T4" fmla="*/ 5 w 111"/>
                <a:gd name="T5" fmla="*/ 15 h 141"/>
                <a:gd name="T6" fmla="*/ 19 w 111"/>
                <a:gd name="T7" fmla="*/ 10 h 141"/>
                <a:gd name="T8" fmla="*/ 32 w 111"/>
                <a:gd name="T9" fmla="*/ 10 h 141"/>
                <a:gd name="T10" fmla="*/ 37 w 111"/>
                <a:gd name="T11" fmla="*/ 4 h 141"/>
                <a:gd name="T12" fmla="*/ 51 w 111"/>
                <a:gd name="T13" fmla="*/ 12 h 141"/>
                <a:gd name="T14" fmla="*/ 89 w 111"/>
                <a:gd name="T15" fmla="*/ 50 h 141"/>
                <a:gd name="T16" fmla="*/ 97 w 111"/>
                <a:gd name="T17" fmla="*/ 72 h 141"/>
                <a:gd name="T18" fmla="*/ 101 w 111"/>
                <a:gd name="T19" fmla="*/ 81 h 141"/>
                <a:gd name="T20" fmla="*/ 105 w 111"/>
                <a:gd name="T21" fmla="*/ 85 h 141"/>
                <a:gd name="T22" fmla="*/ 110 w 111"/>
                <a:gd name="T23" fmla="*/ 93 h 141"/>
                <a:gd name="T24" fmla="*/ 108 w 111"/>
                <a:gd name="T25" fmla="*/ 101 h 141"/>
                <a:gd name="T26" fmla="*/ 108 w 111"/>
                <a:gd name="T27" fmla="*/ 114 h 141"/>
                <a:gd name="T28" fmla="*/ 99 w 111"/>
                <a:gd name="T29" fmla="*/ 114 h 141"/>
                <a:gd name="T30" fmla="*/ 92 w 111"/>
                <a:gd name="T31" fmla="*/ 115 h 141"/>
                <a:gd name="T32" fmla="*/ 87 w 111"/>
                <a:gd name="T33" fmla="*/ 118 h 141"/>
                <a:gd name="T34" fmla="*/ 91 w 111"/>
                <a:gd name="T35" fmla="*/ 124 h 141"/>
                <a:gd name="T36" fmla="*/ 81 w 111"/>
                <a:gd name="T37" fmla="*/ 119 h 141"/>
                <a:gd name="T38" fmla="*/ 78 w 111"/>
                <a:gd name="T39" fmla="*/ 119 h 141"/>
                <a:gd name="T40" fmla="*/ 69 w 111"/>
                <a:gd name="T41" fmla="*/ 123 h 141"/>
                <a:gd name="T42" fmla="*/ 73 w 111"/>
                <a:gd name="T43" fmla="*/ 128 h 141"/>
                <a:gd name="T44" fmla="*/ 69 w 111"/>
                <a:gd name="T45" fmla="*/ 127 h 141"/>
                <a:gd name="T46" fmla="*/ 67 w 111"/>
                <a:gd name="T47" fmla="*/ 129 h 141"/>
                <a:gd name="T48" fmla="*/ 68 w 111"/>
                <a:gd name="T49" fmla="*/ 134 h 141"/>
                <a:gd name="T50" fmla="*/ 63 w 111"/>
                <a:gd name="T51" fmla="*/ 134 h 141"/>
                <a:gd name="T52" fmla="*/ 64 w 111"/>
                <a:gd name="T53" fmla="*/ 129 h 141"/>
                <a:gd name="T54" fmla="*/ 58 w 111"/>
                <a:gd name="T55" fmla="*/ 128 h 141"/>
                <a:gd name="T56" fmla="*/ 55 w 111"/>
                <a:gd name="T57" fmla="*/ 138 h 141"/>
                <a:gd name="T58" fmla="*/ 47 w 111"/>
                <a:gd name="T59" fmla="*/ 141 h 141"/>
                <a:gd name="T60" fmla="*/ 44 w 111"/>
                <a:gd name="T61" fmla="*/ 134 h 141"/>
                <a:gd name="T62" fmla="*/ 36 w 111"/>
                <a:gd name="T63" fmla="*/ 130 h 141"/>
                <a:gd name="T64" fmla="*/ 41 w 111"/>
                <a:gd name="T65" fmla="*/ 131 h 141"/>
                <a:gd name="T66" fmla="*/ 37 w 111"/>
                <a:gd name="T67" fmla="*/ 127 h 141"/>
                <a:gd name="T68" fmla="*/ 40 w 111"/>
                <a:gd name="T69" fmla="*/ 122 h 141"/>
                <a:gd name="T70" fmla="*/ 35 w 111"/>
                <a:gd name="T71" fmla="*/ 122 h 141"/>
                <a:gd name="T72" fmla="*/ 33 w 111"/>
                <a:gd name="T73" fmla="*/ 115 h 141"/>
                <a:gd name="T74" fmla="*/ 31 w 111"/>
                <a:gd name="T75" fmla="*/ 102 h 141"/>
                <a:gd name="T76" fmla="*/ 30 w 111"/>
                <a:gd name="T77" fmla="*/ 96 h 141"/>
                <a:gd name="T78" fmla="*/ 33 w 111"/>
                <a:gd name="T79" fmla="*/ 88 h 141"/>
                <a:gd name="T80" fmla="*/ 31 w 111"/>
                <a:gd name="T81" fmla="*/ 85 h 141"/>
                <a:gd name="T82" fmla="*/ 22 w 111"/>
                <a:gd name="T83" fmla="*/ 81 h 141"/>
                <a:gd name="T84" fmla="*/ 20 w 111"/>
                <a:gd name="T85" fmla="*/ 70 h 141"/>
                <a:gd name="T86" fmla="*/ 16 w 111"/>
                <a:gd name="T87" fmla="*/ 66 h 141"/>
                <a:gd name="T88" fmla="*/ 10 w 111"/>
                <a:gd name="T89" fmla="*/ 63 h 141"/>
                <a:gd name="T90" fmla="*/ 6 w 111"/>
                <a:gd name="T91" fmla="*/ 61 h 141"/>
                <a:gd name="T92" fmla="*/ 5 w 111"/>
                <a:gd name="T93" fmla="*/ 58 h 141"/>
                <a:gd name="T94" fmla="*/ 5 w 111"/>
                <a:gd name="T95" fmla="*/ 56 h 141"/>
                <a:gd name="T96" fmla="*/ 6 w 111"/>
                <a:gd name="T97" fmla="*/ 54 h 141"/>
                <a:gd name="T98" fmla="*/ 11 w 111"/>
                <a:gd name="T99" fmla="*/ 54 h 141"/>
                <a:gd name="T100" fmla="*/ 16 w 111"/>
                <a:gd name="T101" fmla="*/ 55 h 141"/>
                <a:gd name="T102" fmla="*/ 22 w 111"/>
                <a:gd name="T103" fmla="*/ 58 h 141"/>
                <a:gd name="T104" fmla="*/ 19 w 111"/>
                <a:gd name="T105" fmla="*/ 53 h 141"/>
                <a:gd name="T106" fmla="*/ 14 w 111"/>
                <a:gd name="T107" fmla="*/ 48 h 141"/>
                <a:gd name="T108" fmla="*/ 16 w 111"/>
                <a:gd name="T109" fmla="*/ 44 h 141"/>
                <a:gd name="T110" fmla="*/ 5 w 111"/>
                <a:gd name="T111" fmla="*/ 3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1" h="141">
                  <a:moveTo>
                    <a:pt x="0" y="29"/>
                  </a:moveTo>
                  <a:lnTo>
                    <a:pt x="3" y="28"/>
                  </a:lnTo>
                  <a:lnTo>
                    <a:pt x="4" y="29"/>
                  </a:lnTo>
                  <a:lnTo>
                    <a:pt x="5" y="31"/>
                  </a:lnTo>
                  <a:lnTo>
                    <a:pt x="8" y="32"/>
                  </a:lnTo>
                  <a:lnTo>
                    <a:pt x="5" y="29"/>
                  </a:lnTo>
                  <a:lnTo>
                    <a:pt x="3" y="27"/>
                  </a:lnTo>
                  <a:lnTo>
                    <a:pt x="3" y="21"/>
                  </a:lnTo>
                  <a:lnTo>
                    <a:pt x="5" y="15"/>
                  </a:lnTo>
                  <a:lnTo>
                    <a:pt x="9" y="11"/>
                  </a:lnTo>
                  <a:lnTo>
                    <a:pt x="14" y="8"/>
                  </a:lnTo>
                  <a:lnTo>
                    <a:pt x="19" y="10"/>
                  </a:lnTo>
                  <a:lnTo>
                    <a:pt x="24" y="10"/>
                  </a:lnTo>
                  <a:lnTo>
                    <a:pt x="28" y="10"/>
                  </a:lnTo>
                  <a:lnTo>
                    <a:pt x="32" y="10"/>
                  </a:lnTo>
                  <a:lnTo>
                    <a:pt x="35" y="8"/>
                  </a:lnTo>
                  <a:lnTo>
                    <a:pt x="37" y="6"/>
                  </a:lnTo>
                  <a:lnTo>
                    <a:pt x="37" y="4"/>
                  </a:lnTo>
                  <a:lnTo>
                    <a:pt x="36" y="2"/>
                  </a:lnTo>
                  <a:lnTo>
                    <a:pt x="36" y="0"/>
                  </a:lnTo>
                  <a:lnTo>
                    <a:pt x="51" y="12"/>
                  </a:lnTo>
                  <a:lnTo>
                    <a:pt x="64" y="27"/>
                  </a:lnTo>
                  <a:lnTo>
                    <a:pt x="76" y="38"/>
                  </a:lnTo>
                  <a:lnTo>
                    <a:pt x="89" y="50"/>
                  </a:lnTo>
                  <a:lnTo>
                    <a:pt x="91" y="56"/>
                  </a:lnTo>
                  <a:lnTo>
                    <a:pt x="94" y="61"/>
                  </a:lnTo>
                  <a:lnTo>
                    <a:pt x="97" y="72"/>
                  </a:lnTo>
                  <a:lnTo>
                    <a:pt x="97" y="75"/>
                  </a:lnTo>
                  <a:lnTo>
                    <a:pt x="99" y="76"/>
                  </a:lnTo>
                  <a:lnTo>
                    <a:pt x="101" y="81"/>
                  </a:lnTo>
                  <a:lnTo>
                    <a:pt x="102" y="83"/>
                  </a:lnTo>
                  <a:lnTo>
                    <a:pt x="103" y="85"/>
                  </a:lnTo>
                  <a:lnTo>
                    <a:pt x="105" y="85"/>
                  </a:lnTo>
                  <a:lnTo>
                    <a:pt x="106" y="83"/>
                  </a:lnTo>
                  <a:lnTo>
                    <a:pt x="108" y="87"/>
                  </a:lnTo>
                  <a:lnTo>
                    <a:pt x="110" y="93"/>
                  </a:lnTo>
                  <a:lnTo>
                    <a:pt x="111" y="98"/>
                  </a:lnTo>
                  <a:lnTo>
                    <a:pt x="111" y="103"/>
                  </a:lnTo>
                  <a:lnTo>
                    <a:pt x="108" y="101"/>
                  </a:lnTo>
                  <a:lnTo>
                    <a:pt x="110" y="106"/>
                  </a:lnTo>
                  <a:lnTo>
                    <a:pt x="110" y="109"/>
                  </a:lnTo>
                  <a:lnTo>
                    <a:pt x="108" y="114"/>
                  </a:lnTo>
                  <a:lnTo>
                    <a:pt x="103" y="117"/>
                  </a:lnTo>
                  <a:lnTo>
                    <a:pt x="102" y="115"/>
                  </a:lnTo>
                  <a:lnTo>
                    <a:pt x="99" y="114"/>
                  </a:lnTo>
                  <a:lnTo>
                    <a:pt x="95" y="114"/>
                  </a:lnTo>
                  <a:lnTo>
                    <a:pt x="91" y="113"/>
                  </a:lnTo>
                  <a:lnTo>
                    <a:pt x="92" y="115"/>
                  </a:lnTo>
                  <a:lnTo>
                    <a:pt x="91" y="115"/>
                  </a:lnTo>
                  <a:lnTo>
                    <a:pt x="89" y="117"/>
                  </a:lnTo>
                  <a:lnTo>
                    <a:pt x="87" y="118"/>
                  </a:lnTo>
                  <a:lnTo>
                    <a:pt x="90" y="118"/>
                  </a:lnTo>
                  <a:lnTo>
                    <a:pt x="91" y="119"/>
                  </a:lnTo>
                  <a:lnTo>
                    <a:pt x="91" y="124"/>
                  </a:lnTo>
                  <a:lnTo>
                    <a:pt x="89" y="122"/>
                  </a:lnTo>
                  <a:lnTo>
                    <a:pt x="85" y="120"/>
                  </a:lnTo>
                  <a:lnTo>
                    <a:pt x="81" y="119"/>
                  </a:lnTo>
                  <a:lnTo>
                    <a:pt x="79" y="118"/>
                  </a:lnTo>
                  <a:lnTo>
                    <a:pt x="79" y="117"/>
                  </a:lnTo>
                  <a:lnTo>
                    <a:pt x="78" y="119"/>
                  </a:lnTo>
                  <a:lnTo>
                    <a:pt x="74" y="120"/>
                  </a:lnTo>
                  <a:lnTo>
                    <a:pt x="71" y="120"/>
                  </a:lnTo>
                  <a:lnTo>
                    <a:pt x="69" y="123"/>
                  </a:lnTo>
                  <a:lnTo>
                    <a:pt x="73" y="125"/>
                  </a:lnTo>
                  <a:lnTo>
                    <a:pt x="74" y="127"/>
                  </a:lnTo>
                  <a:lnTo>
                    <a:pt x="73" y="128"/>
                  </a:lnTo>
                  <a:lnTo>
                    <a:pt x="71" y="129"/>
                  </a:lnTo>
                  <a:lnTo>
                    <a:pt x="73" y="131"/>
                  </a:lnTo>
                  <a:lnTo>
                    <a:pt x="69" y="127"/>
                  </a:lnTo>
                  <a:lnTo>
                    <a:pt x="65" y="123"/>
                  </a:lnTo>
                  <a:lnTo>
                    <a:pt x="64" y="127"/>
                  </a:lnTo>
                  <a:lnTo>
                    <a:pt x="67" y="129"/>
                  </a:lnTo>
                  <a:lnTo>
                    <a:pt x="69" y="133"/>
                  </a:lnTo>
                  <a:lnTo>
                    <a:pt x="65" y="133"/>
                  </a:lnTo>
                  <a:lnTo>
                    <a:pt x="68" y="134"/>
                  </a:lnTo>
                  <a:lnTo>
                    <a:pt x="67" y="136"/>
                  </a:lnTo>
                  <a:lnTo>
                    <a:pt x="64" y="135"/>
                  </a:lnTo>
                  <a:lnTo>
                    <a:pt x="63" y="134"/>
                  </a:lnTo>
                  <a:lnTo>
                    <a:pt x="60" y="131"/>
                  </a:lnTo>
                  <a:lnTo>
                    <a:pt x="63" y="131"/>
                  </a:lnTo>
                  <a:lnTo>
                    <a:pt x="64" y="129"/>
                  </a:lnTo>
                  <a:lnTo>
                    <a:pt x="63" y="128"/>
                  </a:lnTo>
                  <a:lnTo>
                    <a:pt x="60" y="127"/>
                  </a:lnTo>
                  <a:lnTo>
                    <a:pt x="58" y="128"/>
                  </a:lnTo>
                  <a:lnTo>
                    <a:pt x="57" y="131"/>
                  </a:lnTo>
                  <a:lnTo>
                    <a:pt x="55" y="135"/>
                  </a:lnTo>
                  <a:lnTo>
                    <a:pt x="55" y="138"/>
                  </a:lnTo>
                  <a:lnTo>
                    <a:pt x="49" y="134"/>
                  </a:lnTo>
                  <a:lnTo>
                    <a:pt x="49" y="138"/>
                  </a:lnTo>
                  <a:lnTo>
                    <a:pt x="47" y="141"/>
                  </a:lnTo>
                  <a:lnTo>
                    <a:pt x="44" y="139"/>
                  </a:lnTo>
                  <a:lnTo>
                    <a:pt x="43" y="136"/>
                  </a:lnTo>
                  <a:lnTo>
                    <a:pt x="44" y="134"/>
                  </a:lnTo>
                  <a:lnTo>
                    <a:pt x="41" y="134"/>
                  </a:lnTo>
                  <a:lnTo>
                    <a:pt x="38" y="133"/>
                  </a:lnTo>
                  <a:lnTo>
                    <a:pt x="36" y="130"/>
                  </a:lnTo>
                  <a:lnTo>
                    <a:pt x="36" y="128"/>
                  </a:lnTo>
                  <a:lnTo>
                    <a:pt x="38" y="130"/>
                  </a:lnTo>
                  <a:lnTo>
                    <a:pt x="41" y="131"/>
                  </a:lnTo>
                  <a:lnTo>
                    <a:pt x="40" y="129"/>
                  </a:lnTo>
                  <a:lnTo>
                    <a:pt x="42" y="129"/>
                  </a:lnTo>
                  <a:lnTo>
                    <a:pt x="37" y="127"/>
                  </a:lnTo>
                  <a:lnTo>
                    <a:pt x="40" y="127"/>
                  </a:lnTo>
                  <a:lnTo>
                    <a:pt x="42" y="124"/>
                  </a:lnTo>
                  <a:lnTo>
                    <a:pt x="40" y="122"/>
                  </a:lnTo>
                  <a:lnTo>
                    <a:pt x="38" y="124"/>
                  </a:lnTo>
                  <a:lnTo>
                    <a:pt x="37" y="124"/>
                  </a:lnTo>
                  <a:lnTo>
                    <a:pt x="35" y="122"/>
                  </a:lnTo>
                  <a:lnTo>
                    <a:pt x="31" y="117"/>
                  </a:lnTo>
                  <a:lnTo>
                    <a:pt x="28" y="114"/>
                  </a:lnTo>
                  <a:lnTo>
                    <a:pt x="33" y="115"/>
                  </a:lnTo>
                  <a:lnTo>
                    <a:pt x="31" y="112"/>
                  </a:lnTo>
                  <a:lnTo>
                    <a:pt x="30" y="107"/>
                  </a:lnTo>
                  <a:lnTo>
                    <a:pt x="31" y="102"/>
                  </a:lnTo>
                  <a:lnTo>
                    <a:pt x="33" y="99"/>
                  </a:lnTo>
                  <a:lnTo>
                    <a:pt x="28" y="98"/>
                  </a:lnTo>
                  <a:lnTo>
                    <a:pt x="30" y="96"/>
                  </a:lnTo>
                  <a:lnTo>
                    <a:pt x="31" y="95"/>
                  </a:lnTo>
                  <a:lnTo>
                    <a:pt x="32" y="92"/>
                  </a:lnTo>
                  <a:lnTo>
                    <a:pt x="33" y="88"/>
                  </a:lnTo>
                  <a:lnTo>
                    <a:pt x="28" y="88"/>
                  </a:lnTo>
                  <a:lnTo>
                    <a:pt x="32" y="83"/>
                  </a:lnTo>
                  <a:lnTo>
                    <a:pt x="31" y="85"/>
                  </a:lnTo>
                  <a:lnTo>
                    <a:pt x="27" y="85"/>
                  </a:lnTo>
                  <a:lnTo>
                    <a:pt x="25" y="83"/>
                  </a:lnTo>
                  <a:lnTo>
                    <a:pt x="22" y="81"/>
                  </a:lnTo>
                  <a:lnTo>
                    <a:pt x="20" y="75"/>
                  </a:lnTo>
                  <a:lnTo>
                    <a:pt x="19" y="72"/>
                  </a:lnTo>
                  <a:lnTo>
                    <a:pt x="20" y="70"/>
                  </a:lnTo>
                  <a:lnTo>
                    <a:pt x="17" y="71"/>
                  </a:lnTo>
                  <a:lnTo>
                    <a:pt x="16" y="70"/>
                  </a:lnTo>
                  <a:lnTo>
                    <a:pt x="16" y="66"/>
                  </a:lnTo>
                  <a:lnTo>
                    <a:pt x="15" y="64"/>
                  </a:lnTo>
                  <a:lnTo>
                    <a:pt x="12" y="63"/>
                  </a:lnTo>
                  <a:lnTo>
                    <a:pt x="10" y="63"/>
                  </a:lnTo>
                  <a:lnTo>
                    <a:pt x="10" y="65"/>
                  </a:lnTo>
                  <a:lnTo>
                    <a:pt x="8" y="63"/>
                  </a:lnTo>
                  <a:lnTo>
                    <a:pt x="6" y="61"/>
                  </a:lnTo>
                  <a:lnTo>
                    <a:pt x="4" y="60"/>
                  </a:lnTo>
                  <a:lnTo>
                    <a:pt x="3" y="58"/>
                  </a:lnTo>
                  <a:lnTo>
                    <a:pt x="5" y="58"/>
                  </a:lnTo>
                  <a:lnTo>
                    <a:pt x="5" y="56"/>
                  </a:lnTo>
                  <a:lnTo>
                    <a:pt x="4" y="54"/>
                  </a:lnTo>
                  <a:lnTo>
                    <a:pt x="5" y="56"/>
                  </a:lnTo>
                  <a:lnTo>
                    <a:pt x="6" y="58"/>
                  </a:lnTo>
                  <a:lnTo>
                    <a:pt x="6" y="56"/>
                  </a:lnTo>
                  <a:lnTo>
                    <a:pt x="6" y="54"/>
                  </a:lnTo>
                  <a:lnTo>
                    <a:pt x="9" y="55"/>
                  </a:lnTo>
                  <a:lnTo>
                    <a:pt x="10" y="58"/>
                  </a:lnTo>
                  <a:lnTo>
                    <a:pt x="11" y="54"/>
                  </a:lnTo>
                  <a:lnTo>
                    <a:pt x="10" y="52"/>
                  </a:lnTo>
                  <a:lnTo>
                    <a:pt x="14" y="54"/>
                  </a:lnTo>
                  <a:lnTo>
                    <a:pt x="16" y="55"/>
                  </a:lnTo>
                  <a:lnTo>
                    <a:pt x="20" y="56"/>
                  </a:lnTo>
                  <a:lnTo>
                    <a:pt x="22" y="60"/>
                  </a:lnTo>
                  <a:lnTo>
                    <a:pt x="22" y="58"/>
                  </a:lnTo>
                  <a:lnTo>
                    <a:pt x="24" y="55"/>
                  </a:lnTo>
                  <a:lnTo>
                    <a:pt x="20" y="54"/>
                  </a:lnTo>
                  <a:lnTo>
                    <a:pt x="19" y="53"/>
                  </a:lnTo>
                  <a:lnTo>
                    <a:pt x="19" y="50"/>
                  </a:lnTo>
                  <a:lnTo>
                    <a:pt x="16" y="50"/>
                  </a:lnTo>
                  <a:lnTo>
                    <a:pt x="14" y="48"/>
                  </a:lnTo>
                  <a:lnTo>
                    <a:pt x="12" y="45"/>
                  </a:lnTo>
                  <a:lnTo>
                    <a:pt x="14" y="44"/>
                  </a:lnTo>
                  <a:lnTo>
                    <a:pt x="16" y="44"/>
                  </a:lnTo>
                  <a:lnTo>
                    <a:pt x="11" y="42"/>
                  </a:lnTo>
                  <a:lnTo>
                    <a:pt x="6" y="38"/>
                  </a:lnTo>
                  <a:lnTo>
                    <a:pt x="5" y="33"/>
                  </a:lnTo>
                  <a:lnTo>
                    <a:pt x="3" y="32"/>
                  </a:lnTo>
                  <a:lnTo>
                    <a:pt x="0" y="29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6" name="Freeform 1638">
              <a:extLst>
                <a:ext uri="{FF2B5EF4-FFF2-40B4-BE49-F238E27FC236}">
                  <a16:creationId xmlns:a16="http://schemas.microsoft.com/office/drawing/2014/main" id="{3FD77021-16DB-4673-99D3-A691FFC1AFEF}"/>
                </a:ext>
              </a:extLst>
            </p:cNvPr>
            <p:cNvSpPr>
              <a:spLocks/>
            </p:cNvSpPr>
            <p:nvPr/>
          </p:nvSpPr>
          <p:spPr bwMode="auto">
            <a:xfrm>
              <a:off x="8783744" y="3826245"/>
              <a:ext cx="252948" cy="299322"/>
            </a:xfrm>
            <a:custGeom>
              <a:avLst/>
              <a:gdLst>
                <a:gd name="T0" fmla="*/ 6 w 239"/>
                <a:gd name="T1" fmla="*/ 55 h 283"/>
                <a:gd name="T2" fmla="*/ 9 w 239"/>
                <a:gd name="T3" fmla="*/ 53 h 283"/>
                <a:gd name="T4" fmla="*/ 17 w 239"/>
                <a:gd name="T5" fmla="*/ 38 h 283"/>
                <a:gd name="T6" fmla="*/ 28 w 239"/>
                <a:gd name="T7" fmla="*/ 38 h 283"/>
                <a:gd name="T8" fmla="*/ 38 w 239"/>
                <a:gd name="T9" fmla="*/ 42 h 283"/>
                <a:gd name="T10" fmla="*/ 43 w 239"/>
                <a:gd name="T11" fmla="*/ 37 h 283"/>
                <a:gd name="T12" fmla="*/ 43 w 239"/>
                <a:gd name="T13" fmla="*/ 28 h 283"/>
                <a:gd name="T14" fmla="*/ 33 w 239"/>
                <a:gd name="T15" fmla="*/ 6 h 283"/>
                <a:gd name="T16" fmla="*/ 40 w 239"/>
                <a:gd name="T17" fmla="*/ 2 h 283"/>
                <a:gd name="T18" fmla="*/ 48 w 239"/>
                <a:gd name="T19" fmla="*/ 2 h 283"/>
                <a:gd name="T20" fmla="*/ 67 w 239"/>
                <a:gd name="T21" fmla="*/ 26 h 283"/>
                <a:gd name="T22" fmla="*/ 71 w 239"/>
                <a:gd name="T23" fmla="*/ 22 h 283"/>
                <a:gd name="T24" fmla="*/ 76 w 239"/>
                <a:gd name="T25" fmla="*/ 33 h 283"/>
                <a:gd name="T26" fmla="*/ 86 w 239"/>
                <a:gd name="T27" fmla="*/ 54 h 283"/>
                <a:gd name="T28" fmla="*/ 105 w 239"/>
                <a:gd name="T29" fmla="*/ 53 h 283"/>
                <a:gd name="T30" fmla="*/ 125 w 239"/>
                <a:gd name="T31" fmla="*/ 58 h 283"/>
                <a:gd name="T32" fmla="*/ 123 w 239"/>
                <a:gd name="T33" fmla="*/ 66 h 283"/>
                <a:gd name="T34" fmla="*/ 131 w 239"/>
                <a:gd name="T35" fmla="*/ 74 h 283"/>
                <a:gd name="T36" fmla="*/ 141 w 239"/>
                <a:gd name="T37" fmla="*/ 81 h 283"/>
                <a:gd name="T38" fmla="*/ 135 w 239"/>
                <a:gd name="T39" fmla="*/ 91 h 283"/>
                <a:gd name="T40" fmla="*/ 116 w 239"/>
                <a:gd name="T41" fmla="*/ 92 h 283"/>
                <a:gd name="T42" fmla="*/ 118 w 239"/>
                <a:gd name="T43" fmla="*/ 101 h 283"/>
                <a:gd name="T44" fmla="*/ 118 w 239"/>
                <a:gd name="T45" fmla="*/ 108 h 283"/>
                <a:gd name="T46" fmla="*/ 131 w 239"/>
                <a:gd name="T47" fmla="*/ 116 h 283"/>
                <a:gd name="T48" fmla="*/ 148 w 239"/>
                <a:gd name="T49" fmla="*/ 124 h 283"/>
                <a:gd name="T50" fmla="*/ 153 w 239"/>
                <a:gd name="T51" fmla="*/ 133 h 283"/>
                <a:gd name="T52" fmla="*/ 164 w 239"/>
                <a:gd name="T53" fmla="*/ 143 h 283"/>
                <a:gd name="T54" fmla="*/ 180 w 239"/>
                <a:gd name="T55" fmla="*/ 163 h 283"/>
                <a:gd name="T56" fmla="*/ 196 w 239"/>
                <a:gd name="T57" fmla="*/ 177 h 283"/>
                <a:gd name="T58" fmla="*/ 202 w 239"/>
                <a:gd name="T59" fmla="*/ 194 h 283"/>
                <a:gd name="T60" fmla="*/ 211 w 239"/>
                <a:gd name="T61" fmla="*/ 199 h 283"/>
                <a:gd name="T62" fmla="*/ 220 w 239"/>
                <a:gd name="T63" fmla="*/ 205 h 283"/>
                <a:gd name="T64" fmla="*/ 227 w 239"/>
                <a:gd name="T65" fmla="*/ 216 h 283"/>
                <a:gd name="T66" fmla="*/ 231 w 239"/>
                <a:gd name="T67" fmla="*/ 229 h 283"/>
                <a:gd name="T68" fmla="*/ 237 w 239"/>
                <a:gd name="T69" fmla="*/ 246 h 283"/>
                <a:gd name="T70" fmla="*/ 238 w 239"/>
                <a:gd name="T71" fmla="*/ 257 h 283"/>
                <a:gd name="T72" fmla="*/ 215 w 239"/>
                <a:gd name="T73" fmla="*/ 266 h 283"/>
                <a:gd name="T74" fmla="*/ 206 w 239"/>
                <a:gd name="T75" fmla="*/ 264 h 283"/>
                <a:gd name="T76" fmla="*/ 198 w 239"/>
                <a:gd name="T77" fmla="*/ 268 h 283"/>
                <a:gd name="T78" fmla="*/ 200 w 239"/>
                <a:gd name="T79" fmla="*/ 279 h 283"/>
                <a:gd name="T80" fmla="*/ 188 w 239"/>
                <a:gd name="T81" fmla="*/ 278 h 283"/>
                <a:gd name="T82" fmla="*/ 172 w 239"/>
                <a:gd name="T83" fmla="*/ 270 h 283"/>
                <a:gd name="T84" fmla="*/ 179 w 239"/>
                <a:gd name="T85" fmla="*/ 253 h 283"/>
                <a:gd name="T86" fmla="*/ 179 w 239"/>
                <a:gd name="T87" fmla="*/ 236 h 283"/>
                <a:gd name="T88" fmla="*/ 178 w 239"/>
                <a:gd name="T89" fmla="*/ 224 h 283"/>
                <a:gd name="T90" fmla="*/ 172 w 239"/>
                <a:gd name="T91" fmla="*/ 214 h 283"/>
                <a:gd name="T92" fmla="*/ 148 w 239"/>
                <a:gd name="T93" fmla="*/ 182 h 283"/>
                <a:gd name="T94" fmla="*/ 134 w 239"/>
                <a:gd name="T95" fmla="*/ 155 h 283"/>
                <a:gd name="T96" fmla="*/ 111 w 239"/>
                <a:gd name="T97" fmla="*/ 135 h 283"/>
                <a:gd name="T98" fmla="*/ 100 w 239"/>
                <a:gd name="T99" fmla="*/ 139 h 283"/>
                <a:gd name="T100" fmla="*/ 91 w 239"/>
                <a:gd name="T101" fmla="*/ 149 h 283"/>
                <a:gd name="T102" fmla="*/ 80 w 239"/>
                <a:gd name="T103" fmla="*/ 149 h 283"/>
                <a:gd name="T104" fmla="*/ 66 w 239"/>
                <a:gd name="T105" fmla="*/ 141 h 283"/>
                <a:gd name="T106" fmla="*/ 56 w 239"/>
                <a:gd name="T107" fmla="*/ 151 h 283"/>
                <a:gd name="T108" fmla="*/ 41 w 239"/>
                <a:gd name="T109" fmla="*/ 165 h 283"/>
                <a:gd name="T110" fmla="*/ 39 w 239"/>
                <a:gd name="T111" fmla="*/ 147 h 283"/>
                <a:gd name="T112" fmla="*/ 40 w 239"/>
                <a:gd name="T113" fmla="*/ 125 h 283"/>
                <a:gd name="T114" fmla="*/ 36 w 239"/>
                <a:gd name="T115" fmla="*/ 104 h 283"/>
                <a:gd name="T116" fmla="*/ 24 w 239"/>
                <a:gd name="T117" fmla="*/ 97 h 283"/>
                <a:gd name="T118" fmla="*/ 16 w 239"/>
                <a:gd name="T119" fmla="*/ 97 h 283"/>
                <a:gd name="T120" fmla="*/ 13 w 239"/>
                <a:gd name="T121" fmla="*/ 77 h 283"/>
                <a:gd name="T122" fmla="*/ 3 w 239"/>
                <a:gd name="T123" fmla="*/ 71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9" h="283">
                  <a:moveTo>
                    <a:pt x="0" y="70"/>
                  </a:moveTo>
                  <a:lnTo>
                    <a:pt x="0" y="63"/>
                  </a:lnTo>
                  <a:lnTo>
                    <a:pt x="1" y="59"/>
                  </a:lnTo>
                  <a:lnTo>
                    <a:pt x="3" y="57"/>
                  </a:lnTo>
                  <a:lnTo>
                    <a:pt x="6" y="55"/>
                  </a:lnTo>
                  <a:lnTo>
                    <a:pt x="8" y="55"/>
                  </a:lnTo>
                  <a:lnTo>
                    <a:pt x="11" y="55"/>
                  </a:lnTo>
                  <a:lnTo>
                    <a:pt x="12" y="53"/>
                  </a:lnTo>
                  <a:lnTo>
                    <a:pt x="11" y="53"/>
                  </a:lnTo>
                  <a:lnTo>
                    <a:pt x="9" y="53"/>
                  </a:lnTo>
                  <a:lnTo>
                    <a:pt x="9" y="50"/>
                  </a:lnTo>
                  <a:lnTo>
                    <a:pt x="11" y="47"/>
                  </a:lnTo>
                  <a:lnTo>
                    <a:pt x="12" y="44"/>
                  </a:lnTo>
                  <a:lnTo>
                    <a:pt x="13" y="41"/>
                  </a:lnTo>
                  <a:lnTo>
                    <a:pt x="17" y="38"/>
                  </a:lnTo>
                  <a:lnTo>
                    <a:pt x="22" y="36"/>
                  </a:lnTo>
                  <a:lnTo>
                    <a:pt x="23" y="33"/>
                  </a:lnTo>
                  <a:lnTo>
                    <a:pt x="24" y="31"/>
                  </a:lnTo>
                  <a:lnTo>
                    <a:pt x="25" y="33"/>
                  </a:lnTo>
                  <a:lnTo>
                    <a:pt x="28" y="38"/>
                  </a:lnTo>
                  <a:lnTo>
                    <a:pt x="29" y="42"/>
                  </a:lnTo>
                  <a:lnTo>
                    <a:pt x="32" y="42"/>
                  </a:lnTo>
                  <a:lnTo>
                    <a:pt x="33" y="42"/>
                  </a:lnTo>
                  <a:lnTo>
                    <a:pt x="36" y="41"/>
                  </a:lnTo>
                  <a:lnTo>
                    <a:pt x="38" y="42"/>
                  </a:lnTo>
                  <a:lnTo>
                    <a:pt x="40" y="43"/>
                  </a:lnTo>
                  <a:lnTo>
                    <a:pt x="43" y="44"/>
                  </a:lnTo>
                  <a:lnTo>
                    <a:pt x="45" y="43"/>
                  </a:lnTo>
                  <a:lnTo>
                    <a:pt x="44" y="41"/>
                  </a:lnTo>
                  <a:lnTo>
                    <a:pt x="43" y="37"/>
                  </a:lnTo>
                  <a:lnTo>
                    <a:pt x="41" y="36"/>
                  </a:lnTo>
                  <a:lnTo>
                    <a:pt x="41" y="33"/>
                  </a:lnTo>
                  <a:lnTo>
                    <a:pt x="43" y="32"/>
                  </a:lnTo>
                  <a:lnTo>
                    <a:pt x="43" y="29"/>
                  </a:lnTo>
                  <a:lnTo>
                    <a:pt x="43" y="28"/>
                  </a:lnTo>
                  <a:lnTo>
                    <a:pt x="40" y="23"/>
                  </a:lnTo>
                  <a:lnTo>
                    <a:pt x="36" y="18"/>
                  </a:lnTo>
                  <a:lnTo>
                    <a:pt x="34" y="13"/>
                  </a:lnTo>
                  <a:lnTo>
                    <a:pt x="33" y="9"/>
                  </a:lnTo>
                  <a:lnTo>
                    <a:pt x="33" y="6"/>
                  </a:lnTo>
                  <a:lnTo>
                    <a:pt x="33" y="2"/>
                  </a:lnTo>
                  <a:lnTo>
                    <a:pt x="35" y="0"/>
                  </a:lnTo>
                  <a:lnTo>
                    <a:pt x="38" y="0"/>
                  </a:lnTo>
                  <a:lnTo>
                    <a:pt x="39" y="1"/>
                  </a:lnTo>
                  <a:lnTo>
                    <a:pt x="40" y="2"/>
                  </a:lnTo>
                  <a:lnTo>
                    <a:pt x="43" y="1"/>
                  </a:lnTo>
                  <a:lnTo>
                    <a:pt x="45" y="1"/>
                  </a:lnTo>
                  <a:lnTo>
                    <a:pt x="46" y="1"/>
                  </a:lnTo>
                  <a:lnTo>
                    <a:pt x="46" y="1"/>
                  </a:lnTo>
                  <a:lnTo>
                    <a:pt x="48" y="2"/>
                  </a:lnTo>
                  <a:lnTo>
                    <a:pt x="49" y="5"/>
                  </a:lnTo>
                  <a:lnTo>
                    <a:pt x="51" y="9"/>
                  </a:lnTo>
                  <a:lnTo>
                    <a:pt x="62" y="18"/>
                  </a:lnTo>
                  <a:lnTo>
                    <a:pt x="65" y="23"/>
                  </a:lnTo>
                  <a:lnTo>
                    <a:pt x="67" y="26"/>
                  </a:lnTo>
                  <a:lnTo>
                    <a:pt x="68" y="27"/>
                  </a:lnTo>
                  <a:lnTo>
                    <a:pt x="70" y="25"/>
                  </a:lnTo>
                  <a:lnTo>
                    <a:pt x="71" y="23"/>
                  </a:lnTo>
                  <a:lnTo>
                    <a:pt x="70" y="22"/>
                  </a:lnTo>
                  <a:lnTo>
                    <a:pt x="71" y="22"/>
                  </a:lnTo>
                  <a:lnTo>
                    <a:pt x="72" y="25"/>
                  </a:lnTo>
                  <a:lnTo>
                    <a:pt x="73" y="26"/>
                  </a:lnTo>
                  <a:lnTo>
                    <a:pt x="75" y="26"/>
                  </a:lnTo>
                  <a:lnTo>
                    <a:pt x="76" y="28"/>
                  </a:lnTo>
                  <a:lnTo>
                    <a:pt x="76" y="33"/>
                  </a:lnTo>
                  <a:lnTo>
                    <a:pt x="75" y="37"/>
                  </a:lnTo>
                  <a:lnTo>
                    <a:pt x="76" y="41"/>
                  </a:lnTo>
                  <a:lnTo>
                    <a:pt x="78" y="45"/>
                  </a:lnTo>
                  <a:lnTo>
                    <a:pt x="82" y="50"/>
                  </a:lnTo>
                  <a:lnTo>
                    <a:pt x="86" y="54"/>
                  </a:lnTo>
                  <a:lnTo>
                    <a:pt x="91" y="55"/>
                  </a:lnTo>
                  <a:lnTo>
                    <a:pt x="97" y="57"/>
                  </a:lnTo>
                  <a:lnTo>
                    <a:pt x="102" y="60"/>
                  </a:lnTo>
                  <a:lnTo>
                    <a:pt x="104" y="55"/>
                  </a:lnTo>
                  <a:lnTo>
                    <a:pt x="105" y="53"/>
                  </a:lnTo>
                  <a:lnTo>
                    <a:pt x="108" y="52"/>
                  </a:lnTo>
                  <a:lnTo>
                    <a:pt x="111" y="50"/>
                  </a:lnTo>
                  <a:lnTo>
                    <a:pt x="114" y="52"/>
                  </a:lnTo>
                  <a:lnTo>
                    <a:pt x="120" y="55"/>
                  </a:lnTo>
                  <a:lnTo>
                    <a:pt x="125" y="58"/>
                  </a:lnTo>
                  <a:lnTo>
                    <a:pt x="126" y="60"/>
                  </a:lnTo>
                  <a:lnTo>
                    <a:pt x="127" y="61"/>
                  </a:lnTo>
                  <a:lnTo>
                    <a:pt x="126" y="64"/>
                  </a:lnTo>
                  <a:lnTo>
                    <a:pt x="125" y="65"/>
                  </a:lnTo>
                  <a:lnTo>
                    <a:pt x="123" y="66"/>
                  </a:lnTo>
                  <a:lnTo>
                    <a:pt x="121" y="68"/>
                  </a:lnTo>
                  <a:lnTo>
                    <a:pt x="126" y="69"/>
                  </a:lnTo>
                  <a:lnTo>
                    <a:pt x="129" y="69"/>
                  </a:lnTo>
                  <a:lnTo>
                    <a:pt x="130" y="71"/>
                  </a:lnTo>
                  <a:lnTo>
                    <a:pt x="131" y="74"/>
                  </a:lnTo>
                  <a:lnTo>
                    <a:pt x="132" y="74"/>
                  </a:lnTo>
                  <a:lnTo>
                    <a:pt x="135" y="75"/>
                  </a:lnTo>
                  <a:lnTo>
                    <a:pt x="137" y="76"/>
                  </a:lnTo>
                  <a:lnTo>
                    <a:pt x="140" y="77"/>
                  </a:lnTo>
                  <a:lnTo>
                    <a:pt x="141" y="81"/>
                  </a:lnTo>
                  <a:lnTo>
                    <a:pt x="139" y="84"/>
                  </a:lnTo>
                  <a:lnTo>
                    <a:pt x="136" y="86"/>
                  </a:lnTo>
                  <a:lnTo>
                    <a:pt x="137" y="87"/>
                  </a:lnTo>
                  <a:lnTo>
                    <a:pt x="137" y="88"/>
                  </a:lnTo>
                  <a:lnTo>
                    <a:pt x="135" y="91"/>
                  </a:lnTo>
                  <a:lnTo>
                    <a:pt x="130" y="93"/>
                  </a:lnTo>
                  <a:lnTo>
                    <a:pt x="126" y="93"/>
                  </a:lnTo>
                  <a:lnTo>
                    <a:pt x="124" y="93"/>
                  </a:lnTo>
                  <a:lnTo>
                    <a:pt x="120" y="92"/>
                  </a:lnTo>
                  <a:lnTo>
                    <a:pt x="116" y="92"/>
                  </a:lnTo>
                  <a:lnTo>
                    <a:pt x="115" y="92"/>
                  </a:lnTo>
                  <a:lnTo>
                    <a:pt x="115" y="95"/>
                  </a:lnTo>
                  <a:lnTo>
                    <a:pt x="116" y="97"/>
                  </a:lnTo>
                  <a:lnTo>
                    <a:pt x="119" y="100"/>
                  </a:lnTo>
                  <a:lnTo>
                    <a:pt x="118" y="101"/>
                  </a:lnTo>
                  <a:lnTo>
                    <a:pt x="116" y="102"/>
                  </a:lnTo>
                  <a:lnTo>
                    <a:pt x="114" y="103"/>
                  </a:lnTo>
                  <a:lnTo>
                    <a:pt x="114" y="104"/>
                  </a:lnTo>
                  <a:lnTo>
                    <a:pt x="116" y="107"/>
                  </a:lnTo>
                  <a:lnTo>
                    <a:pt x="118" y="108"/>
                  </a:lnTo>
                  <a:lnTo>
                    <a:pt x="119" y="108"/>
                  </a:lnTo>
                  <a:lnTo>
                    <a:pt x="120" y="108"/>
                  </a:lnTo>
                  <a:lnTo>
                    <a:pt x="123" y="109"/>
                  </a:lnTo>
                  <a:lnTo>
                    <a:pt x="126" y="112"/>
                  </a:lnTo>
                  <a:lnTo>
                    <a:pt x="131" y="116"/>
                  </a:lnTo>
                  <a:lnTo>
                    <a:pt x="135" y="118"/>
                  </a:lnTo>
                  <a:lnTo>
                    <a:pt x="139" y="120"/>
                  </a:lnTo>
                  <a:lnTo>
                    <a:pt x="140" y="122"/>
                  </a:lnTo>
                  <a:lnTo>
                    <a:pt x="142" y="123"/>
                  </a:lnTo>
                  <a:lnTo>
                    <a:pt x="148" y="124"/>
                  </a:lnTo>
                  <a:lnTo>
                    <a:pt x="152" y="125"/>
                  </a:lnTo>
                  <a:lnTo>
                    <a:pt x="153" y="127"/>
                  </a:lnTo>
                  <a:lnTo>
                    <a:pt x="153" y="128"/>
                  </a:lnTo>
                  <a:lnTo>
                    <a:pt x="152" y="130"/>
                  </a:lnTo>
                  <a:lnTo>
                    <a:pt x="153" y="133"/>
                  </a:lnTo>
                  <a:lnTo>
                    <a:pt x="155" y="136"/>
                  </a:lnTo>
                  <a:lnTo>
                    <a:pt x="159" y="140"/>
                  </a:lnTo>
                  <a:lnTo>
                    <a:pt x="161" y="141"/>
                  </a:lnTo>
                  <a:lnTo>
                    <a:pt x="163" y="143"/>
                  </a:lnTo>
                  <a:lnTo>
                    <a:pt x="164" y="143"/>
                  </a:lnTo>
                  <a:lnTo>
                    <a:pt x="167" y="145"/>
                  </a:lnTo>
                  <a:lnTo>
                    <a:pt x="168" y="149"/>
                  </a:lnTo>
                  <a:lnTo>
                    <a:pt x="173" y="156"/>
                  </a:lnTo>
                  <a:lnTo>
                    <a:pt x="178" y="161"/>
                  </a:lnTo>
                  <a:lnTo>
                    <a:pt x="180" y="163"/>
                  </a:lnTo>
                  <a:lnTo>
                    <a:pt x="184" y="167"/>
                  </a:lnTo>
                  <a:lnTo>
                    <a:pt x="188" y="171"/>
                  </a:lnTo>
                  <a:lnTo>
                    <a:pt x="190" y="172"/>
                  </a:lnTo>
                  <a:lnTo>
                    <a:pt x="194" y="175"/>
                  </a:lnTo>
                  <a:lnTo>
                    <a:pt x="196" y="177"/>
                  </a:lnTo>
                  <a:lnTo>
                    <a:pt x="198" y="181"/>
                  </a:lnTo>
                  <a:lnTo>
                    <a:pt x="199" y="183"/>
                  </a:lnTo>
                  <a:lnTo>
                    <a:pt x="200" y="186"/>
                  </a:lnTo>
                  <a:lnTo>
                    <a:pt x="201" y="189"/>
                  </a:lnTo>
                  <a:lnTo>
                    <a:pt x="202" y="194"/>
                  </a:lnTo>
                  <a:lnTo>
                    <a:pt x="205" y="197"/>
                  </a:lnTo>
                  <a:lnTo>
                    <a:pt x="206" y="199"/>
                  </a:lnTo>
                  <a:lnTo>
                    <a:pt x="207" y="199"/>
                  </a:lnTo>
                  <a:lnTo>
                    <a:pt x="210" y="199"/>
                  </a:lnTo>
                  <a:lnTo>
                    <a:pt x="211" y="199"/>
                  </a:lnTo>
                  <a:lnTo>
                    <a:pt x="214" y="200"/>
                  </a:lnTo>
                  <a:lnTo>
                    <a:pt x="215" y="202"/>
                  </a:lnTo>
                  <a:lnTo>
                    <a:pt x="215" y="203"/>
                  </a:lnTo>
                  <a:lnTo>
                    <a:pt x="217" y="204"/>
                  </a:lnTo>
                  <a:lnTo>
                    <a:pt x="220" y="205"/>
                  </a:lnTo>
                  <a:lnTo>
                    <a:pt x="222" y="208"/>
                  </a:lnTo>
                  <a:lnTo>
                    <a:pt x="226" y="211"/>
                  </a:lnTo>
                  <a:lnTo>
                    <a:pt x="231" y="213"/>
                  </a:lnTo>
                  <a:lnTo>
                    <a:pt x="228" y="215"/>
                  </a:lnTo>
                  <a:lnTo>
                    <a:pt x="227" y="216"/>
                  </a:lnTo>
                  <a:lnTo>
                    <a:pt x="225" y="219"/>
                  </a:lnTo>
                  <a:lnTo>
                    <a:pt x="223" y="221"/>
                  </a:lnTo>
                  <a:lnTo>
                    <a:pt x="223" y="224"/>
                  </a:lnTo>
                  <a:lnTo>
                    <a:pt x="227" y="226"/>
                  </a:lnTo>
                  <a:lnTo>
                    <a:pt x="231" y="229"/>
                  </a:lnTo>
                  <a:lnTo>
                    <a:pt x="233" y="231"/>
                  </a:lnTo>
                  <a:lnTo>
                    <a:pt x="238" y="236"/>
                  </a:lnTo>
                  <a:lnTo>
                    <a:pt x="239" y="240"/>
                  </a:lnTo>
                  <a:lnTo>
                    <a:pt x="239" y="243"/>
                  </a:lnTo>
                  <a:lnTo>
                    <a:pt x="237" y="246"/>
                  </a:lnTo>
                  <a:lnTo>
                    <a:pt x="236" y="248"/>
                  </a:lnTo>
                  <a:lnTo>
                    <a:pt x="236" y="250"/>
                  </a:lnTo>
                  <a:lnTo>
                    <a:pt x="237" y="251"/>
                  </a:lnTo>
                  <a:lnTo>
                    <a:pt x="238" y="253"/>
                  </a:lnTo>
                  <a:lnTo>
                    <a:pt x="238" y="257"/>
                  </a:lnTo>
                  <a:lnTo>
                    <a:pt x="234" y="262"/>
                  </a:lnTo>
                  <a:lnTo>
                    <a:pt x="230" y="266"/>
                  </a:lnTo>
                  <a:lnTo>
                    <a:pt x="223" y="268"/>
                  </a:lnTo>
                  <a:lnTo>
                    <a:pt x="218" y="268"/>
                  </a:lnTo>
                  <a:lnTo>
                    <a:pt x="215" y="266"/>
                  </a:lnTo>
                  <a:lnTo>
                    <a:pt x="211" y="263"/>
                  </a:lnTo>
                  <a:lnTo>
                    <a:pt x="209" y="261"/>
                  </a:lnTo>
                  <a:lnTo>
                    <a:pt x="207" y="262"/>
                  </a:lnTo>
                  <a:lnTo>
                    <a:pt x="207" y="262"/>
                  </a:lnTo>
                  <a:lnTo>
                    <a:pt x="206" y="264"/>
                  </a:lnTo>
                  <a:lnTo>
                    <a:pt x="204" y="264"/>
                  </a:lnTo>
                  <a:lnTo>
                    <a:pt x="201" y="264"/>
                  </a:lnTo>
                  <a:lnTo>
                    <a:pt x="201" y="266"/>
                  </a:lnTo>
                  <a:lnTo>
                    <a:pt x="200" y="268"/>
                  </a:lnTo>
                  <a:lnTo>
                    <a:pt x="198" y="268"/>
                  </a:lnTo>
                  <a:lnTo>
                    <a:pt x="196" y="269"/>
                  </a:lnTo>
                  <a:lnTo>
                    <a:pt x="195" y="270"/>
                  </a:lnTo>
                  <a:lnTo>
                    <a:pt x="195" y="270"/>
                  </a:lnTo>
                  <a:lnTo>
                    <a:pt x="199" y="275"/>
                  </a:lnTo>
                  <a:lnTo>
                    <a:pt x="200" y="279"/>
                  </a:lnTo>
                  <a:lnTo>
                    <a:pt x="199" y="281"/>
                  </a:lnTo>
                  <a:lnTo>
                    <a:pt x="196" y="283"/>
                  </a:lnTo>
                  <a:lnTo>
                    <a:pt x="194" y="283"/>
                  </a:lnTo>
                  <a:lnTo>
                    <a:pt x="190" y="279"/>
                  </a:lnTo>
                  <a:lnTo>
                    <a:pt x="188" y="278"/>
                  </a:lnTo>
                  <a:lnTo>
                    <a:pt x="185" y="277"/>
                  </a:lnTo>
                  <a:lnTo>
                    <a:pt x="178" y="275"/>
                  </a:lnTo>
                  <a:lnTo>
                    <a:pt x="175" y="275"/>
                  </a:lnTo>
                  <a:lnTo>
                    <a:pt x="173" y="273"/>
                  </a:lnTo>
                  <a:lnTo>
                    <a:pt x="172" y="270"/>
                  </a:lnTo>
                  <a:lnTo>
                    <a:pt x="173" y="268"/>
                  </a:lnTo>
                  <a:lnTo>
                    <a:pt x="178" y="264"/>
                  </a:lnTo>
                  <a:lnTo>
                    <a:pt x="179" y="262"/>
                  </a:lnTo>
                  <a:lnTo>
                    <a:pt x="179" y="259"/>
                  </a:lnTo>
                  <a:lnTo>
                    <a:pt x="179" y="253"/>
                  </a:lnTo>
                  <a:lnTo>
                    <a:pt x="179" y="247"/>
                  </a:lnTo>
                  <a:lnTo>
                    <a:pt x="177" y="246"/>
                  </a:lnTo>
                  <a:lnTo>
                    <a:pt x="175" y="242"/>
                  </a:lnTo>
                  <a:lnTo>
                    <a:pt x="177" y="238"/>
                  </a:lnTo>
                  <a:lnTo>
                    <a:pt x="179" y="236"/>
                  </a:lnTo>
                  <a:lnTo>
                    <a:pt x="175" y="236"/>
                  </a:lnTo>
                  <a:lnTo>
                    <a:pt x="177" y="234"/>
                  </a:lnTo>
                  <a:lnTo>
                    <a:pt x="178" y="231"/>
                  </a:lnTo>
                  <a:lnTo>
                    <a:pt x="179" y="227"/>
                  </a:lnTo>
                  <a:lnTo>
                    <a:pt x="178" y="224"/>
                  </a:lnTo>
                  <a:lnTo>
                    <a:pt x="175" y="222"/>
                  </a:lnTo>
                  <a:lnTo>
                    <a:pt x="172" y="220"/>
                  </a:lnTo>
                  <a:lnTo>
                    <a:pt x="169" y="218"/>
                  </a:lnTo>
                  <a:lnTo>
                    <a:pt x="171" y="215"/>
                  </a:lnTo>
                  <a:lnTo>
                    <a:pt x="172" y="214"/>
                  </a:lnTo>
                  <a:lnTo>
                    <a:pt x="164" y="210"/>
                  </a:lnTo>
                  <a:lnTo>
                    <a:pt x="157" y="205"/>
                  </a:lnTo>
                  <a:lnTo>
                    <a:pt x="151" y="199"/>
                  </a:lnTo>
                  <a:lnTo>
                    <a:pt x="148" y="191"/>
                  </a:lnTo>
                  <a:lnTo>
                    <a:pt x="148" y="182"/>
                  </a:lnTo>
                  <a:lnTo>
                    <a:pt x="148" y="175"/>
                  </a:lnTo>
                  <a:lnTo>
                    <a:pt x="146" y="167"/>
                  </a:lnTo>
                  <a:lnTo>
                    <a:pt x="143" y="163"/>
                  </a:lnTo>
                  <a:lnTo>
                    <a:pt x="141" y="161"/>
                  </a:lnTo>
                  <a:lnTo>
                    <a:pt x="134" y="155"/>
                  </a:lnTo>
                  <a:lnTo>
                    <a:pt x="129" y="147"/>
                  </a:lnTo>
                  <a:lnTo>
                    <a:pt x="123" y="141"/>
                  </a:lnTo>
                  <a:lnTo>
                    <a:pt x="115" y="136"/>
                  </a:lnTo>
                  <a:lnTo>
                    <a:pt x="114" y="136"/>
                  </a:lnTo>
                  <a:lnTo>
                    <a:pt x="111" y="135"/>
                  </a:lnTo>
                  <a:lnTo>
                    <a:pt x="105" y="135"/>
                  </a:lnTo>
                  <a:lnTo>
                    <a:pt x="102" y="135"/>
                  </a:lnTo>
                  <a:lnTo>
                    <a:pt x="99" y="135"/>
                  </a:lnTo>
                  <a:lnTo>
                    <a:pt x="99" y="136"/>
                  </a:lnTo>
                  <a:lnTo>
                    <a:pt x="100" y="139"/>
                  </a:lnTo>
                  <a:lnTo>
                    <a:pt x="98" y="141"/>
                  </a:lnTo>
                  <a:lnTo>
                    <a:pt x="97" y="144"/>
                  </a:lnTo>
                  <a:lnTo>
                    <a:pt x="95" y="147"/>
                  </a:lnTo>
                  <a:lnTo>
                    <a:pt x="93" y="149"/>
                  </a:lnTo>
                  <a:lnTo>
                    <a:pt x="91" y="149"/>
                  </a:lnTo>
                  <a:lnTo>
                    <a:pt x="87" y="151"/>
                  </a:lnTo>
                  <a:lnTo>
                    <a:pt x="84" y="152"/>
                  </a:lnTo>
                  <a:lnTo>
                    <a:pt x="82" y="151"/>
                  </a:lnTo>
                  <a:lnTo>
                    <a:pt x="81" y="150"/>
                  </a:lnTo>
                  <a:lnTo>
                    <a:pt x="80" y="149"/>
                  </a:lnTo>
                  <a:lnTo>
                    <a:pt x="76" y="147"/>
                  </a:lnTo>
                  <a:lnTo>
                    <a:pt x="73" y="146"/>
                  </a:lnTo>
                  <a:lnTo>
                    <a:pt x="68" y="141"/>
                  </a:lnTo>
                  <a:lnTo>
                    <a:pt x="67" y="141"/>
                  </a:lnTo>
                  <a:lnTo>
                    <a:pt x="66" y="141"/>
                  </a:lnTo>
                  <a:lnTo>
                    <a:pt x="64" y="144"/>
                  </a:lnTo>
                  <a:lnTo>
                    <a:pt x="61" y="146"/>
                  </a:lnTo>
                  <a:lnTo>
                    <a:pt x="60" y="147"/>
                  </a:lnTo>
                  <a:lnTo>
                    <a:pt x="59" y="146"/>
                  </a:lnTo>
                  <a:lnTo>
                    <a:pt x="56" y="151"/>
                  </a:lnTo>
                  <a:lnTo>
                    <a:pt x="52" y="156"/>
                  </a:lnTo>
                  <a:lnTo>
                    <a:pt x="49" y="160"/>
                  </a:lnTo>
                  <a:lnTo>
                    <a:pt x="44" y="163"/>
                  </a:lnTo>
                  <a:lnTo>
                    <a:pt x="43" y="165"/>
                  </a:lnTo>
                  <a:lnTo>
                    <a:pt x="41" y="165"/>
                  </a:lnTo>
                  <a:lnTo>
                    <a:pt x="38" y="162"/>
                  </a:lnTo>
                  <a:lnTo>
                    <a:pt x="36" y="161"/>
                  </a:lnTo>
                  <a:lnTo>
                    <a:pt x="36" y="159"/>
                  </a:lnTo>
                  <a:lnTo>
                    <a:pt x="38" y="152"/>
                  </a:lnTo>
                  <a:lnTo>
                    <a:pt x="39" y="147"/>
                  </a:lnTo>
                  <a:lnTo>
                    <a:pt x="39" y="141"/>
                  </a:lnTo>
                  <a:lnTo>
                    <a:pt x="38" y="136"/>
                  </a:lnTo>
                  <a:lnTo>
                    <a:pt x="36" y="132"/>
                  </a:lnTo>
                  <a:lnTo>
                    <a:pt x="39" y="128"/>
                  </a:lnTo>
                  <a:lnTo>
                    <a:pt x="40" y="125"/>
                  </a:lnTo>
                  <a:lnTo>
                    <a:pt x="39" y="123"/>
                  </a:lnTo>
                  <a:lnTo>
                    <a:pt x="40" y="117"/>
                  </a:lnTo>
                  <a:lnTo>
                    <a:pt x="40" y="113"/>
                  </a:lnTo>
                  <a:lnTo>
                    <a:pt x="39" y="111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33" y="96"/>
                  </a:lnTo>
                  <a:lnTo>
                    <a:pt x="30" y="95"/>
                  </a:lnTo>
                  <a:lnTo>
                    <a:pt x="27" y="96"/>
                  </a:lnTo>
                  <a:lnTo>
                    <a:pt x="24" y="97"/>
                  </a:lnTo>
                  <a:lnTo>
                    <a:pt x="23" y="98"/>
                  </a:lnTo>
                  <a:lnTo>
                    <a:pt x="23" y="98"/>
                  </a:lnTo>
                  <a:lnTo>
                    <a:pt x="20" y="98"/>
                  </a:lnTo>
                  <a:lnTo>
                    <a:pt x="18" y="98"/>
                  </a:lnTo>
                  <a:lnTo>
                    <a:pt x="16" y="97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3" y="85"/>
                  </a:lnTo>
                  <a:lnTo>
                    <a:pt x="14" y="81"/>
                  </a:lnTo>
                  <a:lnTo>
                    <a:pt x="13" y="77"/>
                  </a:lnTo>
                  <a:lnTo>
                    <a:pt x="11" y="74"/>
                  </a:lnTo>
                  <a:lnTo>
                    <a:pt x="8" y="71"/>
                  </a:lnTo>
                  <a:lnTo>
                    <a:pt x="7" y="70"/>
                  </a:lnTo>
                  <a:lnTo>
                    <a:pt x="4" y="70"/>
                  </a:lnTo>
                  <a:lnTo>
                    <a:pt x="3" y="71"/>
                  </a:lnTo>
                  <a:lnTo>
                    <a:pt x="0" y="74"/>
                  </a:lnTo>
                  <a:lnTo>
                    <a:pt x="0" y="7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7" name="Freeform 1639">
              <a:extLst>
                <a:ext uri="{FF2B5EF4-FFF2-40B4-BE49-F238E27FC236}">
                  <a16:creationId xmlns:a16="http://schemas.microsoft.com/office/drawing/2014/main" id="{ABC1F8EE-4FA5-4DE2-AC55-2D434FA930C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2287" y="3117991"/>
              <a:ext cx="139121" cy="181279"/>
            </a:xfrm>
            <a:custGeom>
              <a:avLst/>
              <a:gdLst>
                <a:gd name="T0" fmla="*/ 6 w 131"/>
                <a:gd name="T1" fmla="*/ 84 h 174"/>
                <a:gd name="T2" fmla="*/ 11 w 131"/>
                <a:gd name="T3" fmla="*/ 80 h 174"/>
                <a:gd name="T4" fmla="*/ 21 w 131"/>
                <a:gd name="T5" fmla="*/ 73 h 174"/>
                <a:gd name="T6" fmla="*/ 24 w 131"/>
                <a:gd name="T7" fmla="*/ 68 h 174"/>
                <a:gd name="T8" fmla="*/ 32 w 131"/>
                <a:gd name="T9" fmla="*/ 64 h 174"/>
                <a:gd name="T10" fmla="*/ 33 w 131"/>
                <a:gd name="T11" fmla="*/ 54 h 174"/>
                <a:gd name="T12" fmla="*/ 35 w 131"/>
                <a:gd name="T13" fmla="*/ 42 h 174"/>
                <a:gd name="T14" fmla="*/ 42 w 131"/>
                <a:gd name="T15" fmla="*/ 38 h 174"/>
                <a:gd name="T16" fmla="*/ 61 w 131"/>
                <a:gd name="T17" fmla="*/ 49 h 174"/>
                <a:gd name="T18" fmla="*/ 78 w 131"/>
                <a:gd name="T19" fmla="*/ 51 h 174"/>
                <a:gd name="T20" fmla="*/ 77 w 131"/>
                <a:gd name="T21" fmla="*/ 43 h 174"/>
                <a:gd name="T22" fmla="*/ 76 w 131"/>
                <a:gd name="T23" fmla="*/ 31 h 174"/>
                <a:gd name="T24" fmla="*/ 91 w 131"/>
                <a:gd name="T25" fmla="*/ 27 h 174"/>
                <a:gd name="T26" fmla="*/ 93 w 131"/>
                <a:gd name="T27" fmla="*/ 19 h 174"/>
                <a:gd name="T28" fmla="*/ 101 w 131"/>
                <a:gd name="T29" fmla="*/ 17 h 174"/>
                <a:gd name="T30" fmla="*/ 99 w 131"/>
                <a:gd name="T31" fmla="*/ 4 h 174"/>
                <a:gd name="T32" fmla="*/ 108 w 131"/>
                <a:gd name="T33" fmla="*/ 3 h 174"/>
                <a:gd name="T34" fmla="*/ 120 w 131"/>
                <a:gd name="T35" fmla="*/ 15 h 174"/>
                <a:gd name="T36" fmla="*/ 130 w 131"/>
                <a:gd name="T37" fmla="*/ 22 h 174"/>
                <a:gd name="T38" fmla="*/ 124 w 131"/>
                <a:gd name="T39" fmla="*/ 22 h 174"/>
                <a:gd name="T40" fmla="*/ 121 w 131"/>
                <a:gd name="T41" fmla="*/ 26 h 174"/>
                <a:gd name="T42" fmla="*/ 117 w 131"/>
                <a:gd name="T43" fmla="*/ 41 h 174"/>
                <a:gd name="T44" fmla="*/ 120 w 131"/>
                <a:gd name="T45" fmla="*/ 49 h 174"/>
                <a:gd name="T46" fmla="*/ 130 w 131"/>
                <a:gd name="T47" fmla="*/ 65 h 174"/>
                <a:gd name="T48" fmla="*/ 124 w 131"/>
                <a:gd name="T49" fmla="*/ 73 h 174"/>
                <a:gd name="T50" fmla="*/ 120 w 131"/>
                <a:gd name="T51" fmla="*/ 80 h 174"/>
                <a:gd name="T52" fmla="*/ 113 w 131"/>
                <a:gd name="T53" fmla="*/ 88 h 174"/>
                <a:gd name="T54" fmla="*/ 104 w 131"/>
                <a:gd name="T55" fmla="*/ 96 h 174"/>
                <a:gd name="T56" fmla="*/ 93 w 131"/>
                <a:gd name="T57" fmla="*/ 102 h 174"/>
                <a:gd name="T58" fmla="*/ 92 w 131"/>
                <a:gd name="T59" fmla="*/ 108 h 174"/>
                <a:gd name="T60" fmla="*/ 94 w 131"/>
                <a:gd name="T61" fmla="*/ 117 h 174"/>
                <a:gd name="T62" fmla="*/ 93 w 131"/>
                <a:gd name="T63" fmla="*/ 120 h 174"/>
                <a:gd name="T64" fmla="*/ 101 w 131"/>
                <a:gd name="T65" fmla="*/ 124 h 174"/>
                <a:gd name="T66" fmla="*/ 112 w 131"/>
                <a:gd name="T67" fmla="*/ 129 h 174"/>
                <a:gd name="T68" fmla="*/ 130 w 131"/>
                <a:gd name="T69" fmla="*/ 144 h 174"/>
                <a:gd name="T70" fmla="*/ 125 w 131"/>
                <a:gd name="T71" fmla="*/ 153 h 174"/>
                <a:gd name="T72" fmla="*/ 107 w 131"/>
                <a:gd name="T73" fmla="*/ 153 h 174"/>
                <a:gd name="T74" fmla="*/ 98 w 131"/>
                <a:gd name="T75" fmla="*/ 161 h 174"/>
                <a:gd name="T76" fmla="*/ 92 w 131"/>
                <a:gd name="T77" fmla="*/ 169 h 174"/>
                <a:gd name="T78" fmla="*/ 82 w 131"/>
                <a:gd name="T79" fmla="*/ 169 h 174"/>
                <a:gd name="T80" fmla="*/ 78 w 131"/>
                <a:gd name="T81" fmla="*/ 170 h 174"/>
                <a:gd name="T82" fmla="*/ 62 w 131"/>
                <a:gd name="T83" fmla="*/ 161 h 174"/>
                <a:gd name="T84" fmla="*/ 65 w 131"/>
                <a:gd name="T85" fmla="*/ 169 h 174"/>
                <a:gd name="T86" fmla="*/ 61 w 131"/>
                <a:gd name="T87" fmla="*/ 171 h 174"/>
                <a:gd name="T88" fmla="*/ 64 w 131"/>
                <a:gd name="T89" fmla="*/ 169 h 174"/>
                <a:gd name="T90" fmla="*/ 60 w 131"/>
                <a:gd name="T91" fmla="*/ 166 h 174"/>
                <a:gd name="T92" fmla="*/ 54 w 131"/>
                <a:gd name="T93" fmla="*/ 166 h 174"/>
                <a:gd name="T94" fmla="*/ 50 w 131"/>
                <a:gd name="T95" fmla="*/ 164 h 174"/>
                <a:gd name="T96" fmla="*/ 50 w 131"/>
                <a:gd name="T97" fmla="*/ 161 h 174"/>
                <a:gd name="T98" fmla="*/ 50 w 131"/>
                <a:gd name="T99" fmla="*/ 160 h 174"/>
                <a:gd name="T100" fmla="*/ 40 w 131"/>
                <a:gd name="T101" fmla="*/ 156 h 174"/>
                <a:gd name="T102" fmla="*/ 40 w 131"/>
                <a:gd name="T103" fmla="*/ 150 h 174"/>
                <a:gd name="T104" fmla="*/ 42 w 131"/>
                <a:gd name="T105" fmla="*/ 144 h 174"/>
                <a:gd name="T106" fmla="*/ 46 w 131"/>
                <a:gd name="T107" fmla="*/ 140 h 174"/>
                <a:gd name="T108" fmla="*/ 54 w 131"/>
                <a:gd name="T109" fmla="*/ 140 h 174"/>
                <a:gd name="T110" fmla="*/ 42 w 131"/>
                <a:gd name="T111" fmla="*/ 137 h 174"/>
                <a:gd name="T112" fmla="*/ 39 w 131"/>
                <a:gd name="T113" fmla="*/ 126 h 174"/>
                <a:gd name="T114" fmla="*/ 37 w 131"/>
                <a:gd name="T115" fmla="*/ 116 h 174"/>
                <a:gd name="T116" fmla="*/ 30 w 131"/>
                <a:gd name="T117" fmla="*/ 112 h 174"/>
                <a:gd name="T118" fmla="*/ 14 w 131"/>
                <a:gd name="T119" fmla="*/ 105 h 174"/>
                <a:gd name="T120" fmla="*/ 12 w 131"/>
                <a:gd name="T121" fmla="*/ 106 h 174"/>
                <a:gd name="T122" fmla="*/ 2 w 131"/>
                <a:gd name="T123" fmla="*/ 100 h 174"/>
                <a:gd name="T124" fmla="*/ 3 w 131"/>
                <a:gd name="T125" fmla="*/ 96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1" h="174">
                  <a:moveTo>
                    <a:pt x="0" y="94"/>
                  </a:moveTo>
                  <a:lnTo>
                    <a:pt x="2" y="89"/>
                  </a:lnTo>
                  <a:lnTo>
                    <a:pt x="6" y="84"/>
                  </a:lnTo>
                  <a:lnTo>
                    <a:pt x="10" y="83"/>
                  </a:lnTo>
                  <a:lnTo>
                    <a:pt x="11" y="81"/>
                  </a:lnTo>
                  <a:lnTo>
                    <a:pt x="11" y="80"/>
                  </a:lnTo>
                  <a:lnTo>
                    <a:pt x="13" y="78"/>
                  </a:lnTo>
                  <a:lnTo>
                    <a:pt x="17" y="75"/>
                  </a:lnTo>
                  <a:lnTo>
                    <a:pt x="21" y="73"/>
                  </a:lnTo>
                  <a:lnTo>
                    <a:pt x="23" y="70"/>
                  </a:lnTo>
                  <a:lnTo>
                    <a:pt x="23" y="69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30" y="67"/>
                  </a:lnTo>
                  <a:lnTo>
                    <a:pt x="32" y="64"/>
                  </a:lnTo>
                  <a:lnTo>
                    <a:pt x="32" y="62"/>
                  </a:lnTo>
                  <a:lnTo>
                    <a:pt x="33" y="59"/>
                  </a:lnTo>
                  <a:lnTo>
                    <a:pt x="33" y="54"/>
                  </a:lnTo>
                  <a:lnTo>
                    <a:pt x="33" y="49"/>
                  </a:lnTo>
                  <a:lnTo>
                    <a:pt x="33" y="45"/>
                  </a:lnTo>
                  <a:lnTo>
                    <a:pt x="35" y="42"/>
                  </a:lnTo>
                  <a:lnTo>
                    <a:pt x="38" y="40"/>
                  </a:lnTo>
                  <a:lnTo>
                    <a:pt x="40" y="38"/>
                  </a:lnTo>
                  <a:lnTo>
                    <a:pt x="42" y="38"/>
                  </a:lnTo>
                  <a:lnTo>
                    <a:pt x="46" y="42"/>
                  </a:lnTo>
                  <a:lnTo>
                    <a:pt x="51" y="46"/>
                  </a:lnTo>
                  <a:lnTo>
                    <a:pt x="61" y="49"/>
                  </a:lnTo>
                  <a:lnTo>
                    <a:pt x="71" y="51"/>
                  </a:lnTo>
                  <a:lnTo>
                    <a:pt x="75" y="52"/>
                  </a:lnTo>
                  <a:lnTo>
                    <a:pt x="78" y="51"/>
                  </a:lnTo>
                  <a:lnTo>
                    <a:pt x="81" y="49"/>
                  </a:lnTo>
                  <a:lnTo>
                    <a:pt x="81" y="46"/>
                  </a:lnTo>
                  <a:lnTo>
                    <a:pt x="77" y="43"/>
                  </a:lnTo>
                  <a:lnTo>
                    <a:pt x="73" y="41"/>
                  </a:lnTo>
                  <a:lnTo>
                    <a:pt x="66" y="32"/>
                  </a:lnTo>
                  <a:lnTo>
                    <a:pt x="76" y="31"/>
                  </a:lnTo>
                  <a:lnTo>
                    <a:pt x="86" y="31"/>
                  </a:lnTo>
                  <a:lnTo>
                    <a:pt x="91" y="30"/>
                  </a:lnTo>
                  <a:lnTo>
                    <a:pt x="91" y="27"/>
                  </a:lnTo>
                  <a:lnTo>
                    <a:pt x="91" y="24"/>
                  </a:lnTo>
                  <a:lnTo>
                    <a:pt x="92" y="20"/>
                  </a:lnTo>
                  <a:lnTo>
                    <a:pt x="93" y="19"/>
                  </a:lnTo>
                  <a:lnTo>
                    <a:pt x="96" y="19"/>
                  </a:lnTo>
                  <a:lnTo>
                    <a:pt x="98" y="19"/>
                  </a:lnTo>
                  <a:lnTo>
                    <a:pt x="101" y="17"/>
                  </a:lnTo>
                  <a:lnTo>
                    <a:pt x="102" y="15"/>
                  </a:lnTo>
                  <a:lnTo>
                    <a:pt x="101" y="9"/>
                  </a:lnTo>
                  <a:lnTo>
                    <a:pt x="99" y="4"/>
                  </a:lnTo>
                  <a:lnTo>
                    <a:pt x="97" y="0"/>
                  </a:lnTo>
                  <a:lnTo>
                    <a:pt x="105" y="2"/>
                  </a:lnTo>
                  <a:lnTo>
                    <a:pt x="108" y="3"/>
                  </a:lnTo>
                  <a:lnTo>
                    <a:pt x="110" y="6"/>
                  </a:lnTo>
                  <a:lnTo>
                    <a:pt x="115" y="11"/>
                  </a:lnTo>
                  <a:lnTo>
                    <a:pt x="120" y="15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0" y="22"/>
                  </a:lnTo>
                  <a:lnTo>
                    <a:pt x="129" y="22"/>
                  </a:lnTo>
                  <a:lnTo>
                    <a:pt x="126" y="22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3" y="25"/>
                  </a:lnTo>
                  <a:lnTo>
                    <a:pt x="121" y="26"/>
                  </a:lnTo>
                  <a:lnTo>
                    <a:pt x="121" y="27"/>
                  </a:lnTo>
                  <a:lnTo>
                    <a:pt x="118" y="36"/>
                  </a:lnTo>
                  <a:lnTo>
                    <a:pt x="117" y="41"/>
                  </a:lnTo>
                  <a:lnTo>
                    <a:pt x="117" y="45"/>
                  </a:lnTo>
                  <a:lnTo>
                    <a:pt x="118" y="47"/>
                  </a:lnTo>
                  <a:lnTo>
                    <a:pt x="120" y="49"/>
                  </a:lnTo>
                  <a:lnTo>
                    <a:pt x="125" y="57"/>
                  </a:lnTo>
                  <a:lnTo>
                    <a:pt x="128" y="62"/>
                  </a:lnTo>
                  <a:lnTo>
                    <a:pt x="130" y="65"/>
                  </a:lnTo>
                  <a:lnTo>
                    <a:pt x="130" y="68"/>
                  </a:lnTo>
                  <a:lnTo>
                    <a:pt x="128" y="70"/>
                  </a:lnTo>
                  <a:lnTo>
                    <a:pt x="124" y="73"/>
                  </a:lnTo>
                  <a:lnTo>
                    <a:pt x="120" y="75"/>
                  </a:lnTo>
                  <a:lnTo>
                    <a:pt x="120" y="79"/>
                  </a:lnTo>
                  <a:lnTo>
                    <a:pt x="120" y="80"/>
                  </a:lnTo>
                  <a:lnTo>
                    <a:pt x="119" y="81"/>
                  </a:lnTo>
                  <a:lnTo>
                    <a:pt x="115" y="84"/>
                  </a:lnTo>
                  <a:lnTo>
                    <a:pt x="113" y="88"/>
                  </a:lnTo>
                  <a:lnTo>
                    <a:pt x="110" y="91"/>
                  </a:lnTo>
                  <a:lnTo>
                    <a:pt x="108" y="95"/>
                  </a:lnTo>
                  <a:lnTo>
                    <a:pt x="104" y="96"/>
                  </a:lnTo>
                  <a:lnTo>
                    <a:pt x="99" y="97"/>
                  </a:lnTo>
                  <a:lnTo>
                    <a:pt x="97" y="100"/>
                  </a:lnTo>
                  <a:lnTo>
                    <a:pt x="93" y="102"/>
                  </a:lnTo>
                  <a:lnTo>
                    <a:pt x="91" y="105"/>
                  </a:lnTo>
                  <a:lnTo>
                    <a:pt x="91" y="107"/>
                  </a:lnTo>
                  <a:lnTo>
                    <a:pt x="92" y="108"/>
                  </a:lnTo>
                  <a:lnTo>
                    <a:pt x="94" y="113"/>
                  </a:lnTo>
                  <a:lnTo>
                    <a:pt x="96" y="118"/>
                  </a:lnTo>
                  <a:lnTo>
                    <a:pt x="94" y="117"/>
                  </a:lnTo>
                  <a:lnTo>
                    <a:pt x="93" y="117"/>
                  </a:lnTo>
                  <a:lnTo>
                    <a:pt x="93" y="118"/>
                  </a:lnTo>
                  <a:lnTo>
                    <a:pt x="93" y="120"/>
                  </a:lnTo>
                  <a:lnTo>
                    <a:pt x="94" y="123"/>
                  </a:lnTo>
                  <a:lnTo>
                    <a:pt x="97" y="124"/>
                  </a:lnTo>
                  <a:lnTo>
                    <a:pt x="101" y="124"/>
                  </a:lnTo>
                  <a:lnTo>
                    <a:pt x="104" y="126"/>
                  </a:lnTo>
                  <a:lnTo>
                    <a:pt x="108" y="128"/>
                  </a:lnTo>
                  <a:lnTo>
                    <a:pt x="112" y="129"/>
                  </a:lnTo>
                  <a:lnTo>
                    <a:pt x="120" y="134"/>
                  </a:lnTo>
                  <a:lnTo>
                    <a:pt x="128" y="140"/>
                  </a:lnTo>
                  <a:lnTo>
                    <a:pt x="130" y="144"/>
                  </a:lnTo>
                  <a:lnTo>
                    <a:pt x="130" y="147"/>
                  </a:lnTo>
                  <a:lnTo>
                    <a:pt x="129" y="150"/>
                  </a:lnTo>
                  <a:lnTo>
                    <a:pt x="125" y="153"/>
                  </a:lnTo>
                  <a:lnTo>
                    <a:pt x="121" y="154"/>
                  </a:lnTo>
                  <a:lnTo>
                    <a:pt x="117" y="153"/>
                  </a:lnTo>
                  <a:lnTo>
                    <a:pt x="107" y="153"/>
                  </a:lnTo>
                  <a:lnTo>
                    <a:pt x="102" y="154"/>
                  </a:lnTo>
                  <a:lnTo>
                    <a:pt x="99" y="158"/>
                  </a:lnTo>
                  <a:lnTo>
                    <a:pt x="98" y="161"/>
                  </a:lnTo>
                  <a:lnTo>
                    <a:pt x="97" y="165"/>
                  </a:lnTo>
                  <a:lnTo>
                    <a:pt x="94" y="169"/>
                  </a:lnTo>
                  <a:lnTo>
                    <a:pt x="92" y="169"/>
                  </a:lnTo>
                  <a:lnTo>
                    <a:pt x="89" y="169"/>
                  </a:lnTo>
                  <a:lnTo>
                    <a:pt x="85" y="167"/>
                  </a:lnTo>
                  <a:lnTo>
                    <a:pt x="82" y="169"/>
                  </a:lnTo>
                  <a:lnTo>
                    <a:pt x="82" y="169"/>
                  </a:lnTo>
                  <a:lnTo>
                    <a:pt x="83" y="171"/>
                  </a:lnTo>
                  <a:lnTo>
                    <a:pt x="78" y="170"/>
                  </a:lnTo>
                  <a:lnTo>
                    <a:pt x="73" y="167"/>
                  </a:lnTo>
                  <a:lnTo>
                    <a:pt x="69" y="164"/>
                  </a:lnTo>
                  <a:lnTo>
                    <a:pt x="62" y="161"/>
                  </a:lnTo>
                  <a:lnTo>
                    <a:pt x="69" y="165"/>
                  </a:lnTo>
                  <a:lnTo>
                    <a:pt x="67" y="166"/>
                  </a:lnTo>
                  <a:lnTo>
                    <a:pt x="65" y="169"/>
                  </a:lnTo>
                  <a:lnTo>
                    <a:pt x="64" y="171"/>
                  </a:lnTo>
                  <a:lnTo>
                    <a:pt x="61" y="174"/>
                  </a:lnTo>
                  <a:lnTo>
                    <a:pt x="61" y="171"/>
                  </a:lnTo>
                  <a:lnTo>
                    <a:pt x="62" y="171"/>
                  </a:lnTo>
                  <a:lnTo>
                    <a:pt x="62" y="170"/>
                  </a:lnTo>
                  <a:lnTo>
                    <a:pt x="64" y="169"/>
                  </a:lnTo>
                  <a:lnTo>
                    <a:pt x="62" y="167"/>
                  </a:lnTo>
                  <a:lnTo>
                    <a:pt x="61" y="166"/>
                  </a:lnTo>
                  <a:lnTo>
                    <a:pt x="60" y="166"/>
                  </a:lnTo>
                  <a:lnTo>
                    <a:pt x="59" y="169"/>
                  </a:lnTo>
                  <a:lnTo>
                    <a:pt x="57" y="166"/>
                  </a:lnTo>
                  <a:lnTo>
                    <a:pt x="54" y="166"/>
                  </a:lnTo>
                  <a:lnTo>
                    <a:pt x="51" y="166"/>
                  </a:lnTo>
                  <a:lnTo>
                    <a:pt x="48" y="164"/>
                  </a:lnTo>
                  <a:lnTo>
                    <a:pt x="50" y="164"/>
                  </a:lnTo>
                  <a:lnTo>
                    <a:pt x="51" y="164"/>
                  </a:lnTo>
                  <a:lnTo>
                    <a:pt x="50" y="163"/>
                  </a:lnTo>
                  <a:lnTo>
                    <a:pt x="50" y="161"/>
                  </a:lnTo>
                  <a:lnTo>
                    <a:pt x="51" y="161"/>
                  </a:lnTo>
                  <a:lnTo>
                    <a:pt x="53" y="161"/>
                  </a:lnTo>
                  <a:lnTo>
                    <a:pt x="50" y="160"/>
                  </a:lnTo>
                  <a:lnTo>
                    <a:pt x="46" y="159"/>
                  </a:lnTo>
                  <a:lnTo>
                    <a:pt x="38" y="159"/>
                  </a:lnTo>
                  <a:lnTo>
                    <a:pt x="40" y="156"/>
                  </a:lnTo>
                  <a:lnTo>
                    <a:pt x="43" y="156"/>
                  </a:lnTo>
                  <a:lnTo>
                    <a:pt x="40" y="154"/>
                  </a:lnTo>
                  <a:lnTo>
                    <a:pt x="40" y="150"/>
                  </a:lnTo>
                  <a:lnTo>
                    <a:pt x="40" y="147"/>
                  </a:lnTo>
                  <a:lnTo>
                    <a:pt x="39" y="143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42"/>
                  </a:lnTo>
                  <a:lnTo>
                    <a:pt x="46" y="140"/>
                  </a:lnTo>
                  <a:lnTo>
                    <a:pt x="51" y="140"/>
                  </a:lnTo>
                  <a:lnTo>
                    <a:pt x="56" y="143"/>
                  </a:lnTo>
                  <a:lnTo>
                    <a:pt x="54" y="140"/>
                  </a:lnTo>
                  <a:lnTo>
                    <a:pt x="51" y="139"/>
                  </a:lnTo>
                  <a:lnTo>
                    <a:pt x="46" y="139"/>
                  </a:lnTo>
                  <a:lnTo>
                    <a:pt x="42" y="137"/>
                  </a:lnTo>
                  <a:lnTo>
                    <a:pt x="39" y="136"/>
                  </a:lnTo>
                  <a:lnTo>
                    <a:pt x="39" y="133"/>
                  </a:lnTo>
                  <a:lnTo>
                    <a:pt x="39" y="126"/>
                  </a:lnTo>
                  <a:lnTo>
                    <a:pt x="40" y="120"/>
                  </a:lnTo>
                  <a:lnTo>
                    <a:pt x="39" y="117"/>
                  </a:lnTo>
                  <a:lnTo>
                    <a:pt x="37" y="116"/>
                  </a:lnTo>
                  <a:lnTo>
                    <a:pt x="37" y="113"/>
                  </a:lnTo>
                  <a:lnTo>
                    <a:pt x="37" y="111"/>
                  </a:lnTo>
                  <a:lnTo>
                    <a:pt x="30" y="112"/>
                  </a:lnTo>
                  <a:lnTo>
                    <a:pt x="26" y="111"/>
                  </a:lnTo>
                  <a:lnTo>
                    <a:pt x="19" y="107"/>
                  </a:lnTo>
                  <a:lnTo>
                    <a:pt x="14" y="105"/>
                  </a:lnTo>
                  <a:lnTo>
                    <a:pt x="16" y="107"/>
                  </a:lnTo>
                  <a:lnTo>
                    <a:pt x="14" y="111"/>
                  </a:lnTo>
                  <a:lnTo>
                    <a:pt x="12" y="106"/>
                  </a:lnTo>
                  <a:lnTo>
                    <a:pt x="7" y="104"/>
                  </a:lnTo>
                  <a:lnTo>
                    <a:pt x="5" y="102"/>
                  </a:lnTo>
                  <a:lnTo>
                    <a:pt x="2" y="100"/>
                  </a:lnTo>
                  <a:lnTo>
                    <a:pt x="1" y="97"/>
                  </a:lnTo>
                  <a:lnTo>
                    <a:pt x="1" y="97"/>
                  </a:lnTo>
                  <a:lnTo>
                    <a:pt x="3" y="96"/>
                  </a:lnTo>
                  <a:lnTo>
                    <a:pt x="0" y="9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8" name="Freeform 1788">
              <a:extLst>
                <a:ext uri="{FF2B5EF4-FFF2-40B4-BE49-F238E27FC236}">
                  <a16:creationId xmlns:a16="http://schemas.microsoft.com/office/drawing/2014/main" id="{E200A313-45D8-47E9-8765-A6DDBB08DA6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0835" y="3552218"/>
              <a:ext cx="252948" cy="139121"/>
            </a:xfrm>
            <a:custGeom>
              <a:avLst/>
              <a:gdLst>
                <a:gd name="T0" fmla="*/ 3 w 239"/>
                <a:gd name="T1" fmla="*/ 39 h 133"/>
                <a:gd name="T2" fmla="*/ 2 w 239"/>
                <a:gd name="T3" fmla="*/ 30 h 133"/>
                <a:gd name="T4" fmla="*/ 6 w 239"/>
                <a:gd name="T5" fmla="*/ 23 h 133"/>
                <a:gd name="T6" fmla="*/ 13 w 239"/>
                <a:gd name="T7" fmla="*/ 11 h 133"/>
                <a:gd name="T8" fmla="*/ 21 w 239"/>
                <a:gd name="T9" fmla="*/ 9 h 133"/>
                <a:gd name="T10" fmla="*/ 25 w 239"/>
                <a:gd name="T11" fmla="*/ 11 h 133"/>
                <a:gd name="T12" fmla="*/ 30 w 239"/>
                <a:gd name="T13" fmla="*/ 3 h 133"/>
                <a:gd name="T14" fmla="*/ 34 w 239"/>
                <a:gd name="T15" fmla="*/ 0 h 133"/>
                <a:gd name="T16" fmla="*/ 46 w 239"/>
                <a:gd name="T17" fmla="*/ 4 h 133"/>
                <a:gd name="T18" fmla="*/ 80 w 239"/>
                <a:gd name="T19" fmla="*/ 26 h 133"/>
                <a:gd name="T20" fmla="*/ 91 w 239"/>
                <a:gd name="T21" fmla="*/ 36 h 133"/>
                <a:gd name="T22" fmla="*/ 102 w 239"/>
                <a:gd name="T23" fmla="*/ 39 h 133"/>
                <a:gd name="T24" fmla="*/ 112 w 239"/>
                <a:gd name="T25" fmla="*/ 41 h 133"/>
                <a:gd name="T26" fmla="*/ 118 w 239"/>
                <a:gd name="T27" fmla="*/ 52 h 133"/>
                <a:gd name="T28" fmla="*/ 132 w 239"/>
                <a:gd name="T29" fmla="*/ 60 h 133"/>
                <a:gd name="T30" fmla="*/ 141 w 239"/>
                <a:gd name="T31" fmla="*/ 60 h 133"/>
                <a:gd name="T32" fmla="*/ 145 w 239"/>
                <a:gd name="T33" fmla="*/ 64 h 133"/>
                <a:gd name="T34" fmla="*/ 145 w 239"/>
                <a:gd name="T35" fmla="*/ 69 h 133"/>
                <a:gd name="T36" fmla="*/ 157 w 239"/>
                <a:gd name="T37" fmla="*/ 71 h 133"/>
                <a:gd name="T38" fmla="*/ 166 w 239"/>
                <a:gd name="T39" fmla="*/ 75 h 133"/>
                <a:gd name="T40" fmla="*/ 172 w 239"/>
                <a:gd name="T41" fmla="*/ 82 h 133"/>
                <a:gd name="T42" fmla="*/ 174 w 239"/>
                <a:gd name="T43" fmla="*/ 78 h 133"/>
                <a:gd name="T44" fmla="*/ 180 w 239"/>
                <a:gd name="T45" fmla="*/ 81 h 133"/>
                <a:gd name="T46" fmla="*/ 188 w 239"/>
                <a:gd name="T47" fmla="*/ 78 h 133"/>
                <a:gd name="T48" fmla="*/ 194 w 239"/>
                <a:gd name="T49" fmla="*/ 79 h 133"/>
                <a:gd name="T50" fmla="*/ 205 w 239"/>
                <a:gd name="T51" fmla="*/ 84 h 133"/>
                <a:gd name="T52" fmla="*/ 216 w 239"/>
                <a:gd name="T53" fmla="*/ 85 h 133"/>
                <a:gd name="T54" fmla="*/ 231 w 239"/>
                <a:gd name="T55" fmla="*/ 85 h 133"/>
                <a:gd name="T56" fmla="*/ 233 w 239"/>
                <a:gd name="T57" fmla="*/ 94 h 133"/>
                <a:gd name="T58" fmla="*/ 233 w 239"/>
                <a:gd name="T59" fmla="*/ 112 h 133"/>
                <a:gd name="T60" fmla="*/ 239 w 239"/>
                <a:gd name="T61" fmla="*/ 128 h 133"/>
                <a:gd name="T62" fmla="*/ 230 w 239"/>
                <a:gd name="T63" fmla="*/ 133 h 133"/>
                <a:gd name="T64" fmla="*/ 215 w 239"/>
                <a:gd name="T65" fmla="*/ 133 h 133"/>
                <a:gd name="T66" fmla="*/ 206 w 239"/>
                <a:gd name="T67" fmla="*/ 129 h 133"/>
                <a:gd name="T68" fmla="*/ 196 w 239"/>
                <a:gd name="T69" fmla="*/ 130 h 133"/>
                <a:gd name="T70" fmla="*/ 182 w 239"/>
                <a:gd name="T71" fmla="*/ 126 h 133"/>
                <a:gd name="T72" fmla="*/ 173 w 239"/>
                <a:gd name="T73" fmla="*/ 126 h 133"/>
                <a:gd name="T74" fmla="*/ 167 w 239"/>
                <a:gd name="T75" fmla="*/ 119 h 133"/>
                <a:gd name="T76" fmla="*/ 157 w 239"/>
                <a:gd name="T77" fmla="*/ 122 h 133"/>
                <a:gd name="T78" fmla="*/ 150 w 239"/>
                <a:gd name="T79" fmla="*/ 116 h 133"/>
                <a:gd name="T80" fmla="*/ 141 w 239"/>
                <a:gd name="T81" fmla="*/ 111 h 133"/>
                <a:gd name="T82" fmla="*/ 136 w 239"/>
                <a:gd name="T83" fmla="*/ 103 h 133"/>
                <a:gd name="T84" fmla="*/ 120 w 239"/>
                <a:gd name="T85" fmla="*/ 98 h 133"/>
                <a:gd name="T86" fmla="*/ 114 w 239"/>
                <a:gd name="T87" fmla="*/ 101 h 133"/>
                <a:gd name="T88" fmla="*/ 103 w 239"/>
                <a:gd name="T89" fmla="*/ 98 h 133"/>
                <a:gd name="T90" fmla="*/ 94 w 239"/>
                <a:gd name="T91" fmla="*/ 100 h 133"/>
                <a:gd name="T92" fmla="*/ 83 w 239"/>
                <a:gd name="T93" fmla="*/ 96 h 133"/>
                <a:gd name="T94" fmla="*/ 77 w 239"/>
                <a:gd name="T95" fmla="*/ 90 h 133"/>
                <a:gd name="T96" fmla="*/ 65 w 239"/>
                <a:gd name="T97" fmla="*/ 85 h 133"/>
                <a:gd name="T98" fmla="*/ 55 w 239"/>
                <a:gd name="T99" fmla="*/ 84 h 133"/>
                <a:gd name="T100" fmla="*/ 35 w 239"/>
                <a:gd name="T101" fmla="*/ 71 h 133"/>
                <a:gd name="T102" fmla="*/ 13 w 239"/>
                <a:gd name="T103" fmla="*/ 58 h 133"/>
                <a:gd name="T104" fmla="*/ 7 w 239"/>
                <a:gd name="T105" fmla="*/ 58 h 133"/>
                <a:gd name="T106" fmla="*/ 0 w 239"/>
                <a:gd name="T107" fmla="*/ 51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9" h="133">
                  <a:moveTo>
                    <a:pt x="0" y="48"/>
                  </a:moveTo>
                  <a:lnTo>
                    <a:pt x="2" y="43"/>
                  </a:lnTo>
                  <a:lnTo>
                    <a:pt x="3" y="39"/>
                  </a:lnTo>
                  <a:lnTo>
                    <a:pt x="2" y="37"/>
                  </a:lnTo>
                  <a:lnTo>
                    <a:pt x="1" y="33"/>
                  </a:lnTo>
                  <a:lnTo>
                    <a:pt x="2" y="30"/>
                  </a:lnTo>
                  <a:lnTo>
                    <a:pt x="3" y="27"/>
                  </a:lnTo>
                  <a:lnTo>
                    <a:pt x="5" y="25"/>
                  </a:lnTo>
                  <a:lnTo>
                    <a:pt x="6" y="23"/>
                  </a:lnTo>
                  <a:lnTo>
                    <a:pt x="7" y="22"/>
                  </a:lnTo>
                  <a:lnTo>
                    <a:pt x="9" y="16"/>
                  </a:lnTo>
                  <a:lnTo>
                    <a:pt x="13" y="11"/>
                  </a:lnTo>
                  <a:lnTo>
                    <a:pt x="16" y="7"/>
                  </a:lnTo>
                  <a:lnTo>
                    <a:pt x="18" y="7"/>
                  </a:lnTo>
                  <a:lnTo>
                    <a:pt x="21" y="9"/>
                  </a:lnTo>
                  <a:lnTo>
                    <a:pt x="22" y="11"/>
                  </a:lnTo>
                  <a:lnTo>
                    <a:pt x="24" y="11"/>
                  </a:lnTo>
                  <a:lnTo>
                    <a:pt x="25" y="11"/>
                  </a:lnTo>
                  <a:lnTo>
                    <a:pt x="28" y="7"/>
                  </a:lnTo>
                  <a:lnTo>
                    <a:pt x="28" y="3"/>
                  </a:lnTo>
                  <a:lnTo>
                    <a:pt x="30" y="3"/>
                  </a:lnTo>
                  <a:lnTo>
                    <a:pt x="32" y="1"/>
                  </a:lnTo>
                  <a:lnTo>
                    <a:pt x="33" y="0"/>
                  </a:lnTo>
                  <a:lnTo>
                    <a:pt x="34" y="0"/>
                  </a:lnTo>
                  <a:lnTo>
                    <a:pt x="40" y="1"/>
                  </a:lnTo>
                  <a:lnTo>
                    <a:pt x="43" y="3"/>
                  </a:lnTo>
                  <a:lnTo>
                    <a:pt x="46" y="4"/>
                  </a:lnTo>
                  <a:lnTo>
                    <a:pt x="59" y="15"/>
                  </a:lnTo>
                  <a:lnTo>
                    <a:pt x="71" y="22"/>
                  </a:lnTo>
                  <a:lnTo>
                    <a:pt x="80" y="26"/>
                  </a:lnTo>
                  <a:lnTo>
                    <a:pt x="84" y="28"/>
                  </a:lnTo>
                  <a:lnTo>
                    <a:pt x="88" y="32"/>
                  </a:lnTo>
                  <a:lnTo>
                    <a:pt x="91" y="36"/>
                  </a:lnTo>
                  <a:lnTo>
                    <a:pt x="94" y="39"/>
                  </a:lnTo>
                  <a:lnTo>
                    <a:pt x="98" y="41"/>
                  </a:lnTo>
                  <a:lnTo>
                    <a:pt x="102" y="39"/>
                  </a:lnTo>
                  <a:lnTo>
                    <a:pt x="104" y="38"/>
                  </a:lnTo>
                  <a:lnTo>
                    <a:pt x="107" y="38"/>
                  </a:lnTo>
                  <a:lnTo>
                    <a:pt x="112" y="41"/>
                  </a:lnTo>
                  <a:lnTo>
                    <a:pt x="115" y="47"/>
                  </a:lnTo>
                  <a:lnTo>
                    <a:pt x="116" y="49"/>
                  </a:lnTo>
                  <a:lnTo>
                    <a:pt x="118" y="52"/>
                  </a:lnTo>
                  <a:lnTo>
                    <a:pt x="123" y="54"/>
                  </a:lnTo>
                  <a:lnTo>
                    <a:pt x="128" y="58"/>
                  </a:lnTo>
                  <a:lnTo>
                    <a:pt x="132" y="60"/>
                  </a:lnTo>
                  <a:lnTo>
                    <a:pt x="137" y="60"/>
                  </a:lnTo>
                  <a:lnTo>
                    <a:pt x="139" y="60"/>
                  </a:lnTo>
                  <a:lnTo>
                    <a:pt x="141" y="60"/>
                  </a:lnTo>
                  <a:lnTo>
                    <a:pt x="143" y="60"/>
                  </a:lnTo>
                  <a:lnTo>
                    <a:pt x="145" y="62"/>
                  </a:lnTo>
                  <a:lnTo>
                    <a:pt x="145" y="64"/>
                  </a:lnTo>
                  <a:lnTo>
                    <a:pt x="143" y="65"/>
                  </a:lnTo>
                  <a:lnTo>
                    <a:pt x="143" y="66"/>
                  </a:lnTo>
                  <a:lnTo>
                    <a:pt x="145" y="69"/>
                  </a:lnTo>
                  <a:lnTo>
                    <a:pt x="148" y="70"/>
                  </a:lnTo>
                  <a:lnTo>
                    <a:pt x="152" y="71"/>
                  </a:lnTo>
                  <a:lnTo>
                    <a:pt x="157" y="71"/>
                  </a:lnTo>
                  <a:lnTo>
                    <a:pt x="161" y="69"/>
                  </a:lnTo>
                  <a:lnTo>
                    <a:pt x="162" y="73"/>
                  </a:lnTo>
                  <a:lnTo>
                    <a:pt x="166" y="75"/>
                  </a:lnTo>
                  <a:lnTo>
                    <a:pt x="168" y="78"/>
                  </a:lnTo>
                  <a:lnTo>
                    <a:pt x="171" y="81"/>
                  </a:lnTo>
                  <a:lnTo>
                    <a:pt x="172" y="82"/>
                  </a:lnTo>
                  <a:lnTo>
                    <a:pt x="173" y="82"/>
                  </a:lnTo>
                  <a:lnTo>
                    <a:pt x="174" y="80"/>
                  </a:lnTo>
                  <a:lnTo>
                    <a:pt x="174" y="78"/>
                  </a:lnTo>
                  <a:lnTo>
                    <a:pt x="175" y="75"/>
                  </a:lnTo>
                  <a:lnTo>
                    <a:pt x="177" y="78"/>
                  </a:lnTo>
                  <a:lnTo>
                    <a:pt x="180" y="81"/>
                  </a:lnTo>
                  <a:lnTo>
                    <a:pt x="184" y="82"/>
                  </a:lnTo>
                  <a:lnTo>
                    <a:pt x="187" y="80"/>
                  </a:lnTo>
                  <a:lnTo>
                    <a:pt x="188" y="78"/>
                  </a:lnTo>
                  <a:lnTo>
                    <a:pt x="189" y="78"/>
                  </a:lnTo>
                  <a:lnTo>
                    <a:pt x="191" y="78"/>
                  </a:lnTo>
                  <a:lnTo>
                    <a:pt x="194" y="79"/>
                  </a:lnTo>
                  <a:lnTo>
                    <a:pt x="198" y="80"/>
                  </a:lnTo>
                  <a:lnTo>
                    <a:pt x="201" y="82"/>
                  </a:lnTo>
                  <a:lnTo>
                    <a:pt x="205" y="84"/>
                  </a:lnTo>
                  <a:lnTo>
                    <a:pt x="209" y="85"/>
                  </a:lnTo>
                  <a:lnTo>
                    <a:pt x="212" y="85"/>
                  </a:lnTo>
                  <a:lnTo>
                    <a:pt x="216" y="85"/>
                  </a:lnTo>
                  <a:lnTo>
                    <a:pt x="221" y="84"/>
                  </a:lnTo>
                  <a:lnTo>
                    <a:pt x="227" y="84"/>
                  </a:lnTo>
                  <a:lnTo>
                    <a:pt x="231" y="85"/>
                  </a:lnTo>
                  <a:lnTo>
                    <a:pt x="232" y="86"/>
                  </a:lnTo>
                  <a:lnTo>
                    <a:pt x="233" y="87"/>
                  </a:lnTo>
                  <a:lnTo>
                    <a:pt x="233" y="94"/>
                  </a:lnTo>
                  <a:lnTo>
                    <a:pt x="232" y="101"/>
                  </a:lnTo>
                  <a:lnTo>
                    <a:pt x="232" y="106"/>
                  </a:lnTo>
                  <a:lnTo>
                    <a:pt x="233" y="112"/>
                  </a:lnTo>
                  <a:lnTo>
                    <a:pt x="237" y="117"/>
                  </a:lnTo>
                  <a:lnTo>
                    <a:pt x="239" y="122"/>
                  </a:lnTo>
                  <a:lnTo>
                    <a:pt x="239" y="128"/>
                  </a:lnTo>
                  <a:lnTo>
                    <a:pt x="237" y="132"/>
                  </a:lnTo>
                  <a:lnTo>
                    <a:pt x="233" y="133"/>
                  </a:lnTo>
                  <a:lnTo>
                    <a:pt x="230" y="133"/>
                  </a:lnTo>
                  <a:lnTo>
                    <a:pt x="223" y="133"/>
                  </a:lnTo>
                  <a:lnTo>
                    <a:pt x="220" y="133"/>
                  </a:lnTo>
                  <a:lnTo>
                    <a:pt x="215" y="133"/>
                  </a:lnTo>
                  <a:lnTo>
                    <a:pt x="211" y="132"/>
                  </a:lnTo>
                  <a:lnTo>
                    <a:pt x="210" y="127"/>
                  </a:lnTo>
                  <a:lnTo>
                    <a:pt x="206" y="129"/>
                  </a:lnTo>
                  <a:lnTo>
                    <a:pt x="204" y="130"/>
                  </a:lnTo>
                  <a:lnTo>
                    <a:pt x="200" y="132"/>
                  </a:lnTo>
                  <a:lnTo>
                    <a:pt x="196" y="130"/>
                  </a:lnTo>
                  <a:lnTo>
                    <a:pt x="193" y="128"/>
                  </a:lnTo>
                  <a:lnTo>
                    <a:pt x="188" y="127"/>
                  </a:lnTo>
                  <a:lnTo>
                    <a:pt x="182" y="126"/>
                  </a:lnTo>
                  <a:lnTo>
                    <a:pt x="178" y="126"/>
                  </a:lnTo>
                  <a:lnTo>
                    <a:pt x="175" y="126"/>
                  </a:lnTo>
                  <a:lnTo>
                    <a:pt x="173" y="126"/>
                  </a:lnTo>
                  <a:lnTo>
                    <a:pt x="172" y="123"/>
                  </a:lnTo>
                  <a:lnTo>
                    <a:pt x="171" y="122"/>
                  </a:lnTo>
                  <a:lnTo>
                    <a:pt x="167" y="119"/>
                  </a:lnTo>
                  <a:lnTo>
                    <a:pt x="163" y="121"/>
                  </a:lnTo>
                  <a:lnTo>
                    <a:pt x="161" y="122"/>
                  </a:lnTo>
                  <a:lnTo>
                    <a:pt x="157" y="122"/>
                  </a:lnTo>
                  <a:lnTo>
                    <a:pt x="155" y="119"/>
                  </a:lnTo>
                  <a:lnTo>
                    <a:pt x="152" y="118"/>
                  </a:lnTo>
                  <a:lnTo>
                    <a:pt x="150" y="116"/>
                  </a:lnTo>
                  <a:lnTo>
                    <a:pt x="146" y="114"/>
                  </a:lnTo>
                  <a:lnTo>
                    <a:pt x="142" y="113"/>
                  </a:lnTo>
                  <a:lnTo>
                    <a:pt x="141" y="111"/>
                  </a:lnTo>
                  <a:lnTo>
                    <a:pt x="140" y="108"/>
                  </a:lnTo>
                  <a:lnTo>
                    <a:pt x="139" y="106"/>
                  </a:lnTo>
                  <a:lnTo>
                    <a:pt x="136" y="103"/>
                  </a:lnTo>
                  <a:lnTo>
                    <a:pt x="132" y="102"/>
                  </a:lnTo>
                  <a:lnTo>
                    <a:pt x="124" y="100"/>
                  </a:lnTo>
                  <a:lnTo>
                    <a:pt x="120" y="98"/>
                  </a:lnTo>
                  <a:lnTo>
                    <a:pt x="116" y="98"/>
                  </a:lnTo>
                  <a:lnTo>
                    <a:pt x="114" y="100"/>
                  </a:lnTo>
                  <a:lnTo>
                    <a:pt x="114" y="101"/>
                  </a:lnTo>
                  <a:lnTo>
                    <a:pt x="109" y="98"/>
                  </a:lnTo>
                  <a:lnTo>
                    <a:pt x="105" y="98"/>
                  </a:lnTo>
                  <a:lnTo>
                    <a:pt x="103" y="98"/>
                  </a:lnTo>
                  <a:lnTo>
                    <a:pt x="99" y="100"/>
                  </a:lnTo>
                  <a:lnTo>
                    <a:pt x="97" y="101"/>
                  </a:lnTo>
                  <a:lnTo>
                    <a:pt x="94" y="100"/>
                  </a:lnTo>
                  <a:lnTo>
                    <a:pt x="91" y="98"/>
                  </a:lnTo>
                  <a:lnTo>
                    <a:pt x="86" y="97"/>
                  </a:lnTo>
                  <a:lnTo>
                    <a:pt x="83" y="96"/>
                  </a:lnTo>
                  <a:lnTo>
                    <a:pt x="82" y="94"/>
                  </a:lnTo>
                  <a:lnTo>
                    <a:pt x="80" y="91"/>
                  </a:lnTo>
                  <a:lnTo>
                    <a:pt x="77" y="90"/>
                  </a:lnTo>
                  <a:lnTo>
                    <a:pt x="75" y="90"/>
                  </a:lnTo>
                  <a:lnTo>
                    <a:pt x="71" y="90"/>
                  </a:lnTo>
                  <a:lnTo>
                    <a:pt x="65" y="85"/>
                  </a:lnTo>
                  <a:lnTo>
                    <a:pt x="62" y="84"/>
                  </a:lnTo>
                  <a:lnTo>
                    <a:pt x="59" y="84"/>
                  </a:lnTo>
                  <a:lnTo>
                    <a:pt x="55" y="84"/>
                  </a:lnTo>
                  <a:lnTo>
                    <a:pt x="50" y="81"/>
                  </a:lnTo>
                  <a:lnTo>
                    <a:pt x="41" y="76"/>
                  </a:lnTo>
                  <a:lnTo>
                    <a:pt x="35" y="71"/>
                  </a:lnTo>
                  <a:lnTo>
                    <a:pt x="29" y="66"/>
                  </a:lnTo>
                  <a:lnTo>
                    <a:pt x="22" y="63"/>
                  </a:lnTo>
                  <a:lnTo>
                    <a:pt x="13" y="58"/>
                  </a:lnTo>
                  <a:lnTo>
                    <a:pt x="12" y="60"/>
                  </a:lnTo>
                  <a:lnTo>
                    <a:pt x="11" y="60"/>
                  </a:lnTo>
                  <a:lnTo>
                    <a:pt x="7" y="58"/>
                  </a:lnTo>
                  <a:lnTo>
                    <a:pt x="5" y="57"/>
                  </a:lnTo>
                  <a:lnTo>
                    <a:pt x="1" y="53"/>
                  </a:lnTo>
                  <a:lnTo>
                    <a:pt x="0" y="51"/>
                  </a:lnTo>
                  <a:lnTo>
                    <a:pt x="0" y="4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9" name="Freeform 1945">
              <a:extLst>
                <a:ext uri="{FF2B5EF4-FFF2-40B4-BE49-F238E27FC236}">
                  <a16:creationId xmlns:a16="http://schemas.microsoft.com/office/drawing/2014/main" id="{1E66103A-851D-4BDD-A977-E35BB6F4DA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5680" y="2985194"/>
              <a:ext cx="147553" cy="63237"/>
            </a:xfrm>
            <a:custGeom>
              <a:avLst/>
              <a:gdLst>
                <a:gd name="T0" fmla="*/ 34 w 141"/>
                <a:gd name="T1" fmla="*/ 2 h 60"/>
                <a:gd name="T2" fmla="*/ 45 w 141"/>
                <a:gd name="T3" fmla="*/ 2 h 60"/>
                <a:gd name="T4" fmla="*/ 53 w 141"/>
                <a:gd name="T5" fmla="*/ 0 h 60"/>
                <a:gd name="T6" fmla="*/ 64 w 141"/>
                <a:gd name="T7" fmla="*/ 4 h 60"/>
                <a:gd name="T8" fmla="*/ 73 w 141"/>
                <a:gd name="T9" fmla="*/ 5 h 60"/>
                <a:gd name="T10" fmla="*/ 80 w 141"/>
                <a:gd name="T11" fmla="*/ 7 h 60"/>
                <a:gd name="T12" fmla="*/ 83 w 141"/>
                <a:gd name="T13" fmla="*/ 6 h 60"/>
                <a:gd name="T14" fmla="*/ 88 w 141"/>
                <a:gd name="T15" fmla="*/ 8 h 60"/>
                <a:gd name="T16" fmla="*/ 100 w 141"/>
                <a:gd name="T17" fmla="*/ 5 h 60"/>
                <a:gd name="T18" fmla="*/ 118 w 141"/>
                <a:gd name="T19" fmla="*/ 11 h 60"/>
                <a:gd name="T20" fmla="*/ 123 w 141"/>
                <a:gd name="T21" fmla="*/ 4 h 60"/>
                <a:gd name="T22" fmla="*/ 132 w 141"/>
                <a:gd name="T23" fmla="*/ 6 h 60"/>
                <a:gd name="T24" fmla="*/ 131 w 141"/>
                <a:gd name="T25" fmla="*/ 1 h 60"/>
                <a:gd name="T26" fmla="*/ 141 w 141"/>
                <a:gd name="T27" fmla="*/ 4 h 60"/>
                <a:gd name="T28" fmla="*/ 138 w 141"/>
                <a:gd name="T29" fmla="*/ 7 h 60"/>
                <a:gd name="T30" fmla="*/ 137 w 141"/>
                <a:gd name="T31" fmla="*/ 12 h 60"/>
                <a:gd name="T32" fmla="*/ 128 w 141"/>
                <a:gd name="T33" fmla="*/ 15 h 60"/>
                <a:gd name="T34" fmla="*/ 123 w 141"/>
                <a:gd name="T35" fmla="*/ 17 h 60"/>
                <a:gd name="T36" fmla="*/ 113 w 141"/>
                <a:gd name="T37" fmla="*/ 17 h 60"/>
                <a:gd name="T38" fmla="*/ 101 w 141"/>
                <a:gd name="T39" fmla="*/ 13 h 60"/>
                <a:gd name="T40" fmla="*/ 93 w 141"/>
                <a:gd name="T41" fmla="*/ 11 h 60"/>
                <a:gd name="T42" fmla="*/ 74 w 141"/>
                <a:gd name="T43" fmla="*/ 11 h 60"/>
                <a:gd name="T44" fmla="*/ 52 w 141"/>
                <a:gd name="T45" fmla="*/ 10 h 60"/>
                <a:gd name="T46" fmla="*/ 45 w 141"/>
                <a:gd name="T47" fmla="*/ 5 h 60"/>
                <a:gd name="T48" fmla="*/ 42 w 141"/>
                <a:gd name="T49" fmla="*/ 7 h 60"/>
                <a:gd name="T50" fmla="*/ 38 w 141"/>
                <a:gd name="T51" fmla="*/ 12 h 60"/>
                <a:gd name="T52" fmla="*/ 34 w 141"/>
                <a:gd name="T53" fmla="*/ 15 h 60"/>
                <a:gd name="T54" fmla="*/ 30 w 141"/>
                <a:gd name="T55" fmla="*/ 18 h 60"/>
                <a:gd name="T56" fmla="*/ 24 w 141"/>
                <a:gd name="T57" fmla="*/ 26 h 60"/>
                <a:gd name="T58" fmla="*/ 20 w 141"/>
                <a:gd name="T59" fmla="*/ 29 h 60"/>
                <a:gd name="T60" fmla="*/ 21 w 141"/>
                <a:gd name="T61" fmla="*/ 39 h 60"/>
                <a:gd name="T62" fmla="*/ 22 w 141"/>
                <a:gd name="T63" fmla="*/ 50 h 60"/>
                <a:gd name="T64" fmla="*/ 22 w 141"/>
                <a:gd name="T65" fmla="*/ 60 h 60"/>
                <a:gd name="T66" fmla="*/ 19 w 141"/>
                <a:gd name="T67" fmla="*/ 53 h 60"/>
                <a:gd name="T68" fmla="*/ 9 w 141"/>
                <a:gd name="T69" fmla="*/ 45 h 60"/>
                <a:gd name="T70" fmla="*/ 0 w 141"/>
                <a:gd name="T71" fmla="*/ 39 h 60"/>
                <a:gd name="T72" fmla="*/ 2 w 141"/>
                <a:gd name="T73" fmla="*/ 34 h 60"/>
                <a:gd name="T74" fmla="*/ 4 w 141"/>
                <a:gd name="T75" fmla="*/ 29 h 60"/>
                <a:gd name="T76" fmla="*/ 2 w 141"/>
                <a:gd name="T77" fmla="*/ 23 h 60"/>
                <a:gd name="T78" fmla="*/ 6 w 141"/>
                <a:gd name="T79" fmla="*/ 20 h 60"/>
                <a:gd name="T80" fmla="*/ 8 w 141"/>
                <a:gd name="T81" fmla="*/ 17 h 60"/>
                <a:gd name="T82" fmla="*/ 18 w 141"/>
                <a:gd name="T83" fmla="*/ 8 h 60"/>
                <a:gd name="T84" fmla="*/ 19 w 141"/>
                <a:gd name="T85" fmla="*/ 4 h 60"/>
                <a:gd name="T86" fmla="*/ 24 w 141"/>
                <a:gd name="T87" fmla="*/ 1 h 60"/>
                <a:gd name="T88" fmla="*/ 29 w 141"/>
                <a:gd name="T8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41" h="60">
                  <a:moveTo>
                    <a:pt x="29" y="0"/>
                  </a:moveTo>
                  <a:lnTo>
                    <a:pt x="30" y="1"/>
                  </a:lnTo>
                  <a:lnTo>
                    <a:pt x="34" y="2"/>
                  </a:lnTo>
                  <a:lnTo>
                    <a:pt x="38" y="4"/>
                  </a:lnTo>
                  <a:lnTo>
                    <a:pt x="41" y="4"/>
                  </a:lnTo>
                  <a:lnTo>
                    <a:pt x="45" y="2"/>
                  </a:lnTo>
                  <a:lnTo>
                    <a:pt x="47" y="1"/>
                  </a:lnTo>
                  <a:lnTo>
                    <a:pt x="51" y="0"/>
                  </a:lnTo>
                  <a:lnTo>
                    <a:pt x="53" y="0"/>
                  </a:lnTo>
                  <a:lnTo>
                    <a:pt x="57" y="1"/>
                  </a:lnTo>
                  <a:lnTo>
                    <a:pt x="61" y="1"/>
                  </a:lnTo>
                  <a:lnTo>
                    <a:pt x="64" y="4"/>
                  </a:lnTo>
                  <a:lnTo>
                    <a:pt x="67" y="6"/>
                  </a:lnTo>
                  <a:lnTo>
                    <a:pt x="69" y="6"/>
                  </a:lnTo>
                  <a:lnTo>
                    <a:pt x="73" y="5"/>
                  </a:lnTo>
                  <a:lnTo>
                    <a:pt x="75" y="6"/>
                  </a:lnTo>
                  <a:lnTo>
                    <a:pt x="79" y="7"/>
                  </a:lnTo>
                  <a:lnTo>
                    <a:pt x="80" y="7"/>
                  </a:lnTo>
                  <a:lnTo>
                    <a:pt x="80" y="7"/>
                  </a:lnTo>
                  <a:lnTo>
                    <a:pt x="79" y="5"/>
                  </a:lnTo>
                  <a:lnTo>
                    <a:pt x="83" y="6"/>
                  </a:lnTo>
                  <a:lnTo>
                    <a:pt x="84" y="6"/>
                  </a:lnTo>
                  <a:lnTo>
                    <a:pt x="86" y="7"/>
                  </a:lnTo>
                  <a:lnTo>
                    <a:pt x="88" y="8"/>
                  </a:lnTo>
                  <a:lnTo>
                    <a:pt x="90" y="8"/>
                  </a:lnTo>
                  <a:lnTo>
                    <a:pt x="94" y="6"/>
                  </a:lnTo>
                  <a:lnTo>
                    <a:pt x="100" y="5"/>
                  </a:lnTo>
                  <a:lnTo>
                    <a:pt x="106" y="6"/>
                  </a:lnTo>
                  <a:lnTo>
                    <a:pt x="112" y="8"/>
                  </a:lnTo>
                  <a:lnTo>
                    <a:pt x="118" y="11"/>
                  </a:lnTo>
                  <a:lnTo>
                    <a:pt x="118" y="5"/>
                  </a:lnTo>
                  <a:lnTo>
                    <a:pt x="121" y="5"/>
                  </a:lnTo>
                  <a:lnTo>
                    <a:pt x="123" y="4"/>
                  </a:lnTo>
                  <a:lnTo>
                    <a:pt x="125" y="2"/>
                  </a:lnTo>
                  <a:lnTo>
                    <a:pt x="127" y="4"/>
                  </a:lnTo>
                  <a:lnTo>
                    <a:pt x="132" y="6"/>
                  </a:lnTo>
                  <a:lnTo>
                    <a:pt x="129" y="4"/>
                  </a:lnTo>
                  <a:lnTo>
                    <a:pt x="127" y="1"/>
                  </a:lnTo>
                  <a:lnTo>
                    <a:pt x="131" y="1"/>
                  </a:lnTo>
                  <a:lnTo>
                    <a:pt x="136" y="1"/>
                  </a:lnTo>
                  <a:lnTo>
                    <a:pt x="139" y="2"/>
                  </a:lnTo>
                  <a:lnTo>
                    <a:pt x="141" y="4"/>
                  </a:lnTo>
                  <a:lnTo>
                    <a:pt x="141" y="6"/>
                  </a:lnTo>
                  <a:lnTo>
                    <a:pt x="139" y="7"/>
                  </a:lnTo>
                  <a:lnTo>
                    <a:pt x="138" y="7"/>
                  </a:lnTo>
                  <a:lnTo>
                    <a:pt x="137" y="8"/>
                  </a:lnTo>
                  <a:lnTo>
                    <a:pt x="137" y="10"/>
                  </a:lnTo>
                  <a:lnTo>
                    <a:pt x="137" y="12"/>
                  </a:lnTo>
                  <a:lnTo>
                    <a:pt x="137" y="13"/>
                  </a:lnTo>
                  <a:lnTo>
                    <a:pt x="134" y="15"/>
                  </a:lnTo>
                  <a:lnTo>
                    <a:pt x="128" y="15"/>
                  </a:lnTo>
                  <a:lnTo>
                    <a:pt x="123" y="15"/>
                  </a:lnTo>
                  <a:lnTo>
                    <a:pt x="122" y="16"/>
                  </a:lnTo>
                  <a:lnTo>
                    <a:pt x="123" y="17"/>
                  </a:lnTo>
                  <a:lnTo>
                    <a:pt x="121" y="16"/>
                  </a:lnTo>
                  <a:lnTo>
                    <a:pt x="118" y="16"/>
                  </a:lnTo>
                  <a:lnTo>
                    <a:pt x="113" y="17"/>
                  </a:lnTo>
                  <a:lnTo>
                    <a:pt x="109" y="15"/>
                  </a:lnTo>
                  <a:lnTo>
                    <a:pt x="105" y="13"/>
                  </a:lnTo>
                  <a:lnTo>
                    <a:pt x="101" y="13"/>
                  </a:lnTo>
                  <a:lnTo>
                    <a:pt x="99" y="12"/>
                  </a:lnTo>
                  <a:lnTo>
                    <a:pt x="95" y="11"/>
                  </a:lnTo>
                  <a:lnTo>
                    <a:pt x="93" y="11"/>
                  </a:lnTo>
                  <a:lnTo>
                    <a:pt x="84" y="11"/>
                  </a:lnTo>
                  <a:lnTo>
                    <a:pt x="77" y="11"/>
                  </a:lnTo>
                  <a:lnTo>
                    <a:pt x="74" y="11"/>
                  </a:lnTo>
                  <a:lnTo>
                    <a:pt x="69" y="11"/>
                  </a:lnTo>
                  <a:lnTo>
                    <a:pt x="58" y="11"/>
                  </a:lnTo>
                  <a:lnTo>
                    <a:pt x="52" y="10"/>
                  </a:lnTo>
                  <a:lnTo>
                    <a:pt x="48" y="10"/>
                  </a:lnTo>
                  <a:lnTo>
                    <a:pt x="45" y="7"/>
                  </a:lnTo>
                  <a:lnTo>
                    <a:pt x="45" y="5"/>
                  </a:lnTo>
                  <a:lnTo>
                    <a:pt x="43" y="6"/>
                  </a:lnTo>
                  <a:lnTo>
                    <a:pt x="42" y="6"/>
                  </a:lnTo>
                  <a:lnTo>
                    <a:pt x="42" y="7"/>
                  </a:lnTo>
                  <a:lnTo>
                    <a:pt x="43" y="8"/>
                  </a:lnTo>
                  <a:lnTo>
                    <a:pt x="42" y="11"/>
                  </a:lnTo>
                  <a:lnTo>
                    <a:pt x="38" y="12"/>
                  </a:lnTo>
                  <a:lnTo>
                    <a:pt x="36" y="13"/>
                  </a:lnTo>
                  <a:lnTo>
                    <a:pt x="35" y="12"/>
                  </a:lnTo>
                  <a:lnTo>
                    <a:pt x="34" y="15"/>
                  </a:lnTo>
                  <a:lnTo>
                    <a:pt x="31" y="16"/>
                  </a:lnTo>
                  <a:lnTo>
                    <a:pt x="31" y="17"/>
                  </a:lnTo>
                  <a:lnTo>
                    <a:pt x="30" y="18"/>
                  </a:lnTo>
                  <a:lnTo>
                    <a:pt x="30" y="22"/>
                  </a:lnTo>
                  <a:lnTo>
                    <a:pt x="27" y="26"/>
                  </a:lnTo>
                  <a:lnTo>
                    <a:pt x="24" y="26"/>
                  </a:lnTo>
                  <a:lnTo>
                    <a:pt x="20" y="27"/>
                  </a:lnTo>
                  <a:lnTo>
                    <a:pt x="20" y="28"/>
                  </a:lnTo>
                  <a:lnTo>
                    <a:pt x="20" y="29"/>
                  </a:lnTo>
                  <a:lnTo>
                    <a:pt x="20" y="32"/>
                  </a:lnTo>
                  <a:lnTo>
                    <a:pt x="21" y="34"/>
                  </a:lnTo>
                  <a:lnTo>
                    <a:pt x="21" y="39"/>
                  </a:lnTo>
                  <a:lnTo>
                    <a:pt x="19" y="42"/>
                  </a:lnTo>
                  <a:lnTo>
                    <a:pt x="20" y="47"/>
                  </a:lnTo>
                  <a:lnTo>
                    <a:pt x="22" y="50"/>
                  </a:lnTo>
                  <a:lnTo>
                    <a:pt x="25" y="55"/>
                  </a:lnTo>
                  <a:lnTo>
                    <a:pt x="25" y="59"/>
                  </a:lnTo>
                  <a:lnTo>
                    <a:pt x="22" y="60"/>
                  </a:lnTo>
                  <a:lnTo>
                    <a:pt x="22" y="59"/>
                  </a:lnTo>
                  <a:lnTo>
                    <a:pt x="21" y="55"/>
                  </a:lnTo>
                  <a:lnTo>
                    <a:pt x="19" y="53"/>
                  </a:lnTo>
                  <a:lnTo>
                    <a:pt x="16" y="50"/>
                  </a:lnTo>
                  <a:lnTo>
                    <a:pt x="11" y="48"/>
                  </a:lnTo>
                  <a:lnTo>
                    <a:pt x="9" y="45"/>
                  </a:lnTo>
                  <a:lnTo>
                    <a:pt x="5" y="44"/>
                  </a:lnTo>
                  <a:lnTo>
                    <a:pt x="3" y="42"/>
                  </a:lnTo>
                  <a:lnTo>
                    <a:pt x="0" y="39"/>
                  </a:lnTo>
                  <a:lnTo>
                    <a:pt x="0" y="38"/>
                  </a:lnTo>
                  <a:lnTo>
                    <a:pt x="0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3" y="32"/>
                  </a:lnTo>
                  <a:lnTo>
                    <a:pt x="4" y="29"/>
                  </a:lnTo>
                  <a:lnTo>
                    <a:pt x="4" y="27"/>
                  </a:lnTo>
                  <a:lnTo>
                    <a:pt x="3" y="24"/>
                  </a:lnTo>
                  <a:lnTo>
                    <a:pt x="2" y="23"/>
                  </a:lnTo>
                  <a:lnTo>
                    <a:pt x="2" y="22"/>
                  </a:lnTo>
                  <a:lnTo>
                    <a:pt x="4" y="21"/>
                  </a:lnTo>
                  <a:lnTo>
                    <a:pt x="6" y="20"/>
                  </a:lnTo>
                  <a:lnTo>
                    <a:pt x="10" y="20"/>
                  </a:lnTo>
                  <a:lnTo>
                    <a:pt x="8" y="18"/>
                  </a:lnTo>
                  <a:lnTo>
                    <a:pt x="8" y="17"/>
                  </a:lnTo>
                  <a:lnTo>
                    <a:pt x="10" y="13"/>
                  </a:lnTo>
                  <a:lnTo>
                    <a:pt x="14" y="10"/>
                  </a:lnTo>
                  <a:lnTo>
                    <a:pt x="18" y="8"/>
                  </a:lnTo>
                  <a:lnTo>
                    <a:pt x="19" y="7"/>
                  </a:lnTo>
                  <a:lnTo>
                    <a:pt x="19" y="5"/>
                  </a:lnTo>
                  <a:lnTo>
                    <a:pt x="19" y="4"/>
                  </a:lnTo>
                  <a:lnTo>
                    <a:pt x="20" y="1"/>
                  </a:lnTo>
                  <a:lnTo>
                    <a:pt x="22" y="1"/>
                  </a:lnTo>
                  <a:lnTo>
                    <a:pt x="24" y="1"/>
                  </a:lnTo>
                  <a:lnTo>
                    <a:pt x="26" y="1"/>
                  </a:lnTo>
                  <a:lnTo>
                    <a:pt x="29" y="0"/>
                  </a:lnTo>
                  <a:lnTo>
                    <a:pt x="29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30" name="Freeform 1949">
              <a:extLst>
                <a:ext uri="{FF2B5EF4-FFF2-40B4-BE49-F238E27FC236}">
                  <a16:creationId xmlns:a16="http://schemas.microsoft.com/office/drawing/2014/main" id="{E6F4B0F8-893F-4033-AC56-7B1A0AE28D3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3511" y="3027352"/>
              <a:ext cx="512220" cy="292998"/>
            </a:xfrm>
            <a:custGeom>
              <a:avLst/>
              <a:gdLst>
                <a:gd name="T0" fmla="*/ 62 w 487"/>
                <a:gd name="T1" fmla="*/ 10 h 277"/>
                <a:gd name="T2" fmla="*/ 64 w 487"/>
                <a:gd name="T3" fmla="*/ 36 h 277"/>
                <a:gd name="T4" fmla="*/ 85 w 487"/>
                <a:gd name="T5" fmla="*/ 42 h 277"/>
                <a:gd name="T6" fmla="*/ 93 w 487"/>
                <a:gd name="T7" fmla="*/ 53 h 277"/>
                <a:gd name="T8" fmla="*/ 111 w 487"/>
                <a:gd name="T9" fmla="*/ 48 h 277"/>
                <a:gd name="T10" fmla="*/ 128 w 487"/>
                <a:gd name="T11" fmla="*/ 31 h 277"/>
                <a:gd name="T12" fmla="*/ 170 w 487"/>
                <a:gd name="T13" fmla="*/ 67 h 277"/>
                <a:gd name="T14" fmla="*/ 223 w 487"/>
                <a:gd name="T15" fmla="*/ 67 h 277"/>
                <a:gd name="T16" fmla="*/ 253 w 487"/>
                <a:gd name="T17" fmla="*/ 67 h 277"/>
                <a:gd name="T18" fmla="*/ 277 w 487"/>
                <a:gd name="T19" fmla="*/ 85 h 277"/>
                <a:gd name="T20" fmla="*/ 291 w 487"/>
                <a:gd name="T21" fmla="*/ 116 h 277"/>
                <a:gd name="T22" fmla="*/ 310 w 487"/>
                <a:gd name="T23" fmla="*/ 139 h 277"/>
                <a:gd name="T24" fmla="*/ 347 w 487"/>
                <a:gd name="T25" fmla="*/ 144 h 277"/>
                <a:gd name="T26" fmla="*/ 358 w 487"/>
                <a:gd name="T27" fmla="*/ 160 h 277"/>
                <a:gd name="T28" fmla="*/ 367 w 487"/>
                <a:gd name="T29" fmla="*/ 152 h 277"/>
                <a:gd name="T30" fmla="*/ 374 w 487"/>
                <a:gd name="T31" fmla="*/ 138 h 277"/>
                <a:gd name="T32" fmla="*/ 396 w 487"/>
                <a:gd name="T33" fmla="*/ 123 h 277"/>
                <a:gd name="T34" fmla="*/ 409 w 487"/>
                <a:gd name="T35" fmla="*/ 114 h 277"/>
                <a:gd name="T36" fmla="*/ 426 w 487"/>
                <a:gd name="T37" fmla="*/ 110 h 277"/>
                <a:gd name="T38" fmla="*/ 408 w 487"/>
                <a:gd name="T39" fmla="*/ 133 h 277"/>
                <a:gd name="T40" fmla="*/ 421 w 487"/>
                <a:gd name="T41" fmla="*/ 141 h 277"/>
                <a:gd name="T42" fmla="*/ 438 w 487"/>
                <a:gd name="T43" fmla="*/ 141 h 277"/>
                <a:gd name="T44" fmla="*/ 448 w 487"/>
                <a:gd name="T45" fmla="*/ 138 h 277"/>
                <a:gd name="T46" fmla="*/ 465 w 487"/>
                <a:gd name="T47" fmla="*/ 148 h 277"/>
                <a:gd name="T48" fmla="*/ 487 w 487"/>
                <a:gd name="T49" fmla="*/ 157 h 277"/>
                <a:gd name="T50" fmla="*/ 475 w 487"/>
                <a:gd name="T51" fmla="*/ 164 h 277"/>
                <a:gd name="T52" fmla="*/ 464 w 487"/>
                <a:gd name="T53" fmla="*/ 170 h 277"/>
                <a:gd name="T54" fmla="*/ 455 w 487"/>
                <a:gd name="T55" fmla="*/ 176 h 277"/>
                <a:gd name="T56" fmla="*/ 449 w 487"/>
                <a:gd name="T57" fmla="*/ 175 h 277"/>
                <a:gd name="T58" fmla="*/ 430 w 487"/>
                <a:gd name="T59" fmla="*/ 175 h 277"/>
                <a:gd name="T60" fmla="*/ 420 w 487"/>
                <a:gd name="T61" fmla="*/ 165 h 277"/>
                <a:gd name="T62" fmla="*/ 415 w 487"/>
                <a:gd name="T63" fmla="*/ 148 h 277"/>
                <a:gd name="T64" fmla="*/ 394 w 487"/>
                <a:gd name="T65" fmla="*/ 158 h 277"/>
                <a:gd name="T66" fmla="*/ 389 w 487"/>
                <a:gd name="T67" fmla="*/ 170 h 277"/>
                <a:gd name="T68" fmla="*/ 377 w 487"/>
                <a:gd name="T69" fmla="*/ 175 h 277"/>
                <a:gd name="T70" fmla="*/ 378 w 487"/>
                <a:gd name="T71" fmla="*/ 180 h 277"/>
                <a:gd name="T72" fmla="*/ 376 w 487"/>
                <a:gd name="T73" fmla="*/ 187 h 277"/>
                <a:gd name="T74" fmla="*/ 362 w 487"/>
                <a:gd name="T75" fmla="*/ 196 h 277"/>
                <a:gd name="T76" fmla="*/ 346 w 487"/>
                <a:gd name="T77" fmla="*/ 203 h 277"/>
                <a:gd name="T78" fmla="*/ 356 w 487"/>
                <a:gd name="T79" fmla="*/ 213 h 277"/>
                <a:gd name="T80" fmla="*/ 371 w 487"/>
                <a:gd name="T81" fmla="*/ 223 h 277"/>
                <a:gd name="T82" fmla="*/ 379 w 487"/>
                <a:gd name="T83" fmla="*/ 249 h 277"/>
                <a:gd name="T84" fmla="*/ 371 w 487"/>
                <a:gd name="T85" fmla="*/ 275 h 277"/>
                <a:gd name="T86" fmla="*/ 355 w 487"/>
                <a:gd name="T87" fmla="*/ 272 h 277"/>
                <a:gd name="T88" fmla="*/ 335 w 487"/>
                <a:gd name="T89" fmla="*/ 259 h 277"/>
                <a:gd name="T90" fmla="*/ 323 w 487"/>
                <a:gd name="T91" fmla="*/ 243 h 277"/>
                <a:gd name="T92" fmla="*/ 288 w 487"/>
                <a:gd name="T93" fmla="*/ 229 h 277"/>
                <a:gd name="T94" fmla="*/ 258 w 487"/>
                <a:gd name="T95" fmla="*/ 213 h 277"/>
                <a:gd name="T96" fmla="*/ 206 w 487"/>
                <a:gd name="T97" fmla="*/ 179 h 277"/>
                <a:gd name="T98" fmla="*/ 178 w 487"/>
                <a:gd name="T99" fmla="*/ 142 h 277"/>
                <a:gd name="T100" fmla="*/ 169 w 487"/>
                <a:gd name="T101" fmla="*/ 143 h 277"/>
                <a:gd name="T102" fmla="*/ 137 w 487"/>
                <a:gd name="T103" fmla="*/ 138 h 277"/>
                <a:gd name="T104" fmla="*/ 132 w 487"/>
                <a:gd name="T105" fmla="*/ 125 h 277"/>
                <a:gd name="T106" fmla="*/ 127 w 487"/>
                <a:gd name="T107" fmla="*/ 115 h 277"/>
                <a:gd name="T108" fmla="*/ 107 w 487"/>
                <a:gd name="T109" fmla="*/ 106 h 277"/>
                <a:gd name="T110" fmla="*/ 93 w 487"/>
                <a:gd name="T111" fmla="*/ 96 h 277"/>
                <a:gd name="T112" fmla="*/ 77 w 487"/>
                <a:gd name="T113" fmla="*/ 96 h 277"/>
                <a:gd name="T114" fmla="*/ 87 w 487"/>
                <a:gd name="T115" fmla="*/ 107 h 277"/>
                <a:gd name="T116" fmla="*/ 71 w 487"/>
                <a:gd name="T117" fmla="*/ 104 h 277"/>
                <a:gd name="T118" fmla="*/ 56 w 487"/>
                <a:gd name="T119" fmla="*/ 114 h 277"/>
                <a:gd name="T120" fmla="*/ 56 w 487"/>
                <a:gd name="T121" fmla="*/ 138 h 277"/>
                <a:gd name="T122" fmla="*/ 32 w 487"/>
                <a:gd name="T123" fmla="*/ 139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87" h="277">
                  <a:moveTo>
                    <a:pt x="0" y="19"/>
                  </a:moveTo>
                  <a:lnTo>
                    <a:pt x="63" y="0"/>
                  </a:lnTo>
                  <a:lnTo>
                    <a:pt x="64" y="2"/>
                  </a:lnTo>
                  <a:lnTo>
                    <a:pt x="64" y="3"/>
                  </a:lnTo>
                  <a:lnTo>
                    <a:pt x="63" y="7"/>
                  </a:lnTo>
                  <a:lnTo>
                    <a:pt x="62" y="10"/>
                  </a:lnTo>
                  <a:lnTo>
                    <a:pt x="61" y="20"/>
                  </a:lnTo>
                  <a:lnTo>
                    <a:pt x="61" y="25"/>
                  </a:lnTo>
                  <a:lnTo>
                    <a:pt x="63" y="30"/>
                  </a:lnTo>
                  <a:lnTo>
                    <a:pt x="63" y="31"/>
                  </a:lnTo>
                  <a:lnTo>
                    <a:pt x="64" y="34"/>
                  </a:lnTo>
                  <a:lnTo>
                    <a:pt x="64" y="36"/>
                  </a:lnTo>
                  <a:lnTo>
                    <a:pt x="66" y="39"/>
                  </a:lnTo>
                  <a:lnTo>
                    <a:pt x="68" y="41"/>
                  </a:lnTo>
                  <a:lnTo>
                    <a:pt x="71" y="41"/>
                  </a:lnTo>
                  <a:lnTo>
                    <a:pt x="84" y="41"/>
                  </a:lnTo>
                  <a:lnTo>
                    <a:pt x="85" y="41"/>
                  </a:lnTo>
                  <a:lnTo>
                    <a:pt x="85" y="42"/>
                  </a:lnTo>
                  <a:lnTo>
                    <a:pt x="87" y="46"/>
                  </a:lnTo>
                  <a:lnTo>
                    <a:pt x="88" y="46"/>
                  </a:lnTo>
                  <a:lnTo>
                    <a:pt x="89" y="48"/>
                  </a:lnTo>
                  <a:lnTo>
                    <a:pt x="91" y="50"/>
                  </a:lnTo>
                  <a:lnTo>
                    <a:pt x="91" y="52"/>
                  </a:lnTo>
                  <a:lnTo>
                    <a:pt x="93" y="53"/>
                  </a:lnTo>
                  <a:lnTo>
                    <a:pt x="93" y="52"/>
                  </a:lnTo>
                  <a:lnTo>
                    <a:pt x="94" y="50"/>
                  </a:lnTo>
                  <a:lnTo>
                    <a:pt x="95" y="48"/>
                  </a:lnTo>
                  <a:lnTo>
                    <a:pt x="98" y="48"/>
                  </a:lnTo>
                  <a:lnTo>
                    <a:pt x="105" y="48"/>
                  </a:lnTo>
                  <a:lnTo>
                    <a:pt x="111" y="48"/>
                  </a:lnTo>
                  <a:lnTo>
                    <a:pt x="114" y="48"/>
                  </a:lnTo>
                  <a:lnTo>
                    <a:pt x="115" y="50"/>
                  </a:lnTo>
                  <a:lnTo>
                    <a:pt x="122" y="41"/>
                  </a:lnTo>
                  <a:lnTo>
                    <a:pt x="123" y="36"/>
                  </a:lnTo>
                  <a:lnTo>
                    <a:pt x="125" y="30"/>
                  </a:lnTo>
                  <a:lnTo>
                    <a:pt x="128" y="31"/>
                  </a:lnTo>
                  <a:lnTo>
                    <a:pt x="131" y="34"/>
                  </a:lnTo>
                  <a:lnTo>
                    <a:pt x="138" y="40"/>
                  </a:lnTo>
                  <a:lnTo>
                    <a:pt x="148" y="48"/>
                  </a:lnTo>
                  <a:lnTo>
                    <a:pt x="158" y="58"/>
                  </a:lnTo>
                  <a:lnTo>
                    <a:pt x="163" y="63"/>
                  </a:lnTo>
                  <a:lnTo>
                    <a:pt x="170" y="67"/>
                  </a:lnTo>
                  <a:lnTo>
                    <a:pt x="175" y="68"/>
                  </a:lnTo>
                  <a:lnTo>
                    <a:pt x="180" y="67"/>
                  </a:lnTo>
                  <a:lnTo>
                    <a:pt x="190" y="64"/>
                  </a:lnTo>
                  <a:lnTo>
                    <a:pt x="201" y="64"/>
                  </a:lnTo>
                  <a:lnTo>
                    <a:pt x="212" y="66"/>
                  </a:lnTo>
                  <a:lnTo>
                    <a:pt x="223" y="67"/>
                  </a:lnTo>
                  <a:lnTo>
                    <a:pt x="234" y="66"/>
                  </a:lnTo>
                  <a:lnTo>
                    <a:pt x="238" y="64"/>
                  </a:lnTo>
                  <a:lnTo>
                    <a:pt x="240" y="62"/>
                  </a:lnTo>
                  <a:lnTo>
                    <a:pt x="243" y="61"/>
                  </a:lnTo>
                  <a:lnTo>
                    <a:pt x="246" y="61"/>
                  </a:lnTo>
                  <a:lnTo>
                    <a:pt x="253" y="67"/>
                  </a:lnTo>
                  <a:lnTo>
                    <a:pt x="260" y="72"/>
                  </a:lnTo>
                  <a:lnTo>
                    <a:pt x="264" y="74"/>
                  </a:lnTo>
                  <a:lnTo>
                    <a:pt x="266" y="77"/>
                  </a:lnTo>
                  <a:lnTo>
                    <a:pt x="271" y="83"/>
                  </a:lnTo>
                  <a:lnTo>
                    <a:pt x="273" y="85"/>
                  </a:lnTo>
                  <a:lnTo>
                    <a:pt x="277" y="85"/>
                  </a:lnTo>
                  <a:lnTo>
                    <a:pt x="280" y="85"/>
                  </a:lnTo>
                  <a:lnTo>
                    <a:pt x="282" y="85"/>
                  </a:lnTo>
                  <a:lnTo>
                    <a:pt x="283" y="93"/>
                  </a:lnTo>
                  <a:lnTo>
                    <a:pt x="285" y="101"/>
                  </a:lnTo>
                  <a:lnTo>
                    <a:pt x="286" y="110"/>
                  </a:lnTo>
                  <a:lnTo>
                    <a:pt x="291" y="116"/>
                  </a:lnTo>
                  <a:lnTo>
                    <a:pt x="293" y="117"/>
                  </a:lnTo>
                  <a:lnTo>
                    <a:pt x="297" y="117"/>
                  </a:lnTo>
                  <a:lnTo>
                    <a:pt x="299" y="117"/>
                  </a:lnTo>
                  <a:lnTo>
                    <a:pt x="302" y="120"/>
                  </a:lnTo>
                  <a:lnTo>
                    <a:pt x="307" y="130"/>
                  </a:lnTo>
                  <a:lnTo>
                    <a:pt x="310" y="139"/>
                  </a:lnTo>
                  <a:lnTo>
                    <a:pt x="313" y="143"/>
                  </a:lnTo>
                  <a:lnTo>
                    <a:pt x="317" y="144"/>
                  </a:lnTo>
                  <a:lnTo>
                    <a:pt x="325" y="146"/>
                  </a:lnTo>
                  <a:lnTo>
                    <a:pt x="335" y="144"/>
                  </a:lnTo>
                  <a:lnTo>
                    <a:pt x="344" y="143"/>
                  </a:lnTo>
                  <a:lnTo>
                    <a:pt x="347" y="144"/>
                  </a:lnTo>
                  <a:lnTo>
                    <a:pt x="351" y="147"/>
                  </a:lnTo>
                  <a:lnTo>
                    <a:pt x="352" y="149"/>
                  </a:lnTo>
                  <a:lnTo>
                    <a:pt x="352" y="153"/>
                  </a:lnTo>
                  <a:lnTo>
                    <a:pt x="353" y="157"/>
                  </a:lnTo>
                  <a:lnTo>
                    <a:pt x="355" y="158"/>
                  </a:lnTo>
                  <a:lnTo>
                    <a:pt x="358" y="160"/>
                  </a:lnTo>
                  <a:lnTo>
                    <a:pt x="364" y="161"/>
                  </a:lnTo>
                  <a:lnTo>
                    <a:pt x="369" y="163"/>
                  </a:lnTo>
                  <a:lnTo>
                    <a:pt x="368" y="160"/>
                  </a:lnTo>
                  <a:lnTo>
                    <a:pt x="367" y="157"/>
                  </a:lnTo>
                  <a:lnTo>
                    <a:pt x="366" y="154"/>
                  </a:lnTo>
                  <a:lnTo>
                    <a:pt x="367" y="152"/>
                  </a:lnTo>
                  <a:lnTo>
                    <a:pt x="369" y="147"/>
                  </a:lnTo>
                  <a:lnTo>
                    <a:pt x="371" y="146"/>
                  </a:lnTo>
                  <a:lnTo>
                    <a:pt x="373" y="143"/>
                  </a:lnTo>
                  <a:lnTo>
                    <a:pt x="376" y="142"/>
                  </a:lnTo>
                  <a:lnTo>
                    <a:pt x="376" y="141"/>
                  </a:lnTo>
                  <a:lnTo>
                    <a:pt x="374" y="138"/>
                  </a:lnTo>
                  <a:lnTo>
                    <a:pt x="376" y="136"/>
                  </a:lnTo>
                  <a:lnTo>
                    <a:pt x="378" y="134"/>
                  </a:lnTo>
                  <a:lnTo>
                    <a:pt x="382" y="132"/>
                  </a:lnTo>
                  <a:lnTo>
                    <a:pt x="388" y="128"/>
                  </a:lnTo>
                  <a:lnTo>
                    <a:pt x="394" y="125"/>
                  </a:lnTo>
                  <a:lnTo>
                    <a:pt x="396" y="123"/>
                  </a:lnTo>
                  <a:lnTo>
                    <a:pt x="399" y="121"/>
                  </a:lnTo>
                  <a:lnTo>
                    <a:pt x="401" y="117"/>
                  </a:lnTo>
                  <a:lnTo>
                    <a:pt x="403" y="115"/>
                  </a:lnTo>
                  <a:lnTo>
                    <a:pt x="405" y="114"/>
                  </a:lnTo>
                  <a:lnTo>
                    <a:pt x="408" y="114"/>
                  </a:lnTo>
                  <a:lnTo>
                    <a:pt x="409" y="114"/>
                  </a:lnTo>
                  <a:lnTo>
                    <a:pt x="410" y="114"/>
                  </a:lnTo>
                  <a:lnTo>
                    <a:pt x="412" y="112"/>
                  </a:lnTo>
                  <a:lnTo>
                    <a:pt x="416" y="110"/>
                  </a:lnTo>
                  <a:lnTo>
                    <a:pt x="419" y="109"/>
                  </a:lnTo>
                  <a:lnTo>
                    <a:pt x="422" y="109"/>
                  </a:lnTo>
                  <a:lnTo>
                    <a:pt x="426" y="110"/>
                  </a:lnTo>
                  <a:lnTo>
                    <a:pt x="420" y="115"/>
                  </a:lnTo>
                  <a:lnTo>
                    <a:pt x="412" y="120"/>
                  </a:lnTo>
                  <a:lnTo>
                    <a:pt x="406" y="126"/>
                  </a:lnTo>
                  <a:lnTo>
                    <a:pt x="404" y="130"/>
                  </a:lnTo>
                  <a:lnTo>
                    <a:pt x="403" y="132"/>
                  </a:lnTo>
                  <a:lnTo>
                    <a:pt x="408" y="133"/>
                  </a:lnTo>
                  <a:lnTo>
                    <a:pt x="411" y="136"/>
                  </a:lnTo>
                  <a:lnTo>
                    <a:pt x="414" y="136"/>
                  </a:lnTo>
                  <a:lnTo>
                    <a:pt x="416" y="134"/>
                  </a:lnTo>
                  <a:lnTo>
                    <a:pt x="419" y="134"/>
                  </a:lnTo>
                  <a:lnTo>
                    <a:pt x="420" y="137"/>
                  </a:lnTo>
                  <a:lnTo>
                    <a:pt x="421" y="141"/>
                  </a:lnTo>
                  <a:lnTo>
                    <a:pt x="424" y="142"/>
                  </a:lnTo>
                  <a:lnTo>
                    <a:pt x="428" y="143"/>
                  </a:lnTo>
                  <a:lnTo>
                    <a:pt x="433" y="143"/>
                  </a:lnTo>
                  <a:lnTo>
                    <a:pt x="438" y="146"/>
                  </a:lnTo>
                  <a:lnTo>
                    <a:pt x="440" y="143"/>
                  </a:lnTo>
                  <a:lnTo>
                    <a:pt x="438" y="141"/>
                  </a:lnTo>
                  <a:lnTo>
                    <a:pt x="442" y="138"/>
                  </a:lnTo>
                  <a:lnTo>
                    <a:pt x="442" y="134"/>
                  </a:lnTo>
                  <a:lnTo>
                    <a:pt x="442" y="131"/>
                  </a:lnTo>
                  <a:lnTo>
                    <a:pt x="443" y="134"/>
                  </a:lnTo>
                  <a:lnTo>
                    <a:pt x="446" y="136"/>
                  </a:lnTo>
                  <a:lnTo>
                    <a:pt x="448" y="138"/>
                  </a:lnTo>
                  <a:lnTo>
                    <a:pt x="452" y="141"/>
                  </a:lnTo>
                  <a:lnTo>
                    <a:pt x="454" y="143"/>
                  </a:lnTo>
                  <a:lnTo>
                    <a:pt x="458" y="144"/>
                  </a:lnTo>
                  <a:lnTo>
                    <a:pt x="460" y="146"/>
                  </a:lnTo>
                  <a:lnTo>
                    <a:pt x="462" y="149"/>
                  </a:lnTo>
                  <a:lnTo>
                    <a:pt x="465" y="148"/>
                  </a:lnTo>
                  <a:lnTo>
                    <a:pt x="469" y="149"/>
                  </a:lnTo>
                  <a:lnTo>
                    <a:pt x="473" y="152"/>
                  </a:lnTo>
                  <a:lnTo>
                    <a:pt x="476" y="153"/>
                  </a:lnTo>
                  <a:lnTo>
                    <a:pt x="481" y="153"/>
                  </a:lnTo>
                  <a:lnTo>
                    <a:pt x="486" y="154"/>
                  </a:lnTo>
                  <a:lnTo>
                    <a:pt x="487" y="157"/>
                  </a:lnTo>
                  <a:lnTo>
                    <a:pt x="485" y="158"/>
                  </a:lnTo>
                  <a:lnTo>
                    <a:pt x="484" y="159"/>
                  </a:lnTo>
                  <a:lnTo>
                    <a:pt x="481" y="159"/>
                  </a:lnTo>
                  <a:lnTo>
                    <a:pt x="480" y="163"/>
                  </a:lnTo>
                  <a:lnTo>
                    <a:pt x="478" y="164"/>
                  </a:lnTo>
                  <a:lnTo>
                    <a:pt x="475" y="164"/>
                  </a:lnTo>
                  <a:lnTo>
                    <a:pt x="470" y="163"/>
                  </a:lnTo>
                  <a:lnTo>
                    <a:pt x="471" y="165"/>
                  </a:lnTo>
                  <a:lnTo>
                    <a:pt x="473" y="169"/>
                  </a:lnTo>
                  <a:lnTo>
                    <a:pt x="471" y="169"/>
                  </a:lnTo>
                  <a:lnTo>
                    <a:pt x="469" y="169"/>
                  </a:lnTo>
                  <a:lnTo>
                    <a:pt x="464" y="170"/>
                  </a:lnTo>
                  <a:lnTo>
                    <a:pt x="462" y="170"/>
                  </a:lnTo>
                  <a:lnTo>
                    <a:pt x="462" y="171"/>
                  </a:lnTo>
                  <a:lnTo>
                    <a:pt x="462" y="173"/>
                  </a:lnTo>
                  <a:lnTo>
                    <a:pt x="463" y="174"/>
                  </a:lnTo>
                  <a:lnTo>
                    <a:pt x="459" y="175"/>
                  </a:lnTo>
                  <a:lnTo>
                    <a:pt x="455" y="176"/>
                  </a:lnTo>
                  <a:lnTo>
                    <a:pt x="455" y="175"/>
                  </a:lnTo>
                  <a:lnTo>
                    <a:pt x="454" y="175"/>
                  </a:lnTo>
                  <a:lnTo>
                    <a:pt x="454" y="174"/>
                  </a:lnTo>
                  <a:lnTo>
                    <a:pt x="452" y="175"/>
                  </a:lnTo>
                  <a:lnTo>
                    <a:pt x="451" y="175"/>
                  </a:lnTo>
                  <a:lnTo>
                    <a:pt x="449" y="175"/>
                  </a:lnTo>
                  <a:lnTo>
                    <a:pt x="446" y="173"/>
                  </a:lnTo>
                  <a:lnTo>
                    <a:pt x="443" y="171"/>
                  </a:lnTo>
                  <a:lnTo>
                    <a:pt x="441" y="173"/>
                  </a:lnTo>
                  <a:lnTo>
                    <a:pt x="435" y="174"/>
                  </a:lnTo>
                  <a:lnTo>
                    <a:pt x="432" y="175"/>
                  </a:lnTo>
                  <a:lnTo>
                    <a:pt x="430" y="175"/>
                  </a:lnTo>
                  <a:lnTo>
                    <a:pt x="426" y="175"/>
                  </a:lnTo>
                  <a:lnTo>
                    <a:pt x="424" y="174"/>
                  </a:lnTo>
                  <a:lnTo>
                    <a:pt x="421" y="171"/>
                  </a:lnTo>
                  <a:lnTo>
                    <a:pt x="417" y="169"/>
                  </a:lnTo>
                  <a:lnTo>
                    <a:pt x="417" y="168"/>
                  </a:lnTo>
                  <a:lnTo>
                    <a:pt x="420" y="165"/>
                  </a:lnTo>
                  <a:lnTo>
                    <a:pt x="422" y="163"/>
                  </a:lnTo>
                  <a:lnTo>
                    <a:pt x="424" y="161"/>
                  </a:lnTo>
                  <a:lnTo>
                    <a:pt x="425" y="159"/>
                  </a:lnTo>
                  <a:lnTo>
                    <a:pt x="422" y="157"/>
                  </a:lnTo>
                  <a:lnTo>
                    <a:pt x="419" y="153"/>
                  </a:lnTo>
                  <a:lnTo>
                    <a:pt x="415" y="148"/>
                  </a:lnTo>
                  <a:lnTo>
                    <a:pt x="411" y="152"/>
                  </a:lnTo>
                  <a:lnTo>
                    <a:pt x="406" y="157"/>
                  </a:lnTo>
                  <a:lnTo>
                    <a:pt x="401" y="159"/>
                  </a:lnTo>
                  <a:lnTo>
                    <a:pt x="399" y="160"/>
                  </a:lnTo>
                  <a:lnTo>
                    <a:pt x="396" y="159"/>
                  </a:lnTo>
                  <a:lnTo>
                    <a:pt x="394" y="158"/>
                  </a:lnTo>
                  <a:lnTo>
                    <a:pt x="390" y="157"/>
                  </a:lnTo>
                  <a:lnTo>
                    <a:pt x="388" y="157"/>
                  </a:lnTo>
                  <a:lnTo>
                    <a:pt x="387" y="160"/>
                  </a:lnTo>
                  <a:lnTo>
                    <a:pt x="387" y="164"/>
                  </a:lnTo>
                  <a:lnTo>
                    <a:pt x="389" y="168"/>
                  </a:lnTo>
                  <a:lnTo>
                    <a:pt x="389" y="170"/>
                  </a:lnTo>
                  <a:lnTo>
                    <a:pt x="389" y="173"/>
                  </a:lnTo>
                  <a:lnTo>
                    <a:pt x="390" y="174"/>
                  </a:lnTo>
                  <a:lnTo>
                    <a:pt x="390" y="175"/>
                  </a:lnTo>
                  <a:lnTo>
                    <a:pt x="387" y="176"/>
                  </a:lnTo>
                  <a:lnTo>
                    <a:pt x="382" y="175"/>
                  </a:lnTo>
                  <a:lnTo>
                    <a:pt x="377" y="175"/>
                  </a:lnTo>
                  <a:lnTo>
                    <a:pt x="372" y="177"/>
                  </a:lnTo>
                  <a:lnTo>
                    <a:pt x="374" y="177"/>
                  </a:lnTo>
                  <a:lnTo>
                    <a:pt x="377" y="177"/>
                  </a:lnTo>
                  <a:lnTo>
                    <a:pt x="380" y="177"/>
                  </a:lnTo>
                  <a:lnTo>
                    <a:pt x="382" y="180"/>
                  </a:lnTo>
                  <a:lnTo>
                    <a:pt x="378" y="180"/>
                  </a:lnTo>
                  <a:lnTo>
                    <a:pt x="379" y="182"/>
                  </a:lnTo>
                  <a:lnTo>
                    <a:pt x="379" y="184"/>
                  </a:lnTo>
                  <a:lnTo>
                    <a:pt x="379" y="184"/>
                  </a:lnTo>
                  <a:lnTo>
                    <a:pt x="379" y="185"/>
                  </a:lnTo>
                  <a:lnTo>
                    <a:pt x="377" y="186"/>
                  </a:lnTo>
                  <a:lnTo>
                    <a:pt x="376" y="187"/>
                  </a:lnTo>
                  <a:lnTo>
                    <a:pt x="376" y="189"/>
                  </a:lnTo>
                  <a:lnTo>
                    <a:pt x="376" y="193"/>
                  </a:lnTo>
                  <a:lnTo>
                    <a:pt x="374" y="196"/>
                  </a:lnTo>
                  <a:lnTo>
                    <a:pt x="372" y="197"/>
                  </a:lnTo>
                  <a:lnTo>
                    <a:pt x="367" y="197"/>
                  </a:lnTo>
                  <a:lnTo>
                    <a:pt x="362" y="196"/>
                  </a:lnTo>
                  <a:lnTo>
                    <a:pt x="356" y="195"/>
                  </a:lnTo>
                  <a:lnTo>
                    <a:pt x="352" y="195"/>
                  </a:lnTo>
                  <a:lnTo>
                    <a:pt x="350" y="196"/>
                  </a:lnTo>
                  <a:lnTo>
                    <a:pt x="347" y="197"/>
                  </a:lnTo>
                  <a:lnTo>
                    <a:pt x="346" y="201"/>
                  </a:lnTo>
                  <a:lnTo>
                    <a:pt x="346" y="203"/>
                  </a:lnTo>
                  <a:lnTo>
                    <a:pt x="345" y="206"/>
                  </a:lnTo>
                  <a:lnTo>
                    <a:pt x="347" y="207"/>
                  </a:lnTo>
                  <a:lnTo>
                    <a:pt x="349" y="208"/>
                  </a:lnTo>
                  <a:lnTo>
                    <a:pt x="352" y="209"/>
                  </a:lnTo>
                  <a:lnTo>
                    <a:pt x="355" y="212"/>
                  </a:lnTo>
                  <a:lnTo>
                    <a:pt x="356" y="213"/>
                  </a:lnTo>
                  <a:lnTo>
                    <a:pt x="357" y="214"/>
                  </a:lnTo>
                  <a:lnTo>
                    <a:pt x="360" y="214"/>
                  </a:lnTo>
                  <a:lnTo>
                    <a:pt x="363" y="216"/>
                  </a:lnTo>
                  <a:lnTo>
                    <a:pt x="368" y="216"/>
                  </a:lnTo>
                  <a:lnTo>
                    <a:pt x="369" y="218"/>
                  </a:lnTo>
                  <a:lnTo>
                    <a:pt x="371" y="223"/>
                  </a:lnTo>
                  <a:lnTo>
                    <a:pt x="372" y="228"/>
                  </a:lnTo>
                  <a:lnTo>
                    <a:pt x="372" y="233"/>
                  </a:lnTo>
                  <a:lnTo>
                    <a:pt x="376" y="236"/>
                  </a:lnTo>
                  <a:lnTo>
                    <a:pt x="379" y="241"/>
                  </a:lnTo>
                  <a:lnTo>
                    <a:pt x="380" y="245"/>
                  </a:lnTo>
                  <a:lnTo>
                    <a:pt x="379" y="249"/>
                  </a:lnTo>
                  <a:lnTo>
                    <a:pt x="376" y="256"/>
                  </a:lnTo>
                  <a:lnTo>
                    <a:pt x="373" y="260"/>
                  </a:lnTo>
                  <a:lnTo>
                    <a:pt x="372" y="265"/>
                  </a:lnTo>
                  <a:lnTo>
                    <a:pt x="372" y="271"/>
                  </a:lnTo>
                  <a:lnTo>
                    <a:pt x="374" y="277"/>
                  </a:lnTo>
                  <a:lnTo>
                    <a:pt x="371" y="275"/>
                  </a:lnTo>
                  <a:lnTo>
                    <a:pt x="369" y="273"/>
                  </a:lnTo>
                  <a:lnTo>
                    <a:pt x="366" y="273"/>
                  </a:lnTo>
                  <a:lnTo>
                    <a:pt x="362" y="273"/>
                  </a:lnTo>
                  <a:lnTo>
                    <a:pt x="358" y="273"/>
                  </a:lnTo>
                  <a:lnTo>
                    <a:pt x="357" y="273"/>
                  </a:lnTo>
                  <a:lnTo>
                    <a:pt x="355" y="272"/>
                  </a:lnTo>
                  <a:lnTo>
                    <a:pt x="349" y="268"/>
                  </a:lnTo>
                  <a:lnTo>
                    <a:pt x="344" y="268"/>
                  </a:lnTo>
                  <a:lnTo>
                    <a:pt x="339" y="268"/>
                  </a:lnTo>
                  <a:lnTo>
                    <a:pt x="336" y="266"/>
                  </a:lnTo>
                  <a:lnTo>
                    <a:pt x="335" y="264"/>
                  </a:lnTo>
                  <a:lnTo>
                    <a:pt x="335" y="259"/>
                  </a:lnTo>
                  <a:lnTo>
                    <a:pt x="335" y="255"/>
                  </a:lnTo>
                  <a:lnTo>
                    <a:pt x="335" y="252"/>
                  </a:lnTo>
                  <a:lnTo>
                    <a:pt x="335" y="249"/>
                  </a:lnTo>
                  <a:lnTo>
                    <a:pt x="333" y="246"/>
                  </a:lnTo>
                  <a:lnTo>
                    <a:pt x="328" y="245"/>
                  </a:lnTo>
                  <a:lnTo>
                    <a:pt x="323" y="243"/>
                  </a:lnTo>
                  <a:lnTo>
                    <a:pt x="319" y="241"/>
                  </a:lnTo>
                  <a:lnTo>
                    <a:pt x="314" y="240"/>
                  </a:lnTo>
                  <a:lnTo>
                    <a:pt x="305" y="239"/>
                  </a:lnTo>
                  <a:lnTo>
                    <a:pt x="302" y="238"/>
                  </a:lnTo>
                  <a:lnTo>
                    <a:pt x="297" y="235"/>
                  </a:lnTo>
                  <a:lnTo>
                    <a:pt x="288" y="229"/>
                  </a:lnTo>
                  <a:lnTo>
                    <a:pt x="281" y="224"/>
                  </a:lnTo>
                  <a:lnTo>
                    <a:pt x="272" y="221"/>
                  </a:lnTo>
                  <a:lnTo>
                    <a:pt x="269" y="218"/>
                  </a:lnTo>
                  <a:lnTo>
                    <a:pt x="265" y="217"/>
                  </a:lnTo>
                  <a:lnTo>
                    <a:pt x="261" y="216"/>
                  </a:lnTo>
                  <a:lnTo>
                    <a:pt x="258" y="213"/>
                  </a:lnTo>
                  <a:lnTo>
                    <a:pt x="239" y="202"/>
                  </a:lnTo>
                  <a:lnTo>
                    <a:pt x="232" y="197"/>
                  </a:lnTo>
                  <a:lnTo>
                    <a:pt x="222" y="192"/>
                  </a:lnTo>
                  <a:lnTo>
                    <a:pt x="212" y="186"/>
                  </a:lnTo>
                  <a:lnTo>
                    <a:pt x="208" y="182"/>
                  </a:lnTo>
                  <a:lnTo>
                    <a:pt x="206" y="179"/>
                  </a:lnTo>
                  <a:lnTo>
                    <a:pt x="202" y="171"/>
                  </a:lnTo>
                  <a:lnTo>
                    <a:pt x="198" y="165"/>
                  </a:lnTo>
                  <a:lnTo>
                    <a:pt x="194" y="159"/>
                  </a:lnTo>
                  <a:lnTo>
                    <a:pt x="190" y="153"/>
                  </a:lnTo>
                  <a:lnTo>
                    <a:pt x="185" y="146"/>
                  </a:lnTo>
                  <a:lnTo>
                    <a:pt x="178" y="142"/>
                  </a:lnTo>
                  <a:lnTo>
                    <a:pt x="175" y="141"/>
                  </a:lnTo>
                  <a:lnTo>
                    <a:pt x="171" y="139"/>
                  </a:lnTo>
                  <a:lnTo>
                    <a:pt x="171" y="141"/>
                  </a:lnTo>
                  <a:lnTo>
                    <a:pt x="170" y="142"/>
                  </a:lnTo>
                  <a:lnTo>
                    <a:pt x="170" y="143"/>
                  </a:lnTo>
                  <a:lnTo>
                    <a:pt x="169" y="143"/>
                  </a:lnTo>
                  <a:lnTo>
                    <a:pt x="164" y="143"/>
                  </a:lnTo>
                  <a:lnTo>
                    <a:pt x="160" y="142"/>
                  </a:lnTo>
                  <a:lnTo>
                    <a:pt x="157" y="142"/>
                  </a:lnTo>
                  <a:lnTo>
                    <a:pt x="151" y="142"/>
                  </a:lnTo>
                  <a:lnTo>
                    <a:pt x="144" y="141"/>
                  </a:lnTo>
                  <a:lnTo>
                    <a:pt x="137" y="138"/>
                  </a:lnTo>
                  <a:lnTo>
                    <a:pt x="136" y="137"/>
                  </a:lnTo>
                  <a:lnTo>
                    <a:pt x="135" y="136"/>
                  </a:lnTo>
                  <a:lnTo>
                    <a:pt x="135" y="133"/>
                  </a:lnTo>
                  <a:lnTo>
                    <a:pt x="135" y="130"/>
                  </a:lnTo>
                  <a:lnTo>
                    <a:pt x="133" y="127"/>
                  </a:lnTo>
                  <a:lnTo>
                    <a:pt x="132" y="125"/>
                  </a:lnTo>
                  <a:lnTo>
                    <a:pt x="133" y="123"/>
                  </a:lnTo>
                  <a:lnTo>
                    <a:pt x="135" y="123"/>
                  </a:lnTo>
                  <a:lnTo>
                    <a:pt x="133" y="121"/>
                  </a:lnTo>
                  <a:lnTo>
                    <a:pt x="131" y="120"/>
                  </a:lnTo>
                  <a:lnTo>
                    <a:pt x="128" y="117"/>
                  </a:lnTo>
                  <a:lnTo>
                    <a:pt x="127" y="115"/>
                  </a:lnTo>
                  <a:lnTo>
                    <a:pt x="126" y="111"/>
                  </a:lnTo>
                  <a:lnTo>
                    <a:pt x="125" y="109"/>
                  </a:lnTo>
                  <a:lnTo>
                    <a:pt x="117" y="106"/>
                  </a:lnTo>
                  <a:lnTo>
                    <a:pt x="115" y="106"/>
                  </a:lnTo>
                  <a:lnTo>
                    <a:pt x="111" y="106"/>
                  </a:lnTo>
                  <a:lnTo>
                    <a:pt x="107" y="106"/>
                  </a:lnTo>
                  <a:lnTo>
                    <a:pt x="105" y="104"/>
                  </a:lnTo>
                  <a:lnTo>
                    <a:pt x="104" y="101"/>
                  </a:lnTo>
                  <a:lnTo>
                    <a:pt x="101" y="100"/>
                  </a:lnTo>
                  <a:lnTo>
                    <a:pt x="98" y="99"/>
                  </a:lnTo>
                  <a:lnTo>
                    <a:pt x="94" y="98"/>
                  </a:lnTo>
                  <a:lnTo>
                    <a:pt x="93" y="96"/>
                  </a:lnTo>
                  <a:lnTo>
                    <a:pt x="90" y="94"/>
                  </a:lnTo>
                  <a:lnTo>
                    <a:pt x="88" y="93"/>
                  </a:lnTo>
                  <a:lnTo>
                    <a:pt x="85" y="93"/>
                  </a:lnTo>
                  <a:lnTo>
                    <a:pt x="82" y="95"/>
                  </a:lnTo>
                  <a:lnTo>
                    <a:pt x="80" y="96"/>
                  </a:lnTo>
                  <a:lnTo>
                    <a:pt x="77" y="96"/>
                  </a:lnTo>
                  <a:lnTo>
                    <a:pt x="75" y="96"/>
                  </a:lnTo>
                  <a:lnTo>
                    <a:pt x="75" y="98"/>
                  </a:lnTo>
                  <a:lnTo>
                    <a:pt x="79" y="100"/>
                  </a:lnTo>
                  <a:lnTo>
                    <a:pt x="84" y="104"/>
                  </a:lnTo>
                  <a:lnTo>
                    <a:pt x="85" y="106"/>
                  </a:lnTo>
                  <a:lnTo>
                    <a:pt x="87" y="107"/>
                  </a:lnTo>
                  <a:lnTo>
                    <a:pt x="83" y="105"/>
                  </a:lnTo>
                  <a:lnTo>
                    <a:pt x="78" y="102"/>
                  </a:lnTo>
                  <a:lnTo>
                    <a:pt x="77" y="101"/>
                  </a:lnTo>
                  <a:lnTo>
                    <a:pt x="74" y="100"/>
                  </a:lnTo>
                  <a:lnTo>
                    <a:pt x="72" y="101"/>
                  </a:lnTo>
                  <a:lnTo>
                    <a:pt x="71" y="104"/>
                  </a:lnTo>
                  <a:lnTo>
                    <a:pt x="71" y="107"/>
                  </a:lnTo>
                  <a:lnTo>
                    <a:pt x="69" y="110"/>
                  </a:lnTo>
                  <a:lnTo>
                    <a:pt x="64" y="111"/>
                  </a:lnTo>
                  <a:lnTo>
                    <a:pt x="60" y="111"/>
                  </a:lnTo>
                  <a:lnTo>
                    <a:pt x="57" y="112"/>
                  </a:lnTo>
                  <a:lnTo>
                    <a:pt x="56" y="114"/>
                  </a:lnTo>
                  <a:lnTo>
                    <a:pt x="52" y="118"/>
                  </a:lnTo>
                  <a:lnTo>
                    <a:pt x="50" y="122"/>
                  </a:lnTo>
                  <a:lnTo>
                    <a:pt x="51" y="126"/>
                  </a:lnTo>
                  <a:lnTo>
                    <a:pt x="52" y="131"/>
                  </a:lnTo>
                  <a:lnTo>
                    <a:pt x="55" y="136"/>
                  </a:lnTo>
                  <a:lnTo>
                    <a:pt x="56" y="138"/>
                  </a:lnTo>
                  <a:lnTo>
                    <a:pt x="56" y="139"/>
                  </a:lnTo>
                  <a:lnTo>
                    <a:pt x="53" y="141"/>
                  </a:lnTo>
                  <a:lnTo>
                    <a:pt x="50" y="141"/>
                  </a:lnTo>
                  <a:lnTo>
                    <a:pt x="46" y="141"/>
                  </a:lnTo>
                  <a:lnTo>
                    <a:pt x="44" y="141"/>
                  </a:lnTo>
                  <a:lnTo>
                    <a:pt x="32" y="139"/>
                  </a:lnTo>
                  <a:lnTo>
                    <a:pt x="29" y="139"/>
                  </a:lnTo>
                  <a:lnTo>
                    <a:pt x="26" y="139"/>
                  </a:lnTo>
                  <a:lnTo>
                    <a:pt x="0" y="19"/>
                  </a:lnTo>
                  <a:lnTo>
                    <a:pt x="0" y="19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31" name="Freeform 1951">
              <a:extLst>
                <a:ext uri="{FF2B5EF4-FFF2-40B4-BE49-F238E27FC236}">
                  <a16:creationId xmlns:a16="http://schemas.microsoft.com/office/drawing/2014/main" id="{5A7593EA-3AE2-4508-AAE6-557D63E65E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1375" y="2806022"/>
              <a:ext cx="908504" cy="356235"/>
            </a:xfrm>
            <a:custGeom>
              <a:avLst/>
              <a:gdLst>
                <a:gd name="T0" fmla="*/ 10 w 861"/>
                <a:gd name="T1" fmla="*/ 84 h 338"/>
                <a:gd name="T2" fmla="*/ 29 w 861"/>
                <a:gd name="T3" fmla="*/ 84 h 338"/>
                <a:gd name="T4" fmla="*/ 38 w 861"/>
                <a:gd name="T5" fmla="*/ 70 h 338"/>
                <a:gd name="T6" fmla="*/ 54 w 861"/>
                <a:gd name="T7" fmla="*/ 62 h 338"/>
                <a:gd name="T8" fmla="*/ 77 w 861"/>
                <a:gd name="T9" fmla="*/ 48 h 338"/>
                <a:gd name="T10" fmla="*/ 97 w 861"/>
                <a:gd name="T11" fmla="*/ 43 h 338"/>
                <a:gd name="T12" fmla="*/ 112 w 861"/>
                <a:gd name="T13" fmla="*/ 48 h 338"/>
                <a:gd name="T14" fmla="*/ 161 w 861"/>
                <a:gd name="T15" fmla="*/ 65 h 338"/>
                <a:gd name="T16" fmla="*/ 195 w 861"/>
                <a:gd name="T17" fmla="*/ 68 h 338"/>
                <a:gd name="T18" fmla="*/ 233 w 861"/>
                <a:gd name="T19" fmla="*/ 75 h 338"/>
                <a:gd name="T20" fmla="*/ 248 w 861"/>
                <a:gd name="T21" fmla="*/ 58 h 338"/>
                <a:gd name="T22" fmla="*/ 226 w 861"/>
                <a:gd name="T23" fmla="*/ 35 h 338"/>
                <a:gd name="T24" fmla="*/ 228 w 861"/>
                <a:gd name="T25" fmla="*/ 14 h 338"/>
                <a:gd name="T26" fmla="*/ 262 w 861"/>
                <a:gd name="T27" fmla="*/ 10 h 338"/>
                <a:gd name="T28" fmla="*/ 311 w 861"/>
                <a:gd name="T29" fmla="*/ 20 h 338"/>
                <a:gd name="T30" fmla="*/ 345 w 861"/>
                <a:gd name="T31" fmla="*/ 46 h 338"/>
                <a:gd name="T32" fmla="*/ 372 w 861"/>
                <a:gd name="T33" fmla="*/ 58 h 338"/>
                <a:gd name="T34" fmla="*/ 396 w 861"/>
                <a:gd name="T35" fmla="*/ 62 h 338"/>
                <a:gd name="T36" fmla="*/ 458 w 861"/>
                <a:gd name="T37" fmla="*/ 57 h 338"/>
                <a:gd name="T38" fmla="*/ 501 w 861"/>
                <a:gd name="T39" fmla="*/ 73 h 338"/>
                <a:gd name="T40" fmla="*/ 557 w 861"/>
                <a:gd name="T41" fmla="*/ 92 h 338"/>
                <a:gd name="T42" fmla="*/ 597 w 861"/>
                <a:gd name="T43" fmla="*/ 88 h 338"/>
                <a:gd name="T44" fmla="*/ 633 w 861"/>
                <a:gd name="T45" fmla="*/ 80 h 338"/>
                <a:gd name="T46" fmla="*/ 666 w 861"/>
                <a:gd name="T47" fmla="*/ 59 h 338"/>
                <a:gd name="T48" fmla="*/ 709 w 861"/>
                <a:gd name="T49" fmla="*/ 68 h 338"/>
                <a:gd name="T50" fmla="*/ 728 w 861"/>
                <a:gd name="T51" fmla="*/ 126 h 338"/>
                <a:gd name="T52" fmla="*/ 741 w 861"/>
                <a:gd name="T53" fmla="*/ 140 h 338"/>
                <a:gd name="T54" fmla="*/ 772 w 861"/>
                <a:gd name="T55" fmla="*/ 140 h 338"/>
                <a:gd name="T56" fmla="*/ 803 w 861"/>
                <a:gd name="T57" fmla="*/ 133 h 338"/>
                <a:gd name="T58" fmla="*/ 861 w 861"/>
                <a:gd name="T59" fmla="*/ 171 h 338"/>
                <a:gd name="T60" fmla="*/ 837 w 861"/>
                <a:gd name="T61" fmla="*/ 174 h 338"/>
                <a:gd name="T62" fmla="*/ 816 w 861"/>
                <a:gd name="T63" fmla="*/ 175 h 338"/>
                <a:gd name="T64" fmla="*/ 798 w 861"/>
                <a:gd name="T65" fmla="*/ 185 h 338"/>
                <a:gd name="T66" fmla="*/ 782 w 861"/>
                <a:gd name="T67" fmla="*/ 201 h 338"/>
                <a:gd name="T68" fmla="*/ 766 w 861"/>
                <a:gd name="T69" fmla="*/ 217 h 338"/>
                <a:gd name="T70" fmla="*/ 738 w 861"/>
                <a:gd name="T71" fmla="*/ 231 h 338"/>
                <a:gd name="T72" fmla="*/ 697 w 861"/>
                <a:gd name="T73" fmla="*/ 228 h 338"/>
                <a:gd name="T74" fmla="*/ 679 w 861"/>
                <a:gd name="T75" fmla="*/ 244 h 338"/>
                <a:gd name="T76" fmla="*/ 701 w 861"/>
                <a:gd name="T77" fmla="*/ 266 h 338"/>
                <a:gd name="T78" fmla="*/ 686 w 861"/>
                <a:gd name="T79" fmla="*/ 284 h 338"/>
                <a:gd name="T80" fmla="*/ 650 w 861"/>
                <a:gd name="T81" fmla="*/ 312 h 338"/>
                <a:gd name="T82" fmla="*/ 564 w 861"/>
                <a:gd name="T83" fmla="*/ 330 h 338"/>
                <a:gd name="T84" fmla="*/ 537 w 861"/>
                <a:gd name="T85" fmla="*/ 336 h 338"/>
                <a:gd name="T86" fmla="*/ 493 w 861"/>
                <a:gd name="T87" fmla="*/ 327 h 338"/>
                <a:gd name="T88" fmla="*/ 446 w 861"/>
                <a:gd name="T89" fmla="*/ 309 h 338"/>
                <a:gd name="T90" fmla="*/ 385 w 861"/>
                <a:gd name="T91" fmla="*/ 308 h 338"/>
                <a:gd name="T92" fmla="*/ 316 w 861"/>
                <a:gd name="T93" fmla="*/ 303 h 338"/>
                <a:gd name="T94" fmla="*/ 289 w 861"/>
                <a:gd name="T95" fmla="*/ 285 h 338"/>
                <a:gd name="T96" fmla="*/ 259 w 861"/>
                <a:gd name="T97" fmla="*/ 253 h 338"/>
                <a:gd name="T98" fmla="*/ 215 w 861"/>
                <a:gd name="T99" fmla="*/ 237 h 338"/>
                <a:gd name="T100" fmla="*/ 135 w 861"/>
                <a:gd name="T101" fmla="*/ 223 h 338"/>
                <a:gd name="T102" fmla="*/ 121 w 861"/>
                <a:gd name="T103" fmla="*/ 193 h 338"/>
                <a:gd name="T104" fmla="*/ 96 w 861"/>
                <a:gd name="T105" fmla="*/ 156 h 338"/>
                <a:gd name="T106" fmla="*/ 72 w 861"/>
                <a:gd name="T107" fmla="*/ 137 h 338"/>
                <a:gd name="T108" fmla="*/ 53 w 861"/>
                <a:gd name="T109" fmla="*/ 132 h 338"/>
                <a:gd name="T110" fmla="*/ 13 w 861"/>
                <a:gd name="T111" fmla="*/ 113 h 338"/>
                <a:gd name="T112" fmla="*/ 5 w 861"/>
                <a:gd name="T113" fmla="*/ 101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61" h="338">
                  <a:moveTo>
                    <a:pt x="0" y="95"/>
                  </a:moveTo>
                  <a:lnTo>
                    <a:pt x="3" y="94"/>
                  </a:lnTo>
                  <a:lnTo>
                    <a:pt x="5" y="92"/>
                  </a:lnTo>
                  <a:lnTo>
                    <a:pt x="5" y="90"/>
                  </a:lnTo>
                  <a:lnTo>
                    <a:pt x="6" y="88"/>
                  </a:lnTo>
                  <a:lnTo>
                    <a:pt x="7" y="85"/>
                  </a:lnTo>
                  <a:lnTo>
                    <a:pt x="10" y="84"/>
                  </a:lnTo>
                  <a:lnTo>
                    <a:pt x="16" y="84"/>
                  </a:lnTo>
                  <a:lnTo>
                    <a:pt x="21" y="85"/>
                  </a:lnTo>
                  <a:lnTo>
                    <a:pt x="22" y="85"/>
                  </a:lnTo>
                  <a:lnTo>
                    <a:pt x="22" y="83"/>
                  </a:lnTo>
                  <a:lnTo>
                    <a:pt x="26" y="84"/>
                  </a:lnTo>
                  <a:lnTo>
                    <a:pt x="27" y="84"/>
                  </a:lnTo>
                  <a:lnTo>
                    <a:pt x="29" y="84"/>
                  </a:lnTo>
                  <a:lnTo>
                    <a:pt x="30" y="84"/>
                  </a:lnTo>
                  <a:lnTo>
                    <a:pt x="29" y="80"/>
                  </a:lnTo>
                  <a:lnTo>
                    <a:pt x="35" y="79"/>
                  </a:lnTo>
                  <a:lnTo>
                    <a:pt x="40" y="76"/>
                  </a:lnTo>
                  <a:lnTo>
                    <a:pt x="38" y="74"/>
                  </a:lnTo>
                  <a:lnTo>
                    <a:pt x="37" y="70"/>
                  </a:lnTo>
                  <a:lnTo>
                    <a:pt x="38" y="70"/>
                  </a:lnTo>
                  <a:lnTo>
                    <a:pt x="41" y="69"/>
                  </a:lnTo>
                  <a:lnTo>
                    <a:pt x="44" y="69"/>
                  </a:lnTo>
                  <a:lnTo>
                    <a:pt x="45" y="67"/>
                  </a:lnTo>
                  <a:lnTo>
                    <a:pt x="45" y="65"/>
                  </a:lnTo>
                  <a:lnTo>
                    <a:pt x="46" y="64"/>
                  </a:lnTo>
                  <a:lnTo>
                    <a:pt x="49" y="63"/>
                  </a:lnTo>
                  <a:lnTo>
                    <a:pt x="54" y="62"/>
                  </a:lnTo>
                  <a:lnTo>
                    <a:pt x="59" y="60"/>
                  </a:lnTo>
                  <a:lnTo>
                    <a:pt x="62" y="57"/>
                  </a:lnTo>
                  <a:lnTo>
                    <a:pt x="67" y="53"/>
                  </a:lnTo>
                  <a:lnTo>
                    <a:pt x="71" y="53"/>
                  </a:lnTo>
                  <a:lnTo>
                    <a:pt x="73" y="52"/>
                  </a:lnTo>
                  <a:lnTo>
                    <a:pt x="75" y="51"/>
                  </a:lnTo>
                  <a:lnTo>
                    <a:pt x="77" y="48"/>
                  </a:lnTo>
                  <a:lnTo>
                    <a:pt x="80" y="46"/>
                  </a:lnTo>
                  <a:lnTo>
                    <a:pt x="83" y="46"/>
                  </a:lnTo>
                  <a:lnTo>
                    <a:pt x="87" y="46"/>
                  </a:lnTo>
                  <a:lnTo>
                    <a:pt x="91" y="44"/>
                  </a:lnTo>
                  <a:lnTo>
                    <a:pt x="91" y="41"/>
                  </a:lnTo>
                  <a:lnTo>
                    <a:pt x="94" y="42"/>
                  </a:lnTo>
                  <a:lnTo>
                    <a:pt x="97" y="43"/>
                  </a:lnTo>
                  <a:lnTo>
                    <a:pt x="99" y="46"/>
                  </a:lnTo>
                  <a:lnTo>
                    <a:pt x="102" y="46"/>
                  </a:lnTo>
                  <a:lnTo>
                    <a:pt x="104" y="43"/>
                  </a:lnTo>
                  <a:lnTo>
                    <a:pt x="107" y="43"/>
                  </a:lnTo>
                  <a:lnTo>
                    <a:pt x="108" y="43"/>
                  </a:lnTo>
                  <a:lnTo>
                    <a:pt x="110" y="47"/>
                  </a:lnTo>
                  <a:lnTo>
                    <a:pt x="112" y="48"/>
                  </a:lnTo>
                  <a:lnTo>
                    <a:pt x="114" y="48"/>
                  </a:lnTo>
                  <a:lnTo>
                    <a:pt x="132" y="48"/>
                  </a:lnTo>
                  <a:lnTo>
                    <a:pt x="141" y="49"/>
                  </a:lnTo>
                  <a:lnTo>
                    <a:pt x="145" y="52"/>
                  </a:lnTo>
                  <a:lnTo>
                    <a:pt x="148" y="54"/>
                  </a:lnTo>
                  <a:lnTo>
                    <a:pt x="155" y="62"/>
                  </a:lnTo>
                  <a:lnTo>
                    <a:pt x="161" y="65"/>
                  </a:lnTo>
                  <a:lnTo>
                    <a:pt x="168" y="67"/>
                  </a:lnTo>
                  <a:lnTo>
                    <a:pt x="177" y="69"/>
                  </a:lnTo>
                  <a:lnTo>
                    <a:pt x="182" y="69"/>
                  </a:lnTo>
                  <a:lnTo>
                    <a:pt x="184" y="69"/>
                  </a:lnTo>
                  <a:lnTo>
                    <a:pt x="192" y="68"/>
                  </a:lnTo>
                  <a:lnTo>
                    <a:pt x="193" y="68"/>
                  </a:lnTo>
                  <a:lnTo>
                    <a:pt x="195" y="68"/>
                  </a:lnTo>
                  <a:lnTo>
                    <a:pt x="198" y="68"/>
                  </a:lnTo>
                  <a:lnTo>
                    <a:pt x="199" y="68"/>
                  </a:lnTo>
                  <a:lnTo>
                    <a:pt x="210" y="70"/>
                  </a:lnTo>
                  <a:lnTo>
                    <a:pt x="221" y="72"/>
                  </a:lnTo>
                  <a:lnTo>
                    <a:pt x="226" y="73"/>
                  </a:lnTo>
                  <a:lnTo>
                    <a:pt x="230" y="75"/>
                  </a:lnTo>
                  <a:lnTo>
                    <a:pt x="233" y="75"/>
                  </a:lnTo>
                  <a:lnTo>
                    <a:pt x="236" y="74"/>
                  </a:lnTo>
                  <a:lnTo>
                    <a:pt x="238" y="72"/>
                  </a:lnTo>
                  <a:lnTo>
                    <a:pt x="239" y="70"/>
                  </a:lnTo>
                  <a:lnTo>
                    <a:pt x="244" y="69"/>
                  </a:lnTo>
                  <a:lnTo>
                    <a:pt x="247" y="67"/>
                  </a:lnTo>
                  <a:lnTo>
                    <a:pt x="248" y="64"/>
                  </a:lnTo>
                  <a:lnTo>
                    <a:pt x="248" y="58"/>
                  </a:lnTo>
                  <a:lnTo>
                    <a:pt x="247" y="53"/>
                  </a:lnTo>
                  <a:lnTo>
                    <a:pt x="242" y="49"/>
                  </a:lnTo>
                  <a:lnTo>
                    <a:pt x="238" y="47"/>
                  </a:lnTo>
                  <a:lnTo>
                    <a:pt x="235" y="44"/>
                  </a:lnTo>
                  <a:lnTo>
                    <a:pt x="228" y="38"/>
                  </a:lnTo>
                  <a:lnTo>
                    <a:pt x="227" y="37"/>
                  </a:lnTo>
                  <a:lnTo>
                    <a:pt x="226" y="35"/>
                  </a:lnTo>
                  <a:lnTo>
                    <a:pt x="225" y="28"/>
                  </a:lnTo>
                  <a:lnTo>
                    <a:pt x="225" y="22"/>
                  </a:lnTo>
                  <a:lnTo>
                    <a:pt x="226" y="21"/>
                  </a:lnTo>
                  <a:lnTo>
                    <a:pt x="228" y="21"/>
                  </a:lnTo>
                  <a:lnTo>
                    <a:pt x="227" y="19"/>
                  </a:lnTo>
                  <a:lnTo>
                    <a:pt x="227" y="16"/>
                  </a:lnTo>
                  <a:lnTo>
                    <a:pt x="228" y="14"/>
                  </a:lnTo>
                  <a:lnTo>
                    <a:pt x="231" y="13"/>
                  </a:lnTo>
                  <a:lnTo>
                    <a:pt x="233" y="10"/>
                  </a:lnTo>
                  <a:lnTo>
                    <a:pt x="235" y="6"/>
                  </a:lnTo>
                  <a:lnTo>
                    <a:pt x="235" y="0"/>
                  </a:lnTo>
                  <a:lnTo>
                    <a:pt x="243" y="3"/>
                  </a:lnTo>
                  <a:lnTo>
                    <a:pt x="252" y="6"/>
                  </a:lnTo>
                  <a:lnTo>
                    <a:pt x="262" y="10"/>
                  </a:lnTo>
                  <a:lnTo>
                    <a:pt x="271" y="13"/>
                  </a:lnTo>
                  <a:lnTo>
                    <a:pt x="280" y="14"/>
                  </a:lnTo>
                  <a:lnTo>
                    <a:pt x="290" y="15"/>
                  </a:lnTo>
                  <a:lnTo>
                    <a:pt x="295" y="17"/>
                  </a:lnTo>
                  <a:lnTo>
                    <a:pt x="301" y="19"/>
                  </a:lnTo>
                  <a:lnTo>
                    <a:pt x="306" y="20"/>
                  </a:lnTo>
                  <a:lnTo>
                    <a:pt x="311" y="20"/>
                  </a:lnTo>
                  <a:lnTo>
                    <a:pt x="319" y="20"/>
                  </a:lnTo>
                  <a:lnTo>
                    <a:pt x="327" y="24"/>
                  </a:lnTo>
                  <a:lnTo>
                    <a:pt x="333" y="28"/>
                  </a:lnTo>
                  <a:lnTo>
                    <a:pt x="335" y="33"/>
                  </a:lnTo>
                  <a:lnTo>
                    <a:pt x="338" y="37"/>
                  </a:lnTo>
                  <a:lnTo>
                    <a:pt x="340" y="41"/>
                  </a:lnTo>
                  <a:lnTo>
                    <a:pt x="345" y="46"/>
                  </a:lnTo>
                  <a:lnTo>
                    <a:pt x="349" y="49"/>
                  </a:lnTo>
                  <a:lnTo>
                    <a:pt x="353" y="52"/>
                  </a:lnTo>
                  <a:lnTo>
                    <a:pt x="358" y="54"/>
                  </a:lnTo>
                  <a:lnTo>
                    <a:pt x="360" y="56"/>
                  </a:lnTo>
                  <a:lnTo>
                    <a:pt x="364" y="57"/>
                  </a:lnTo>
                  <a:lnTo>
                    <a:pt x="367" y="57"/>
                  </a:lnTo>
                  <a:lnTo>
                    <a:pt x="372" y="58"/>
                  </a:lnTo>
                  <a:lnTo>
                    <a:pt x="376" y="60"/>
                  </a:lnTo>
                  <a:lnTo>
                    <a:pt x="378" y="62"/>
                  </a:lnTo>
                  <a:lnTo>
                    <a:pt x="382" y="63"/>
                  </a:lnTo>
                  <a:lnTo>
                    <a:pt x="386" y="63"/>
                  </a:lnTo>
                  <a:lnTo>
                    <a:pt x="390" y="62"/>
                  </a:lnTo>
                  <a:lnTo>
                    <a:pt x="392" y="62"/>
                  </a:lnTo>
                  <a:lnTo>
                    <a:pt x="396" y="62"/>
                  </a:lnTo>
                  <a:lnTo>
                    <a:pt x="398" y="62"/>
                  </a:lnTo>
                  <a:lnTo>
                    <a:pt x="403" y="59"/>
                  </a:lnTo>
                  <a:lnTo>
                    <a:pt x="420" y="54"/>
                  </a:lnTo>
                  <a:lnTo>
                    <a:pt x="429" y="53"/>
                  </a:lnTo>
                  <a:lnTo>
                    <a:pt x="439" y="54"/>
                  </a:lnTo>
                  <a:lnTo>
                    <a:pt x="450" y="56"/>
                  </a:lnTo>
                  <a:lnTo>
                    <a:pt x="458" y="57"/>
                  </a:lnTo>
                  <a:lnTo>
                    <a:pt x="463" y="58"/>
                  </a:lnTo>
                  <a:lnTo>
                    <a:pt x="467" y="59"/>
                  </a:lnTo>
                  <a:lnTo>
                    <a:pt x="474" y="64"/>
                  </a:lnTo>
                  <a:lnTo>
                    <a:pt x="479" y="67"/>
                  </a:lnTo>
                  <a:lnTo>
                    <a:pt x="484" y="68"/>
                  </a:lnTo>
                  <a:lnTo>
                    <a:pt x="495" y="69"/>
                  </a:lnTo>
                  <a:lnTo>
                    <a:pt x="501" y="73"/>
                  </a:lnTo>
                  <a:lnTo>
                    <a:pt x="505" y="76"/>
                  </a:lnTo>
                  <a:lnTo>
                    <a:pt x="510" y="81"/>
                  </a:lnTo>
                  <a:lnTo>
                    <a:pt x="516" y="85"/>
                  </a:lnTo>
                  <a:lnTo>
                    <a:pt x="526" y="89"/>
                  </a:lnTo>
                  <a:lnTo>
                    <a:pt x="535" y="89"/>
                  </a:lnTo>
                  <a:lnTo>
                    <a:pt x="546" y="90"/>
                  </a:lnTo>
                  <a:lnTo>
                    <a:pt x="557" y="92"/>
                  </a:lnTo>
                  <a:lnTo>
                    <a:pt x="565" y="94"/>
                  </a:lnTo>
                  <a:lnTo>
                    <a:pt x="574" y="94"/>
                  </a:lnTo>
                  <a:lnTo>
                    <a:pt x="581" y="94"/>
                  </a:lnTo>
                  <a:lnTo>
                    <a:pt x="585" y="94"/>
                  </a:lnTo>
                  <a:lnTo>
                    <a:pt x="588" y="92"/>
                  </a:lnTo>
                  <a:lnTo>
                    <a:pt x="594" y="89"/>
                  </a:lnTo>
                  <a:lnTo>
                    <a:pt x="597" y="88"/>
                  </a:lnTo>
                  <a:lnTo>
                    <a:pt x="603" y="86"/>
                  </a:lnTo>
                  <a:lnTo>
                    <a:pt x="607" y="86"/>
                  </a:lnTo>
                  <a:lnTo>
                    <a:pt x="612" y="85"/>
                  </a:lnTo>
                  <a:lnTo>
                    <a:pt x="618" y="84"/>
                  </a:lnTo>
                  <a:lnTo>
                    <a:pt x="623" y="84"/>
                  </a:lnTo>
                  <a:lnTo>
                    <a:pt x="631" y="83"/>
                  </a:lnTo>
                  <a:lnTo>
                    <a:pt x="633" y="80"/>
                  </a:lnTo>
                  <a:lnTo>
                    <a:pt x="634" y="78"/>
                  </a:lnTo>
                  <a:lnTo>
                    <a:pt x="638" y="70"/>
                  </a:lnTo>
                  <a:lnTo>
                    <a:pt x="644" y="65"/>
                  </a:lnTo>
                  <a:lnTo>
                    <a:pt x="650" y="62"/>
                  </a:lnTo>
                  <a:lnTo>
                    <a:pt x="654" y="60"/>
                  </a:lnTo>
                  <a:lnTo>
                    <a:pt x="658" y="60"/>
                  </a:lnTo>
                  <a:lnTo>
                    <a:pt x="666" y="59"/>
                  </a:lnTo>
                  <a:lnTo>
                    <a:pt x="670" y="60"/>
                  </a:lnTo>
                  <a:lnTo>
                    <a:pt x="675" y="63"/>
                  </a:lnTo>
                  <a:lnTo>
                    <a:pt x="683" y="68"/>
                  </a:lnTo>
                  <a:lnTo>
                    <a:pt x="692" y="72"/>
                  </a:lnTo>
                  <a:lnTo>
                    <a:pt x="698" y="72"/>
                  </a:lnTo>
                  <a:lnTo>
                    <a:pt x="704" y="69"/>
                  </a:lnTo>
                  <a:lnTo>
                    <a:pt x="709" y="68"/>
                  </a:lnTo>
                  <a:lnTo>
                    <a:pt x="715" y="69"/>
                  </a:lnTo>
                  <a:lnTo>
                    <a:pt x="720" y="72"/>
                  </a:lnTo>
                  <a:lnTo>
                    <a:pt x="724" y="73"/>
                  </a:lnTo>
                  <a:lnTo>
                    <a:pt x="726" y="121"/>
                  </a:lnTo>
                  <a:lnTo>
                    <a:pt x="728" y="122"/>
                  </a:lnTo>
                  <a:lnTo>
                    <a:pt x="729" y="123"/>
                  </a:lnTo>
                  <a:lnTo>
                    <a:pt x="728" y="126"/>
                  </a:lnTo>
                  <a:lnTo>
                    <a:pt x="725" y="128"/>
                  </a:lnTo>
                  <a:lnTo>
                    <a:pt x="725" y="131"/>
                  </a:lnTo>
                  <a:lnTo>
                    <a:pt x="729" y="134"/>
                  </a:lnTo>
                  <a:lnTo>
                    <a:pt x="733" y="137"/>
                  </a:lnTo>
                  <a:lnTo>
                    <a:pt x="735" y="139"/>
                  </a:lnTo>
                  <a:lnTo>
                    <a:pt x="739" y="140"/>
                  </a:lnTo>
                  <a:lnTo>
                    <a:pt x="741" y="140"/>
                  </a:lnTo>
                  <a:lnTo>
                    <a:pt x="744" y="139"/>
                  </a:lnTo>
                  <a:lnTo>
                    <a:pt x="746" y="138"/>
                  </a:lnTo>
                  <a:lnTo>
                    <a:pt x="750" y="137"/>
                  </a:lnTo>
                  <a:lnTo>
                    <a:pt x="760" y="137"/>
                  </a:lnTo>
                  <a:lnTo>
                    <a:pt x="765" y="137"/>
                  </a:lnTo>
                  <a:lnTo>
                    <a:pt x="768" y="138"/>
                  </a:lnTo>
                  <a:lnTo>
                    <a:pt x="772" y="140"/>
                  </a:lnTo>
                  <a:lnTo>
                    <a:pt x="776" y="140"/>
                  </a:lnTo>
                  <a:lnTo>
                    <a:pt x="778" y="140"/>
                  </a:lnTo>
                  <a:lnTo>
                    <a:pt x="782" y="138"/>
                  </a:lnTo>
                  <a:lnTo>
                    <a:pt x="787" y="132"/>
                  </a:lnTo>
                  <a:lnTo>
                    <a:pt x="789" y="131"/>
                  </a:lnTo>
                  <a:lnTo>
                    <a:pt x="794" y="131"/>
                  </a:lnTo>
                  <a:lnTo>
                    <a:pt x="803" y="133"/>
                  </a:lnTo>
                  <a:lnTo>
                    <a:pt x="811" y="135"/>
                  </a:lnTo>
                  <a:lnTo>
                    <a:pt x="820" y="140"/>
                  </a:lnTo>
                  <a:lnTo>
                    <a:pt x="827" y="145"/>
                  </a:lnTo>
                  <a:lnTo>
                    <a:pt x="843" y="155"/>
                  </a:lnTo>
                  <a:lnTo>
                    <a:pt x="851" y="160"/>
                  </a:lnTo>
                  <a:lnTo>
                    <a:pt x="857" y="167"/>
                  </a:lnTo>
                  <a:lnTo>
                    <a:pt x="861" y="171"/>
                  </a:lnTo>
                  <a:lnTo>
                    <a:pt x="861" y="174"/>
                  </a:lnTo>
                  <a:lnTo>
                    <a:pt x="859" y="175"/>
                  </a:lnTo>
                  <a:lnTo>
                    <a:pt x="857" y="176"/>
                  </a:lnTo>
                  <a:lnTo>
                    <a:pt x="851" y="176"/>
                  </a:lnTo>
                  <a:lnTo>
                    <a:pt x="845" y="176"/>
                  </a:lnTo>
                  <a:lnTo>
                    <a:pt x="841" y="175"/>
                  </a:lnTo>
                  <a:lnTo>
                    <a:pt x="837" y="174"/>
                  </a:lnTo>
                  <a:lnTo>
                    <a:pt x="835" y="172"/>
                  </a:lnTo>
                  <a:lnTo>
                    <a:pt x="831" y="174"/>
                  </a:lnTo>
                  <a:lnTo>
                    <a:pt x="830" y="175"/>
                  </a:lnTo>
                  <a:lnTo>
                    <a:pt x="827" y="174"/>
                  </a:lnTo>
                  <a:lnTo>
                    <a:pt x="825" y="174"/>
                  </a:lnTo>
                  <a:lnTo>
                    <a:pt x="822" y="174"/>
                  </a:lnTo>
                  <a:lnTo>
                    <a:pt x="816" y="175"/>
                  </a:lnTo>
                  <a:lnTo>
                    <a:pt x="810" y="178"/>
                  </a:lnTo>
                  <a:lnTo>
                    <a:pt x="808" y="178"/>
                  </a:lnTo>
                  <a:lnTo>
                    <a:pt x="805" y="178"/>
                  </a:lnTo>
                  <a:lnTo>
                    <a:pt x="803" y="177"/>
                  </a:lnTo>
                  <a:lnTo>
                    <a:pt x="800" y="180"/>
                  </a:lnTo>
                  <a:lnTo>
                    <a:pt x="799" y="183"/>
                  </a:lnTo>
                  <a:lnTo>
                    <a:pt x="798" y="185"/>
                  </a:lnTo>
                  <a:lnTo>
                    <a:pt x="795" y="185"/>
                  </a:lnTo>
                  <a:lnTo>
                    <a:pt x="787" y="185"/>
                  </a:lnTo>
                  <a:lnTo>
                    <a:pt x="784" y="186"/>
                  </a:lnTo>
                  <a:lnTo>
                    <a:pt x="782" y="190"/>
                  </a:lnTo>
                  <a:lnTo>
                    <a:pt x="781" y="197"/>
                  </a:lnTo>
                  <a:lnTo>
                    <a:pt x="781" y="198"/>
                  </a:lnTo>
                  <a:lnTo>
                    <a:pt x="782" y="201"/>
                  </a:lnTo>
                  <a:lnTo>
                    <a:pt x="783" y="202"/>
                  </a:lnTo>
                  <a:lnTo>
                    <a:pt x="783" y="204"/>
                  </a:lnTo>
                  <a:lnTo>
                    <a:pt x="781" y="207"/>
                  </a:lnTo>
                  <a:lnTo>
                    <a:pt x="778" y="209"/>
                  </a:lnTo>
                  <a:lnTo>
                    <a:pt x="774" y="212"/>
                  </a:lnTo>
                  <a:lnTo>
                    <a:pt x="772" y="213"/>
                  </a:lnTo>
                  <a:lnTo>
                    <a:pt x="766" y="217"/>
                  </a:lnTo>
                  <a:lnTo>
                    <a:pt x="757" y="217"/>
                  </a:lnTo>
                  <a:lnTo>
                    <a:pt x="751" y="215"/>
                  </a:lnTo>
                  <a:lnTo>
                    <a:pt x="749" y="215"/>
                  </a:lnTo>
                  <a:lnTo>
                    <a:pt x="746" y="218"/>
                  </a:lnTo>
                  <a:lnTo>
                    <a:pt x="744" y="224"/>
                  </a:lnTo>
                  <a:lnTo>
                    <a:pt x="741" y="229"/>
                  </a:lnTo>
                  <a:lnTo>
                    <a:pt x="738" y="231"/>
                  </a:lnTo>
                  <a:lnTo>
                    <a:pt x="736" y="231"/>
                  </a:lnTo>
                  <a:lnTo>
                    <a:pt x="734" y="234"/>
                  </a:lnTo>
                  <a:lnTo>
                    <a:pt x="733" y="236"/>
                  </a:lnTo>
                  <a:lnTo>
                    <a:pt x="729" y="237"/>
                  </a:lnTo>
                  <a:lnTo>
                    <a:pt x="712" y="234"/>
                  </a:lnTo>
                  <a:lnTo>
                    <a:pt x="704" y="231"/>
                  </a:lnTo>
                  <a:lnTo>
                    <a:pt x="697" y="228"/>
                  </a:lnTo>
                  <a:lnTo>
                    <a:pt x="688" y="226"/>
                  </a:lnTo>
                  <a:lnTo>
                    <a:pt x="685" y="226"/>
                  </a:lnTo>
                  <a:lnTo>
                    <a:pt x="681" y="229"/>
                  </a:lnTo>
                  <a:lnTo>
                    <a:pt x="679" y="231"/>
                  </a:lnTo>
                  <a:lnTo>
                    <a:pt x="677" y="234"/>
                  </a:lnTo>
                  <a:lnTo>
                    <a:pt x="679" y="240"/>
                  </a:lnTo>
                  <a:lnTo>
                    <a:pt x="679" y="244"/>
                  </a:lnTo>
                  <a:lnTo>
                    <a:pt x="679" y="247"/>
                  </a:lnTo>
                  <a:lnTo>
                    <a:pt x="681" y="251"/>
                  </a:lnTo>
                  <a:lnTo>
                    <a:pt x="683" y="252"/>
                  </a:lnTo>
                  <a:lnTo>
                    <a:pt x="686" y="255"/>
                  </a:lnTo>
                  <a:lnTo>
                    <a:pt x="690" y="257"/>
                  </a:lnTo>
                  <a:lnTo>
                    <a:pt x="697" y="262"/>
                  </a:lnTo>
                  <a:lnTo>
                    <a:pt x="701" y="266"/>
                  </a:lnTo>
                  <a:lnTo>
                    <a:pt x="702" y="268"/>
                  </a:lnTo>
                  <a:lnTo>
                    <a:pt x="703" y="271"/>
                  </a:lnTo>
                  <a:lnTo>
                    <a:pt x="701" y="273"/>
                  </a:lnTo>
                  <a:lnTo>
                    <a:pt x="697" y="276"/>
                  </a:lnTo>
                  <a:lnTo>
                    <a:pt x="692" y="279"/>
                  </a:lnTo>
                  <a:lnTo>
                    <a:pt x="688" y="283"/>
                  </a:lnTo>
                  <a:lnTo>
                    <a:pt x="686" y="284"/>
                  </a:lnTo>
                  <a:lnTo>
                    <a:pt x="683" y="287"/>
                  </a:lnTo>
                  <a:lnTo>
                    <a:pt x="680" y="295"/>
                  </a:lnTo>
                  <a:lnTo>
                    <a:pt x="675" y="303"/>
                  </a:lnTo>
                  <a:lnTo>
                    <a:pt x="667" y="306"/>
                  </a:lnTo>
                  <a:lnTo>
                    <a:pt x="660" y="310"/>
                  </a:lnTo>
                  <a:lnTo>
                    <a:pt x="655" y="312"/>
                  </a:lnTo>
                  <a:lnTo>
                    <a:pt x="650" y="312"/>
                  </a:lnTo>
                  <a:lnTo>
                    <a:pt x="639" y="312"/>
                  </a:lnTo>
                  <a:lnTo>
                    <a:pt x="628" y="312"/>
                  </a:lnTo>
                  <a:lnTo>
                    <a:pt x="617" y="312"/>
                  </a:lnTo>
                  <a:lnTo>
                    <a:pt x="595" y="317"/>
                  </a:lnTo>
                  <a:lnTo>
                    <a:pt x="584" y="320"/>
                  </a:lnTo>
                  <a:lnTo>
                    <a:pt x="574" y="325"/>
                  </a:lnTo>
                  <a:lnTo>
                    <a:pt x="564" y="330"/>
                  </a:lnTo>
                  <a:lnTo>
                    <a:pt x="557" y="335"/>
                  </a:lnTo>
                  <a:lnTo>
                    <a:pt x="553" y="337"/>
                  </a:lnTo>
                  <a:lnTo>
                    <a:pt x="552" y="338"/>
                  </a:lnTo>
                  <a:lnTo>
                    <a:pt x="549" y="338"/>
                  </a:lnTo>
                  <a:lnTo>
                    <a:pt x="547" y="338"/>
                  </a:lnTo>
                  <a:lnTo>
                    <a:pt x="542" y="338"/>
                  </a:lnTo>
                  <a:lnTo>
                    <a:pt x="537" y="336"/>
                  </a:lnTo>
                  <a:lnTo>
                    <a:pt x="533" y="333"/>
                  </a:lnTo>
                  <a:lnTo>
                    <a:pt x="531" y="332"/>
                  </a:lnTo>
                  <a:lnTo>
                    <a:pt x="528" y="332"/>
                  </a:lnTo>
                  <a:lnTo>
                    <a:pt x="524" y="332"/>
                  </a:lnTo>
                  <a:lnTo>
                    <a:pt x="514" y="332"/>
                  </a:lnTo>
                  <a:lnTo>
                    <a:pt x="503" y="330"/>
                  </a:lnTo>
                  <a:lnTo>
                    <a:pt x="493" y="327"/>
                  </a:lnTo>
                  <a:lnTo>
                    <a:pt x="483" y="325"/>
                  </a:lnTo>
                  <a:lnTo>
                    <a:pt x="473" y="322"/>
                  </a:lnTo>
                  <a:lnTo>
                    <a:pt x="463" y="320"/>
                  </a:lnTo>
                  <a:lnTo>
                    <a:pt x="460" y="316"/>
                  </a:lnTo>
                  <a:lnTo>
                    <a:pt x="455" y="314"/>
                  </a:lnTo>
                  <a:lnTo>
                    <a:pt x="451" y="310"/>
                  </a:lnTo>
                  <a:lnTo>
                    <a:pt x="446" y="309"/>
                  </a:lnTo>
                  <a:lnTo>
                    <a:pt x="436" y="308"/>
                  </a:lnTo>
                  <a:lnTo>
                    <a:pt x="426" y="308"/>
                  </a:lnTo>
                  <a:lnTo>
                    <a:pt x="409" y="304"/>
                  </a:lnTo>
                  <a:lnTo>
                    <a:pt x="404" y="304"/>
                  </a:lnTo>
                  <a:lnTo>
                    <a:pt x="401" y="305"/>
                  </a:lnTo>
                  <a:lnTo>
                    <a:pt x="392" y="308"/>
                  </a:lnTo>
                  <a:lnTo>
                    <a:pt x="385" y="308"/>
                  </a:lnTo>
                  <a:lnTo>
                    <a:pt x="378" y="308"/>
                  </a:lnTo>
                  <a:lnTo>
                    <a:pt x="365" y="306"/>
                  </a:lnTo>
                  <a:lnTo>
                    <a:pt x="355" y="305"/>
                  </a:lnTo>
                  <a:lnTo>
                    <a:pt x="344" y="303"/>
                  </a:lnTo>
                  <a:lnTo>
                    <a:pt x="334" y="301"/>
                  </a:lnTo>
                  <a:lnTo>
                    <a:pt x="323" y="301"/>
                  </a:lnTo>
                  <a:lnTo>
                    <a:pt x="316" y="303"/>
                  </a:lnTo>
                  <a:lnTo>
                    <a:pt x="311" y="303"/>
                  </a:lnTo>
                  <a:lnTo>
                    <a:pt x="308" y="301"/>
                  </a:lnTo>
                  <a:lnTo>
                    <a:pt x="306" y="300"/>
                  </a:lnTo>
                  <a:lnTo>
                    <a:pt x="303" y="298"/>
                  </a:lnTo>
                  <a:lnTo>
                    <a:pt x="301" y="294"/>
                  </a:lnTo>
                  <a:lnTo>
                    <a:pt x="296" y="292"/>
                  </a:lnTo>
                  <a:lnTo>
                    <a:pt x="289" y="285"/>
                  </a:lnTo>
                  <a:lnTo>
                    <a:pt x="283" y="279"/>
                  </a:lnTo>
                  <a:lnTo>
                    <a:pt x="278" y="272"/>
                  </a:lnTo>
                  <a:lnTo>
                    <a:pt x="271" y="265"/>
                  </a:lnTo>
                  <a:lnTo>
                    <a:pt x="265" y="261"/>
                  </a:lnTo>
                  <a:lnTo>
                    <a:pt x="263" y="260"/>
                  </a:lnTo>
                  <a:lnTo>
                    <a:pt x="262" y="256"/>
                  </a:lnTo>
                  <a:lnTo>
                    <a:pt x="259" y="253"/>
                  </a:lnTo>
                  <a:lnTo>
                    <a:pt x="254" y="252"/>
                  </a:lnTo>
                  <a:lnTo>
                    <a:pt x="249" y="251"/>
                  </a:lnTo>
                  <a:lnTo>
                    <a:pt x="244" y="250"/>
                  </a:lnTo>
                  <a:lnTo>
                    <a:pt x="227" y="241"/>
                  </a:lnTo>
                  <a:lnTo>
                    <a:pt x="223" y="240"/>
                  </a:lnTo>
                  <a:lnTo>
                    <a:pt x="219" y="239"/>
                  </a:lnTo>
                  <a:lnTo>
                    <a:pt x="215" y="237"/>
                  </a:lnTo>
                  <a:lnTo>
                    <a:pt x="211" y="235"/>
                  </a:lnTo>
                  <a:lnTo>
                    <a:pt x="203" y="230"/>
                  </a:lnTo>
                  <a:lnTo>
                    <a:pt x="193" y="229"/>
                  </a:lnTo>
                  <a:lnTo>
                    <a:pt x="183" y="229"/>
                  </a:lnTo>
                  <a:lnTo>
                    <a:pt x="173" y="229"/>
                  </a:lnTo>
                  <a:lnTo>
                    <a:pt x="142" y="224"/>
                  </a:lnTo>
                  <a:lnTo>
                    <a:pt x="135" y="223"/>
                  </a:lnTo>
                  <a:lnTo>
                    <a:pt x="128" y="219"/>
                  </a:lnTo>
                  <a:lnTo>
                    <a:pt x="123" y="214"/>
                  </a:lnTo>
                  <a:lnTo>
                    <a:pt x="120" y="207"/>
                  </a:lnTo>
                  <a:lnTo>
                    <a:pt x="120" y="203"/>
                  </a:lnTo>
                  <a:lnTo>
                    <a:pt x="121" y="199"/>
                  </a:lnTo>
                  <a:lnTo>
                    <a:pt x="123" y="196"/>
                  </a:lnTo>
                  <a:lnTo>
                    <a:pt x="121" y="193"/>
                  </a:lnTo>
                  <a:lnTo>
                    <a:pt x="120" y="188"/>
                  </a:lnTo>
                  <a:lnTo>
                    <a:pt x="119" y="183"/>
                  </a:lnTo>
                  <a:lnTo>
                    <a:pt x="118" y="180"/>
                  </a:lnTo>
                  <a:lnTo>
                    <a:pt x="115" y="176"/>
                  </a:lnTo>
                  <a:lnTo>
                    <a:pt x="109" y="167"/>
                  </a:lnTo>
                  <a:lnTo>
                    <a:pt x="101" y="160"/>
                  </a:lnTo>
                  <a:lnTo>
                    <a:pt x="96" y="156"/>
                  </a:lnTo>
                  <a:lnTo>
                    <a:pt x="93" y="153"/>
                  </a:lnTo>
                  <a:lnTo>
                    <a:pt x="87" y="145"/>
                  </a:lnTo>
                  <a:lnTo>
                    <a:pt x="81" y="140"/>
                  </a:lnTo>
                  <a:lnTo>
                    <a:pt x="75" y="137"/>
                  </a:lnTo>
                  <a:lnTo>
                    <a:pt x="72" y="135"/>
                  </a:lnTo>
                  <a:lnTo>
                    <a:pt x="72" y="135"/>
                  </a:lnTo>
                  <a:lnTo>
                    <a:pt x="72" y="137"/>
                  </a:lnTo>
                  <a:lnTo>
                    <a:pt x="70" y="138"/>
                  </a:lnTo>
                  <a:lnTo>
                    <a:pt x="66" y="137"/>
                  </a:lnTo>
                  <a:lnTo>
                    <a:pt x="64" y="134"/>
                  </a:lnTo>
                  <a:lnTo>
                    <a:pt x="60" y="133"/>
                  </a:lnTo>
                  <a:lnTo>
                    <a:pt x="57" y="132"/>
                  </a:lnTo>
                  <a:lnTo>
                    <a:pt x="55" y="132"/>
                  </a:lnTo>
                  <a:lnTo>
                    <a:pt x="53" y="132"/>
                  </a:lnTo>
                  <a:lnTo>
                    <a:pt x="46" y="132"/>
                  </a:lnTo>
                  <a:lnTo>
                    <a:pt x="41" y="129"/>
                  </a:lnTo>
                  <a:lnTo>
                    <a:pt x="33" y="124"/>
                  </a:lnTo>
                  <a:lnTo>
                    <a:pt x="27" y="119"/>
                  </a:lnTo>
                  <a:lnTo>
                    <a:pt x="19" y="116"/>
                  </a:lnTo>
                  <a:lnTo>
                    <a:pt x="14" y="115"/>
                  </a:lnTo>
                  <a:lnTo>
                    <a:pt x="13" y="113"/>
                  </a:lnTo>
                  <a:lnTo>
                    <a:pt x="12" y="111"/>
                  </a:lnTo>
                  <a:lnTo>
                    <a:pt x="11" y="108"/>
                  </a:lnTo>
                  <a:lnTo>
                    <a:pt x="8" y="107"/>
                  </a:lnTo>
                  <a:lnTo>
                    <a:pt x="5" y="105"/>
                  </a:lnTo>
                  <a:lnTo>
                    <a:pt x="2" y="103"/>
                  </a:lnTo>
                  <a:lnTo>
                    <a:pt x="3" y="102"/>
                  </a:lnTo>
                  <a:lnTo>
                    <a:pt x="5" y="101"/>
                  </a:lnTo>
                  <a:lnTo>
                    <a:pt x="5" y="100"/>
                  </a:lnTo>
                  <a:lnTo>
                    <a:pt x="3" y="97"/>
                  </a:lnTo>
                  <a:lnTo>
                    <a:pt x="1" y="96"/>
                  </a:lnTo>
                  <a:lnTo>
                    <a:pt x="0" y="95"/>
                  </a:lnTo>
                  <a:lnTo>
                    <a:pt x="0" y="9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32" name="Freeform 1952">
              <a:extLst>
                <a:ext uri="{FF2B5EF4-FFF2-40B4-BE49-F238E27FC236}">
                  <a16:creationId xmlns:a16="http://schemas.microsoft.com/office/drawing/2014/main" id="{04261FCC-6A20-440C-8C59-5F871202AA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8538" y="3625995"/>
              <a:ext cx="99072" cy="54805"/>
            </a:xfrm>
            <a:custGeom>
              <a:avLst/>
              <a:gdLst>
                <a:gd name="T0" fmla="*/ 0 w 95"/>
                <a:gd name="T1" fmla="*/ 38 h 53"/>
                <a:gd name="T2" fmla="*/ 0 w 95"/>
                <a:gd name="T3" fmla="*/ 36 h 53"/>
                <a:gd name="T4" fmla="*/ 1 w 95"/>
                <a:gd name="T5" fmla="*/ 35 h 53"/>
                <a:gd name="T6" fmla="*/ 3 w 95"/>
                <a:gd name="T7" fmla="*/ 33 h 53"/>
                <a:gd name="T8" fmla="*/ 3 w 95"/>
                <a:gd name="T9" fmla="*/ 31 h 53"/>
                <a:gd name="T10" fmla="*/ 4 w 95"/>
                <a:gd name="T11" fmla="*/ 30 h 53"/>
                <a:gd name="T12" fmla="*/ 5 w 95"/>
                <a:gd name="T13" fmla="*/ 27 h 53"/>
                <a:gd name="T14" fmla="*/ 8 w 95"/>
                <a:gd name="T15" fmla="*/ 25 h 53"/>
                <a:gd name="T16" fmla="*/ 10 w 95"/>
                <a:gd name="T17" fmla="*/ 20 h 53"/>
                <a:gd name="T18" fmla="*/ 12 w 95"/>
                <a:gd name="T19" fmla="*/ 15 h 53"/>
                <a:gd name="T20" fmla="*/ 15 w 95"/>
                <a:gd name="T21" fmla="*/ 11 h 53"/>
                <a:gd name="T22" fmla="*/ 21 w 95"/>
                <a:gd name="T23" fmla="*/ 4 h 53"/>
                <a:gd name="T24" fmla="*/ 26 w 95"/>
                <a:gd name="T25" fmla="*/ 1 h 53"/>
                <a:gd name="T26" fmla="*/ 31 w 95"/>
                <a:gd name="T27" fmla="*/ 0 h 53"/>
                <a:gd name="T28" fmla="*/ 32 w 95"/>
                <a:gd name="T29" fmla="*/ 0 h 53"/>
                <a:gd name="T30" fmla="*/ 35 w 95"/>
                <a:gd name="T31" fmla="*/ 1 h 53"/>
                <a:gd name="T32" fmla="*/ 37 w 95"/>
                <a:gd name="T33" fmla="*/ 1 h 53"/>
                <a:gd name="T34" fmla="*/ 38 w 95"/>
                <a:gd name="T35" fmla="*/ 3 h 53"/>
                <a:gd name="T36" fmla="*/ 38 w 95"/>
                <a:gd name="T37" fmla="*/ 6 h 53"/>
                <a:gd name="T38" fmla="*/ 40 w 95"/>
                <a:gd name="T39" fmla="*/ 8 h 53"/>
                <a:gd name="T40" fmla="*/ 41 w 95"/>
                <a:gd name="T41" fmla="*/ 9 h 53"/>
                <a:gd name="T42" fmla="*/ 47 w 95"/>
                <a:gd name="T43" fmla="*/ 9 h 53"/>
                <a:gd name="T44" fmla="*/ 54 w 95"/>
                <a:gd name="T45" fmla="*/ 9 h 53"/>
                <a:gd name="T46" fmla="*/ 56 w 95"/>
                <a:gd name="T47" fmla="*/ 10 h 53"/>
                <a:gd name="T48" fmla="*/ 58 w 95"/>
                <a:gd name="T49" fmla="*/ 11 h 53"/>
                <a:gd name="T50" fmla="*/ 59 w 95"/>
                <a:gd name="T51" fmla="*/ 11 h 53"/>
                <a:gd name="T52" fmla="*/ 62 w 95"/>
                <a:gd name="T53" fmla="*/ 11 h 53"/>
                <a:gd name="T54" fmla="*/ 64 w 95"/>
                <a:gd name="T55" fmla="*/ 9 h 53"/>
                <a:gd name="T56" fmla="*/ 68 w 95"/>
                <a:gd name="T57" fmla="*/ 9 h 53"/>
                <a:gd name="T58" fmla="*/ 74 w 95"/>
                <a:gd name="T59" fmla="*/ 11 h 53"/>
                <a:gd name="T60" fmla="*/ 76 w 95"/>
                <a:gd name="T61" fmla="*/ 14 h 53"/>
                <a:gd name="T62" fmla="*/ 78 w 95"/>
                <a:gd name="T63" fmla="*/ 17 h 53"/>
                <a:gd name="T64" fmla="*/ 78 w 95"/>
                <a:gd name="T65" fmla="*/ 21 h 53"/>
                <a:gd name="T66" fmla="*/ 79 w 95"/>
                <a:gd name="T67" fmla="*/ 25 h 53"/>
                <a:gd name="T68" fmla="*/ 81 w 95"/>
                <a:gd name="T69" fmla="*/ 27 h 53"/>
                <a:gd name="T70" fmla="*/ 86 w 95"/>
                <a:gd name="T71" fmla="*/ 28 h 53"/>
                <a:gd name="T72" fmla="*/ 90 w 95"/>
                <a:gd name="T73" fmla="*/ 30 h 53"/>
                <a:gd name="T74" fmla="*/ 92 w 95"/>
                <a:gd name="T75" fmla="*/ 32 h 53"/>
                <a:gd name="T76" fmla="*/ 92 w 95"/>
                <a:gd name="T77" fmla="*/ 36 h 53"/>
                <a:gd name="T78" fmla="*/ 91 w 95"/>
                <a:gd name="T79" fmla="*/ 40 h 53"/>
                <a:gd name="T80" fmla="*/ 92 w 95"/>
                <a:gd name="T81" fmla="*/ 42 h 53"/>
                <a:gd name="T82" fmla="*/ 94 w 95"/>
                <a:gd name="T83" fmla="*/ 44 h 53"/>
                <a:gd name="T84" fmla="*/ 95 w 95"/>
                <a:gd name="T85" fmla="*/ 46 h 53"/>
                <a:gd name="T86" fmla="*/ 95 w 95"/>
                <a:gd name="T87" fmla="*/ 47 h 53"/>
                <a:gd name="T88" fmla="*/ 86 w 95"/>
                <a:gd name="T89" fmla="*/ 49 h 53"/>
                <a:gd name="T90" fmla="*/ 79 w 95"/>
                <a:gd name="T91" fmla="*/ 48 h 53"/>
                <a:gd name="T92" fmla="*/ 78 w 95"/>
                <a:gd name="T93" fmla="*/ 48 h 53"/>
                <a:gd name="T94" fmla="*/ 75 w 95"/>
                <a:gd name="T95" fmla="*/ 49 h 53"/>
                <a:gd name="T96" fmla="*/ 70 w 95"/>
                <a:gd name="T97" fmla="*/ 51 h 53"/>
                <a:gd name="T98" fmla="*/ 59 w 95"/>
                <a:gd name="T99" fmla="*/ 51 h 53"/>
                <a:gd name="T100" fmla="*/ 54 w 95"/>
                <a:gd name="T101" fmla="*/ 51 h 53"/>
                <a:gd name="T102" fmla="*/ 51 w 95"/>
                <a:gd name="T103" fmla="*/ 48 h 53"/>
                <a:gd name="T104" fmla="*/ 47 w 95"/>
                <a:gd name="T105" fmla="*/ 48 h 53"/>
                <a:gd name="T106" fmla="*/ 43 w 95"/>
                <a:gd name="T107" fmla="*/ 48 h 53"/>
                <a:gd name="T108" fmla="*/ 36 w 95"/>
                <a:gd name="T109" fmla="*/ 53 h 53"/>
                <a:gd name="T110" fmla="*/ 32 w 95"/>
                <a:gd name="T111" fmla="*/ 53 h 53"/>
                <a:gd name="T112" fmla="*/ 28 w 95"/>
                <a:gd name="T113" fmla="*/ 53 h 53"/>
                <a:gd name="T114" fmla="*/ 22 w 95"/>
                <a:gd name="T115" fmla="*/ 51 h 53"/>
                <a:gd name="T116" fmla="*/ 20 w 95"/>
                <a:gd name="T117" fmla="*/ 49 h 53"/>
                <a:gd name="T118" fmla="*/ 16 w 95"/>
                <a:gd name="T119" fmla="*/ 48 h 53"/>
                <a:gd name="T120" fmla="*/ 10 w 95"/>
                <a:gd name="T121" fmla="*/ 48 h 53"/>
                <a:gd name="T122" fmla="*/ 6 w 95"/>
                <a:gd name="T123" fmla="*/ 46 h 53"/>
                <a:gd name="T124" fmla="*/ 0 w 95"/>
                <a:gd name="T125" fmla="*/ 3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5" h="53">
                  <a:moveTo>
                    <a:pt x="0" y="38"/>
                  </a:moveTo>
                  <a:lnTo>
                    <a:pt x="0" y="36"/>
                  </a:lnTo>
                  <a:lnTo>
                    <a:pt x="1" y="35"/>
                  </a:lnTo>
                  <a:lnTo>
                    <a:pt x="3" y="33"/>
                  </a:lnTo>
                  <a:lnTo>
                    <a:pt x="3" y="31"/>
                  </a:lnTo>
                  <a:lnTo>
                    <a:pt x="4" y="30"/>
                  </a:lnTo>
                  <a:lnTo>
                    <a:pt x="5" y="27"/>
                  </a:lnTo>
                  <a:lnTo>
                    <a:pt x="8" y="25"/>
                  </a:lnTo>
                  <a:lnTo>
                    <a:pt x="10" y="20"/>
                  </a:lnTo>
                  <a:lnTo>
                    <a:pt x="12" y="15"/>
                  </a:lnTo>
                  <a:lnTo>
                    <a:pt x="15" y="11"/>
                  </a:lnTo>
                  <a:lnTo>
                    <a:pt x="21" y="4"/>
                  </a:lnTo>
                  <a:lnTo>
                    <a:pt x="26" y="1"/>
                  </a:lnTo>
                  <a:lnTo>
                    <a:pt x="31" y="0"/>
                  </a:lnTo>
                  <a:lnTo>
                    <a:pt x="32" y="0"/>
                  </a:lnTo>
                  <a:lnTo>
                    <a:pt x="35" y="1"/>
                  </a:lnTo>
                  <a:lnTo>
                    <a:pt x="37" y="1"/>
                  </a:lnTo>
                  <a:lnTo>
                    <a:pt x="38" y="3"/>
                  </a:lnTo>
                  <a:lnTo>
                    <a:pt x="38" y="6"/>
                  </a:lnTo>
                  <a:lnTo>
                    <a:pt x="40" y="8"/>
                  </a:lnTo>
                  <a:lnTo>
                    <a:pt x="41" y="9"/>
                  </a:lnTo>
                  <a:lnTo>
                    <a:pt x="47" y="9"/>
                  </a:lnTo>
                  <a:lnTo>
                    <a:pt x="54" y="9"/>
                  </a:lnTo>
                  <a:lnTo>
                    <a:pt x="56" y="10"/>
                  </a:lnTo>
                  <a:lnTo>
                    <a:pt x="58" y="11"/>
                  </a:lnTo>
                  <a:lnTo>
                    <a:pt x="59" y="11"/>
                  </a:lnTo>
                  <a:lnTo>
                    <a:pt x="62" y="11"/>
                  </a:lnTo>
                  <a:lnTo>
                    <a:pt x="64" y="9"/>
                  </a:lnTo>
                  <a:lnTo>
                    <a:pt x="68" y="9"/>
                  </a:lnTo>
                  <a:lnTo>
                    <a:pt x="74" y="11"/>
                  </a:lnTo>
                  <a:lnTo>
                    <a:pt x="76" y="14"/>
                  </a:lnTo>
                  <a:lnTo>
                    <a:pt x="78" y="17"/>
                  </a:lnTo>
                  <a:lnTo>
                    <a:pt x="78" y="21"/>
                  </a:lnTo>
                  <a:lnTo>
                    <a:pt x="79" y="25"/>
                  </a:lnTo>
                  <a:lnTo>
                    <a:pt x="81" y="27"/>
                  </a:lnTo>
                  <a:lnTo>
                    <a:pt x="86" y="28"/>
                  </a:lnTo>
                  <a:lnTo>
                    <a:pt x="90" y="30"/>
                  </a:lnTo>
                  <a:lnTo>
                    <a:pt x="92" y="32"/>
                  </a:lnTo>
                  <a:lnTo>
                    <a:pt x="92" y="36"/>
                  </a:lnTo>
                  <a:lnTo>
                    <a:pt x="91" y="40"/>
                  </a:lnTo>
                  <a:lnTo>
                    <a:pt x="92" y="42"/>
                  </a:lnTo>
                  <a:lnTo>
                    <a:pt x="94" y="44"/>
                  </a:lnTo>
                  <a:lnTo>
                    <a:pt x="95" y="46"/>
                  </a:lnTo>
                  <a:lnTo>
                    <a:pt x="95" y="47"/>
                  </a:lnTo>
                  <a:lnTo>
                    <a:pt x="86" y="49"/>
                  </a:lnTo>
                  <a:lnTo>
                    <a:pt x="79" y="48"/>
                  </a:lnTo>
                  <a:lnTo>
                    <a:pt x="78" y="48"/>
                  </a:lnTo>
                  <a:lnTo>
                    <a:pt x="75" y="49"/>
                  </a:lnTo>
                  <a:lnTo>
                    <a:pt x="70" y="51"/>
                  </a:lnTo>
                  <a:lnTo>
                    <a:pt x="59" y="51"/>
                  </a:lnTo>
                  <a:lnTo>
                    <a:pt x="54" y="51"/>
                  </a:lnTo>
                  <a:lnTo>
                    <a:pt x="51" y="48"/>
                  </a:lnTo>
                  <a:lnTo>
                    <a:pt x="47" y="48"/>
                  </a:lnTo>
                  <a:lnTo>
                    <a:pt x="43" y="48"/>
                  </a:lnTo>
                  <a:lnTo>
                    <a:pt x="36" y="53"/>
                  </a:lnTo>
                  <a:lnTo>
                    <a:pt x="32" y="53"/>
                  </a:lnTo>
                  <a:lnTo>
                    <a:pt x="28" y="53"/>
                  </a:lnTo>
                  <a:lnTo>
                    <a:pt x="22" y="51"/>
                  </a:lnTo>
                  <a:lnTo>
                    <a:pt x="20" y="49"/>
                  </a:lnTo>
                  <a:lnTo>
                    <a:pt x="16" y="48"/>
                  </a:lnTo>
                  <a:lnTo>
                    <a:pt x="10" y="48"/>
                  </a:lnTo>
                  <a:lnTo>
                    <a:pt x="6" y="46"/>
                  </a:lnTo>
                  <a:lnTo>
                    <a:pt x="0" y="3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33" name="Freeform 2045">
              <a:extLst>
                <a:ext uri="{FF2B5EF4-FFF2-40B4-BE49-F238E27FC236}">
                  <a16:creationId xmlns:a16="http://schemas.microsoft.com/office/drawing/2014/main" id="{DF457C4F-697C-4790-9706-C9F8D12D5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5818" y="5303882"/>
              <a:ext cx="10540" cy="18972"/>
            </a:xfrm>
            <a:custGeom>
              <a:avLst/>
              <a:gdLst>
                <a:gd name="T0" fmla="*/ 8 w 11"/>
                <a:gd name="T1" fmla="*/ 0 h 18"/>
                <a:gd name="T2" fmla="*/ 5 w 11"/>
                <a:gd name="T3" fmla="*/ 4 h 18"/>
                <a:gd name="T4" fmla="*/ 1 w 11"/>
                <a:gd name="T5" fmla="*/ 9 h 18"/>
                <a:gd name="T6" fmla="*/ 0 w 11"/>
                <a:gd name="T7" fmla="*/ 15 h 18"/>
                <a:gd name="T8" fmla="*/ 0 w 11"/>
                <a:gd name="T9" fmla="*/ 16 h 18"/>
                <a:gd name="T10" fmla="*/ 3 w 11"/>
                <a:gd name="T11" fmla="*/ 18 h 18"/>
                <a:gd name="T12" fmla="*/ 6 w 11"/>
                <a:gd name="T13" fmla="*/ 16 h 18"/>
                <a:gd name="T14" fmla="*/ 9 w 11"/>
                <a:gd name="T15" fmla="*/ 15 h 18"/>
                <a:gd name="T16" fmla="*/ 11 w 11"/>
                <a:gd name="T17" fmla="*/ 9 h 18"/>
                <a:gd name="T18" fmla="*/ 11 w 11"/>
                <a:gd name="T19" fmla="*/ 3 h 18"/>
                <a:gd name="T20" fmla="*/ 9 w 11"/>
                <a:gd name="T21" fmla="*/ 0 h 18"/>
                <a:gd name="T22" fmla="*/ 8 w 11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" h="18">
                  <a:moveTo>
                    <a:pt x="8" y="0"/>
                  </a:moveTo>
                  <a:lnTo>
                    <a:pt x="5" y="4"/>
                  </a:lnTo>
                  <a:lnTo>
                    <a:pt x="1" y="9"/>
                  </a:lnTo>
                  <a:lnTo>
                    <a:pt x="0" y="15"/>
                  </a:lnTo>
                  <a:lnTo>
                    <a:pt x="0" y="16"/>
                  </a:lnTo>
                  <a:lnTo>
                    <a:pt x="3" y="18"/>
                  </a:lnTo>
                  <a:lnTo>
                    <a:pt x="6" y="16"/>
                  </a:lnTo>
                  <a:lnTo>
                    <a:pt x="9" y="15"/>
                  </a:lnTo>
                  <a:lnTo>
                    <a:pt x="11" y="9"/>
                  </a:lnTo>
                  <a:lnTo>
                    <a:pt x="11" y="3"/>
                  </a:lnTo>
                  <a:lnTo>
                    <a:pt x="9" y="0"/>
                  </a:lnTo>
                  <a:lnTo>
                    <a:pt x="8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34" name="Freeform 2068">
              <a:extLst>
                <a:ext uri="{FF2B5EF4-FFF2-40B4-BE49-F238E27FC236}">
                  <a16:creationId xmlns:a16="http://schemas.microsoft.com/office/drawing/2014/main" id="{0DA345B3-BD3B-48FA-AC5F-39FA995DE2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7876" y="4770583"/>
              <a:ext cx="6324" cy="4216"/>
            </a:xfrm>
            <a:custGeom>
              <a:avLst/>
              <a:gdLst>
                <a:gd name="T0" fmla="*/ 5 w 5"/>
                <a:gd name="T1" fmla="*/ 5 h 5"/>
                <a:gd name="T2" fmla="*/ 3 w 5"/>
                <a:gd name="T3" fmla="*/ 1 h 5"/>
                <a:gd name="T4" fmla="*/ 2 w 5"/>
                <a:gd name="T5" fmla="*/ 0 h 5"/>
                <a:gd name="T6" fmla="*/ 0 w 5"/>
                <a:gd name="T7" fmla="*/ 0 h 5"/>
                <a:gd name="T8" fmla="*/ 3 w 5"/>
                <a:gd name="T9" fmla="*/ 1 h 5"/>
                <a:gd name="T10" fmla="*/ 5 w 5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5" y="5"/>
                  </a:moveTo>
                  <a:lnTo>
                    <a:pt x="3" y="1"/>
                  </a:lnTo>
                  <a:lnTo>
                    <a:pt x="2" y="0"/>
                  </a:lnTo>
                  <a:lnTo>
                    <a:pt x="0" y="0"/>
                  </a:lnTo>
                  <a:lnTo>
                    <a:pt x="3" y="1"/>
                  </a:lnTo>
                  <a:lnTo>
                    <a:pt x="5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</p:grpSp>
      <p:graphicFrame>
        <p:nvGraphicFramePr>
          <p:cNvPr id="4" name="Tabel 3">
            <a:extLst>
              <a:ext uri="{FF2B5EF4-FFF2-40B4-BE49-F238E27FC236}">
                <a16:creationId xmlns:a16="http://schemas.microsoft.com/office/drawing/2014/main" id="{2C7362DF-BFE5-4058-A068-B27470AF53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3842016"/>
              </p:ext>
            </p:extLst>
          </p:nvPr>
        </p:nvGraphicFramePr>
        <p:xfrm>
          <a:off x="1193798" y="4162831"/>
          <a:ext cx="4470400" cy="4432300"/>
        </p:xfrm>
        <a:graphic>
          <a:graphicData uri="http://schemas.openxmlformats.org/drawingml/2006/table">
            <a:tbl>
              <a:tblPr/>
              <a:tblGrid>
                <a:gridCol w="886455">
                  <a:extLst>
                    <a:ext uri="{9D8B030D-6E8A-4147-A177-3AD203B41FA5}">
                      <a16:colId xmlns:a16="http://schemas.microsoft.com/office/drawing/2014/main" val="2292368773"/>
                    </a:ext>
                  </a:extLst>
                </a:gridCol>
                <a:gridCol w="1305852">
                  <a:extLst>
                    <a:ext uri="{9D8B030D-6E8A-4147-A177-3AD203B41FA5}">
                      <a16:colId xmlns:a16="http://schemas.microsoft.com/office/drawing/2014/main" val="719900761"/>
                    </a:ext>
                  </a:extLst>
                </a:gridCol>
                <a:gridCol w="2278093">
                  <a:extLst>
                    <a:ext uri="{9D8B030D-6E8A-4147-A177-3AD203B41FA5}">
                      <a16:colId xmlns:a16="http://schemas.microsoft.com/office/drawing/2014/main" val="980349679"/>
                    </a:ext>
                  </a:extLst>
                </a:gridCol>
              </a:tblGrid>
              <a:tr h="190500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da-DK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Danish Crown Display" panose="00000800000000000000" pitchFamily="50" charset="0"/>
                        </a:rPr>
                        <a:t>Cities</a:t>
                      </a:r>
                      <a:r>
                        <a:rPr lang="da-DK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Danish Crown Display" panose="00000800000000000000" pitchFamily="50" charset="0"/>
                        </a:rPr>
                        <a:t>/Region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15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9456195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henya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Harbi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Great Khinogan Mountain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988287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Zhengzh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Yunnan</a:t>
                      </a:r>
                      <a:endParaRPr lang="da-DK" sz="1100" b="0" i="0" u="none" strike="noStrike" dirty="0">
                        <a:solidFill>
                          <a:srgbClr val="000000"/>
                        </a:solidFill>
                        <a:effectLst/>
                        <a:latin typeface="Danish Crown Text" panose="00000500000000000000" pitchFamily="50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Yuli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0406307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Lianyunga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nsh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Guiga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168829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Wenzh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angx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Chongq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130297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Xuanche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haanx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Bom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066232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Wux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Heilongjia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Bay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841351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Chuzh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Tongzh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Gongbo'gyamda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8057767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amus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Linfe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Urumq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332100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Tongl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Daitongzhuangcu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Hube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975641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Xilin Gol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Qianshanzhe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hizh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586029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Wuhu City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Huxi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Chengma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206612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li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Dongjiang Avenu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61838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ongyu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Yongn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3543536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Gongzhul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iya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543144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Horqi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angs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871165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Hohhot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uihua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594001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Yingk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Guizh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023918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Zhaoto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anm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697303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Luoti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Zhuha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030196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Baoj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n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652702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Qingya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nzh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730371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Wuxu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Panji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827777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ichu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Xushu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4020971"/>
                  </a:ext>
                </a:extLst>
              </a:tr>
            </a:tbl>
          </a:graphicData>
        </a:graphic>
      </p:graphicFrame>
      <p:sp>
        <p:nvSpPr>
          <p:cNvPr id="13" name="Oval 12">
            <a:extLst>
              <a:ext uri="{FF2B5EF4-FFF2-40B4-BE49-F238E27FC236}">
                <a16:creationId xmlns:a16="http://schemas.microsoft.com/office/drawing/2014/main" id="{47DC71CD-A363-472E-B13E-77F341A2F93B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418C9FF-322F-4F5B-B75D-301939EDEF28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ekstboks 31">
            <a:extLst>
              <a:ext uri="{FF2B5EF4-FFF2-40B4-BE49-F238E27FC236}">
                <a16:creationId xmlns:a16="http://schemas.microsoft.com/office/drawing/2014/main" id="{6D08D816-3C3E-4A29-AA18-5F80ABDCC2DD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AEFA4DF-C522-44C3-94EF-3666F9FEBB98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435" name="Picture 434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5D3A59FD-FA72-4EE3-A649-CFD7D39F499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D9679D19-1DB5-41D4-99CF-D5640E97E4D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56355560"/>
              </p:ext>
            </p:extLst>
          </p:nvPr>
        </p:nvGraphicFramePr>
        <p:xfrm>
          <a:off x="5970588" y="227013"/>
          <a:ext cx="565150" cy="7683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619085" imgH="828521" progId="Excel.Sheet.12">
                  <p:link updateAutomatic="1"/>
                </p:oleObj>
              </mc:Choice>
              <mc:Fallback>
                <p:oleObj name="Worksheet" r:id="rId4" imgW="619085" imgH="82852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970588" y="227013"/>
                        <a:ext cx="565150" cy="7683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849436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89BCFB0-B02A-4053-9ED9-119E7D7AE0AF}"/>
              </a:ext>
            </a:extLst>
          </p:cNvPr>
          <p:cNvSpPr/>
          <p:nvPr/>
        </p:nvSpPr>
        <p:spPr>
          <a:xfrm>
            <a:off x="0" y="1145953"/>
            <a:ext cx="685799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Top 10 importers of Danish pork meat</a:t>
            </a:r>
          </a:p>
        </p:txBody>
      </p:sp>
      <p:sp>
        <p:nvSpPr>
          <p:cNvPr id="9" name="Tekstboks 4">
            <a:extLst>
              <a:ext uri="{FF2B5EF4-FFF2-40B4-BE49-F238E27FC236}">
                <a16:creationId xmlns:a16="http://schemas.microsoft.com/office/drawing/2014/main" id="{FF9BB971-BBD7-4EF4-82D2-47634782F915}"/>
              </a:ext>
            </a:extLst>
          </p:cNvPr>
          <p:cNvSpPr txBox="1"/>
          <p:nvPr/>
        </p:nvSpPr>
        <p:spPr>
          <a:xfrm>
            <a:off x="476250" y="1555855"/>
            <a:ext cx="5905500" cy="1138773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>
                <a:latin typeface="Danish Crown Text" panose="00000500000000000000" pitchFamily="50" charset="0"/>
                <a:cs typeface="Arial" panose="020B0604020202020204" pitchFamily="34" charset="0"/>
              </a:rPr>
              <a:t>The top 10 is ranked based on the value of the Danish Export of pork meat in January </a:t>
            </a:r>
            <a:r>
              <a:rPr lang="en-US" sz="1400">
                <a:latin typeface="Danish Crown Text" panose="00000500000000000000" pitchFamily="50" charset="0"/>
                <a:cs typeface="Arial" panose="020B0604020202020204" pitchFamily="34" charset="0"/>
              </a:rPr>
              <a:t>– October 2021. </a:t>
            </a:r>
            <a:r>
              <a:rPr lang="en-US" sz="1400" dirty="0">
                <a:latin typeface="Danish Crown Text" panose="00000500000000000000" pitchFamily="50" charset="0"/>
                <a:cs typeface="Arial" panose="020B0604020202020204" pitchFamily="34" charset="0"/>
              </a:rPr>
              <a:t>All pork meat (incl. live pigs) is included in the figures below</a:t>
            </a: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55E20AB-45BF-404F-B9A7-86DE3574426A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7EEEC5D-A410-4BAF-80C7-8F51D4EFC0F1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ekstboks 31">
            <a:extLst>
              <a:ext uri="{FF2B5EF4-FFF2-40B4-BE49-F238E27FC236}">
                <a16:creationId xmlns:a16="http://schemas.microsoft.com/office/drawing/2014/main" id="{9F6FB423-2260-4FAC-96D9-AA5DA3DC0705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25BB7FA-D562-46E3-9F19-CDE53647E7F8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21" name="Picture 20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AA3A9F09-5204-4DDD-80F9-A026D81A72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CCABA94E-E2B3-4DAE-9E9F-90C4A6C4EA3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09582599"/>
              </p:ext>
            </p:extLst>
          </p:nvPr>
        </p:nvGraphicFramePr>
        <p:xfrm>
          <a:off x="906463" y="2486025"/>
          <a:ext cx="5043487" cy="3990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4324227" imgH="3162210" progId="Excel.Sheet.12">
                  <p:link updateAutomatic="1"/>
                </p:oleObj>
              </mc:Choice>
              <mc:Fallback>
                <p:oleObj name="Worksheet" r:id="rId4" imgW="4324227" imgH="3162210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06463" y="2486025"/>
                        <a:ext cx="5043487" cy="3990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kt 5">
            <a:extLst>
              <a:ext uri="{FF2B5EF4-FFF2-40B4-BE49-F238E27FC236}">
                <a16:creationId xmlns:a16="http://schemas.microsoft.com/office/drawing/2014/main" id="{DF388D76-767A-4DDD-946F-14AB404D507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60861987"/>
              </p:ext>
            </p:extLst>
          </p:nvPr>
        </p:nvGraphicFramePr>
        <p:xfrm>
          <a:off x="5965825" y="233363"/>
          <a:ext cx="577850" cy="7842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619085" imgH="828521" progId="Excel.Sheet.12">
                  <p:link updateAutomatic="1"/>
                </p:oleObj>
              </mc:Choice>
              <mc:Fallback>
                <p:oleObj name="Worksheet" r:id="rId6" imgW="619085" imgH="82852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965825" y="233363"/>
                        <a:ext cx="577850" cy="7842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437286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FF2378E-5693-476C-92DF-80FB3FE8E4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8374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kstboks 5">
            <a:extLst>
              <a:ext uri="{FF2B5EF4-FFF2-40B4-BE49-F238E27FC236}">
                <a16:creationId xmlns:a16="http://schemas.microsoft.com/office/drawing/2014/main" id="{9B18483E-C6BA-4DF5-9F92-AF0503811C6E}"/>
              </a:ext>
            </a:extLst>
          </p:cNvPr>
          <p:cNvSpPr txBox="1"/>
          <p:nvPr/>
        </p:nvSpPr>
        <p:spPr>
          <a:xfrm>
            <a:off x="0" y="1077154"/>
            <a:ext cx="6858000" cy="523220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Denmark’s export of pork meat </a:t>
            </a:r>
          </a:p>
          <a:p>
            <a:pPr algn="ctr"/>
            <a:r>
              <a:rPr lang="en-US" sz="1600" i="1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Jan – October 2021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9A832F53-CF04-42C7-A889-FA8BADF013DD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4F5C241-68BE-4544-846C-B74756164137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Tekstboks 31">
            <a:extLst>
              <a:ext uri="{FF2B5EF4-FFF2-40B4-BE49-F238E27FC236}">
                <a16:creationId xmlns:a16="http://schemas.microsoft.com/office/drawing/2014/main" id="{84F70C23-55F3-4065-B9C3-441209525470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,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Mars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43, DK-896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433D7C8-EA62-4D5E-AA75-A1CC8269F2F3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20" name="Picture 19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85927E1E-7054-4AD5-9E6C-250FF566D52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4" name="Objekt 3">
            <a:extLst>
              <a:ext uri="{FF2B5EF4-FFF2-40B4-BE49-F238E27FC236}">
                <a16:creationId xmlns:a16="http://schemas.microsoft.com/office/drawing/2014/main" id="{65EA62BA-4E0F-4107-A5C1-929F5F128FA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59771631"/>
              </p:ext>
            </p:extLst>
          </p:nvPr>
        </p:nvGraphicFramePr>
        <p:xfrm>
          <a:off x="1122363" y="1628775"/>
          <a:ext cx="4616450" cy="5765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7" imgW="4200688" imgH="4867211" progId="Excel.Sheet.12">
                  <p:link updateAutomatic="1"/>
                </p:oleObj>
              </mc:Choice>
              <mc:Fallback>
                <p:oleObj name="Worksheet" r:id="rId7" imgW="4200688" imgH="486721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22363" y="1628775"/>
                        <a:ext cx="4616450" cy="5765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kt 5">
            <a:extLst>
              <a:ext uri="{FF2B5EF4-FFF2-40B4-BE49-F238E27FC236}">
                <a16:creationId xmlns:a16="http://schemas.microsoft.com/office/drawing/2014/main" id="{AD46B056-F15B-4E21-9615-B1590289F1F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5410160"/>
              </p:ext>
            </p:extLst>
          </p:nvPr>
        </p:nvGraphicFramePr>
        <p:xfrm>
          <a:off x="5956300" y="233363"/>
          <a:ext cx="582613" cy="7889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9" imgW="619085" imgH="828521" progId="Excel.Sheet.12">
                  <p:link updateAutomatic="1"/>
                </p:oleObj>
              </mc:Choice>
              <mc:Fallback>
                <p:oleObj name="Worksheet" r:id="rId9" imgW="619085" imgH="82852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5956300" y="233363"/>
                        <a:ext cx="582613" cy="7889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907289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ILW6v62n7mOCm3PPVb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-t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-tem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9457</TotalTime>
  <Words>500</Words>
  <Application>Microsoft Office PowerPoint</Application>
  <PresentationFormat>A4-papir (210 x 297 mm)</PresentationFormat>
  <Paragraphs>124</Paragraphs>
  <Slides>9</Slides>
  <Notes>9</Notes>
  <HiddenSlides>0</HiddenSlides>
  <MMClips>0</MMClips>
  <ScaleCrop>false</ScaleCrop>
  <HeadingPairs>
    <vt:vector size="10" baseType="variant">
      <vt:variant>
        <vt:lpstr>Benyttede skrifttyper</vt:lpstr>
      </vt:variant>
      <vt:variant>
        <vt:i4>7</vt:i4>
      </vt:variant>
      <vt:variant>
        <vt:lpstr>Tema</vt:lpstr>
      </vt:variant>
      <vt:variant>
        <vt:i4>1</vt:i4>
      </vt:variant>
      <vt:variant>
        <vt:lpstr>Links</vt:lpstr>
      </vt:variant>
      <vt:variant>
        <vt:i4>25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9</vt:i4>
      </vt:variant>
    </vt:vector>
  </HeadingPairs>
  <TitlesOfParts>
    <vt:vector size="43" baseType="lpstr">
      <vt:lpstr>Arial</vt:lpstr>
      <vt:lpstr>Calibri</vt:lpstr>
      <vt:lpstr>Calibri Light</vt:lpstr>
      <vt:lpstr>Danish Crown Display</vt:lpstr>
      <vt:lpstr>Danish Crown Display Office</vt:lpstr>
      <vt:lpstr>Danish Crown Text</vt:lpstr>
      <vt:lpstr>Danish Crown Text Office</vt:lpstr>
      <vt:lpstr>Office-tema</vt:lpstr>
      <vt:lpstr>\\NRAN4902\Group\Industry\Japan Pork\MEBY\Japan nyhedsbrev_GUSWI\NEWSLETTER_JAPAN_MASTER - week.xlsx!Ugetal!R9C2:R11C2</vt:lpstr>
      <vt:lpstr>\\NRAN4902\Group\Industry\Japan Pork\MEBY\Japan nyhedsbrev_GUSWI\NEWSLETTER_JAPAN_MASTER - week.xlsx!Live hog prices dressed weight !R2C2:R29C4</vt:lpstr>
      <vt:lpstr>\\NRAN4902\Group\Industry\Japan Pork\MEBY\Japan nyhedsbrev_GUSWI\NEWSLETTER_JAPAN_MASTER - week.xlsx!DC - Weekly pig price !R30C2:R58C4</vt:lpstr>
      <vt:lpstr>\\NRAN4902\Group\Industry\Japan Pork\MEBY\Japan nyhedsbrev_GUSWI\NEWSLETTER_JAPAN_MASTER - week.xlsx!DC - Weekly pig price ![NEWSLETTER_JAPAN_MASTER - week.xlsx]DC - Weekly pig price  Diagram 1</vt:lpstr>
      <vt:lpstr>\\NRAN4902\Group\Industry\Japan Pork\MEBY\Japan nyhedsbrev_GUSWI\NEWSLETTER_JAPAN_MASTER - week.xlsx!Ugetal!R9C2:R11C2</vt:lpstr>
      <vt:lpstr>\\NRAN4902\Group\Industry\Japan Pork\MEBY\Japan nyhedsbrev_GUSWI\NEWSLETTER_JAPAN_MASTER - week.xlsx!DC - Weekly pig price !R3C2:R29C4</vt:lpstr>
      <vt:lpstr>\\NRAN4902\Group\Industry\Japan Pork\MEBY\Japan nyhedsbrev_GUSWI\NEWSLETTER_JAPAN_MASTER - week.xlsx!Average weight (dressed)!R30C2:R58C4</vt:lpstr>
      <vt:lpstr>\\NRAN4902\Group\Industry\Japan Pork\MEBY\Japan nyhedsbrev_GUSWI\NEWSLETTER_JAPAN_MASTER - week.xlsx!Average weight (dressed)![NEWSLETTER_JAPAN_MASTER - week.xlsx]Average weight (dressed) Diagram 1</vt:lpstr>
      <vt:lpstr>\\NRAN4902\Group\Industry\Japan Pork\MEBY\Japan nyhedsbrev_GUSWI\NEWSLETTER_JAPAN_MASTER - week.xlsx!Ugetal!R9C2:R11C2</vt:lpstr>
      <vt:lpstr>\\NRAN4902\Group\Industry\Japan Pork\MEBY\Japan nyhedsbrev_GUSWI\NEWSLETTER_JAPAN_MASTER - week.xlsx!Average weight (dressed)!R3C2:R29C4</vt:lpstr>
      <vt:lpstr>\\NRAN4902\Group\Industry\Japan Pork\MEBY\Japan nyhedsbrev_GUSWI\NEWSLETTER_JAPAN_MASTER - week.xlsx!Total killings in Denmark!R30C2:R59C4</vt:lpstr>
      <vt:lpstr>\\NRAN4902\Group\Industry\Japan Pork\MEBY\Japan nyhedsbrev_GUSWI\NEWSLETTER_JAPAN_MASTER - week.xlsx!Total killings in Denmark![NEWSLETTER_JAPAN_MASTER - week.xlsx]Total killings in Denmark Diagram 1</vt:lpstr>
      <vt:lpstr>\\NRAN4902\Group\Industry\Japan Pork\MEBY\Japan nyhedsbrev_GUSWI\NEWSLETTER_JAPAN_MASTER - week.xlsx!Ugetal!R9C2:R11C2</vt:lpstr>
      <vt:lpstr>\\NRAN4902\Group\Industry\Japan Pork\MEBY\Japan nyhedsbrev_GUSWI\NEWSLETTER_JAPAN_MASTER - week.xlsx!Total killings in Denmark!R3C2:R29C4</vt:lpstr>
      <vt:lpstr>\\NRAN4902\Group\Industry\Japan Pork\MEBY\Japan nyhedsbrev_GUSWI\NEWSLETTER_JAPAN_MASTER - week.xlsx!Total killings - Essen!R30C2:R60C4</vt:lpstr>
      <vt:lpstr>\\NRAN4902\Group\Industry\Japan Pork\MEBY\Japan nyhedsbrev_GUSWI\NEWSLETTER_JAPAN_MASTER - week.xlsx!Total killings - Essen![NEWSLETTER_JAPAN_MASTER - week.xlsx]Total killings - Essen Diagram 1</vt:lpstr>
      <vt:lpstr>\\NRAN4902\Group\Industry\Japan Pork\MEBY\Japan nyhedsbrev_GUSWI\NEWSLETTER_JAPAN_MASTER - week.xlsx!Ugetal!R9C2:R11C2</vt:lpstr>
      <vt:lpstr>\\NRAN4902\Group\Industry\Japan Pork\MEBY\Japan nyhedsbrev_GUSWI\NEWSLETTER_JAPAN_MASTER - week.xlsx!Total killings - Essen!R3C2:R29C4</vt:lpstr>
      <vt:lpstr>\\NRAN4902\Group\Industry\Japan Pork\MEBY\Japan nyhedsbrev_GUSWI\NEWSLETTER_JAPAN_MASTER - week.xlsx!Afrikansk svinepest!R2C2:R21C10</vt:lpstr>
      <vt:lpstr>\\NRAN4902\Group\Industry\Japan Pork\MEBY\Japan nyhedsbrev_GUSWI\NEWSLETTER_JAPAN_MASTER - week.xlsx!Ugetal!R9C2:R11C2</vt:lpstr>
      <vt:lpstr>\\NRAN4902\Group\Industry\Japan Pork\MEBY\Japan nyhedsbrev_GUSWI\NEWSLETTER_JAPAN_MASTER - week.xlsx!Ugetal!R9C2:R11C2</vt:lpstr>
      <vt:lpstr>\\NRAN4902\Group\Industry\Japan Pork\MEBY\Japan nyhedsbrev_GUSWI\NEWSLETTER_JAPAN_MASTER - week.xlsx!Top 10 importører!R2C2:R16C6</vt:lpstr>
      <vt:lpstr>\\NRAN4902\Group\Industry\Japan Pork\MEBY\Japan nyhedsbrev_GUSWI\NEWSLETTER_JAPAN_MASTER - week.xlsx!Ugetal!R9C2:R11C2</vt:lpstr>
      <vt:lpstr>\\NRAN4902\Group\Industry\Japan Pork\MEBY\Japan nyhedsbrev_GUSWI\NEWSLETTER_JAPAN_MASTER - week.xlsx!Denmark’s export of pork meat!R4C2:R28C20</vt:lpstr>
      <vt:lpstr>\\NRAN4902\Group\Industry\Japan Pork\MEBY\Japan nyhedsbrev_GUSWI\NEWSLETTER_JAPAN_MASTER - week.xlsx!Ugetal!R9C2:R11C2</vt:lpstr>
      <vt:lpstr>think-cell Slide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Inge Marstrand Kristensen (IMKRI)</dc:creator>
  <cp:lastModifiedBy>Dorte G. Sørensen (DGS)</cp:lastModifiedBy>
  <cp:revision>527</cp:revision>
  <cp:lastPrinted>2018-03-07T08:57:35Z</cp:lastPrinted>
  <dcterms:created xsi:type="dcterms:W3CDTF">2018-02-28T14:59:25Z</dcterms:created>
  <dcterms:modified xsi:type="dcterms:W3CDTF">2025-10-15T13:53:13Z</dcterms:modified>
</cp:coreProperties>
</file>